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2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3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</p:sldMasterIdLst>
  <p:notesMasterIdLst>
    <p:notesMasterId r:id="rId11"/>
  </p:notesMasterIdLst>
  <p:sldIdLst>
    <p:sldId id="510" r:id="rId4"/>
    <p:sldId id="408" r:id="rId5"/>
    <p:sldId id="472" r:id="rId6"/>
    <p:sldId id="476" r:id="rId7"/>
    <p:sldId id="509" r:id="rId8"/>
    <p:sldId id="484" r:id="rId9"/>
    <p:sldId id="410" r:id="rId10"/>
  </p:sldIdLst>
  <p:sldSz cx="12192000" cy="6858000"/>
  <p:notesSz cx="6797675" cy="9926638"/>
  <p:custDataLst>
    <p:tags r:id="rId12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5C5C5C"/>
    <a:srgbClr val="FAEEC3"/>
    <a:srgbClr val="F2DE8A"/>
    <a:srgbClr val="E9CD49"/>
    <a:srgbClr val="C6AA3D"/>
    <a:srgbClr val="AB8933"/>
    <a:srgbClr val="FAECDB"/>
    <a:srgbClr val="EDDABD"/>
    <a:srgbClr val="CFB7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8219B1D-D84A-4149-AABC-D8F3B3D591F4}" v="30" dt="2025-06-02T12:34:27.808"/>
  </p1510:revLst>
</p1510:revInfo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279" autoAdjust="0"/>
    <p:restoredTop sz="96552" autoAdjust="0"/>
  </p:normalViewPr>
  <p:slideViewPr>
    <p:cSldViewPr snapToGrid="0">
      <p:cViewPr varScale="1">
        <p:scale>
          <a:sx n="77" d="100"/>
          <a:sy n="77" d="100"/>
        </p:scale>
        <p:origin x="77" y="49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slideMaster" Target="slideMasters/slideMaster1.xml"/><Relationship Id="rId7" Type="http://schemas.openxmlformats.org/officeDocument/2006/relationships/slide" Target="slides/slide4.xml"/><Relationship Id="rId12" Type="http://schemas.openxmlformats.org/officeDocument/2006/relationships/tags" Target="tags/tag1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theme" Target="theme/theme1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amaria, Shridhar" userId="8333b265-e735-45f8-a921-ce459cc3483a" providerId="ADAL" clId="{18219B1D-D84A-4149-AABC-D8F3B3D591F4}"/>
    <pc:docChg chg="custSel modSld">
      <pc:chgData name="Chamaria, Shridhar" userId="8333b265-e735-45f8-a921-ce459cc3483a" providerId="ADAL" clId="{18219B1D-D84A-4149-AABC-D8F3B3D591F4}" dt="2025-06-02T12:34:27.786" v="32"/>
      <pc:docMkLst>
        <pc:docMk/>
      </pc:docMkLst>
      <pc:sldChg chg="modSp">
        <pc:chgData name="Chamaria, Shridhar" userId="8333b265-e735-45f8-a921-ce459cc3483a" providerId="ADAL" clId="{18219B1D-D84A-4149-AABC-D8F3B3D591F4}" dt="2025-06-02T12:29:15.496" v="5"/>
        <pc:sldMkLst>
          <pc:docMk/>
          <pc:sldMk cId="3311503366" sldId="408"/>
        </pc:sldMkLst>
        <pc:spChg chg="mod">
          <ac:chgData name="Chamaria, Shridhar" userId="8333b265-e735-45f8-a921-ce459cc3483a" providerId="ADAL" clId="{18219B1D-D84A-4149-AABC-D8F3B3D591F4}" dt="2025-06-02T12:29:15.496" v="5"/>
          <ac:spMkLst>
            <pc:docMk/>
            <pc:sldMk cId="3311503366" sldId="408"/>
            <ac:spMk id="6" creationId="{0A3AAEF2-9F8D-0BFF-3089-9B5E286794C2}"/>
          </ac:spMkLst>
        </pc:spChg>
        <pc:spChg chg="mod">
          <ac:chgData name="Chamaria, Shridhar" userId="8333b265-e735-45f8-a921-ce459cc3483a" providerId="ADAL" clId="{18219B1D-D84A-4149-AABC-D8F3B3D591F4}" dt="2025-06-02T12:28:53.132" v="2"/>
          <ac:spMkLst>
            <pc:docMk/>
            <pc:sldMk cId="3311503366" sldId="408"/>
            <ac:spMk id="44" creationId="{BDF3161E-5AD5-B492-6C12-798CB8C58806}"/>
          </ac:spMkLst>
        </pc:spChg>
      </pc:sldChg>
      <pc:sldChg chg="modSp">
        <pc:chgData name="Chamaria, Shridhar" userId="8333b265-e735-45f8-a921-ce459cc3483a" providerId="ADAL" clId="{18219B1D-D84A-4149-AABC-D8F3B3D591F4}" dt="2025-06-02T12:31:01.406" v="8"/>
        <pc:sldMkLst>
          <pc:docMk/>
          <pc:sldMk cId="3071268777" sldId="476"/>
        </pc:sldMkLst>
        <pc:spChg chg="mod">
          <ac:chgData name="Chamaria, Shridhar" userId="8333b265-e735-45f8-a921-ce459cc3483a" providerId="ADAL" clId="{18219B1D-D84A-4149-AABC-D8F3B3D591F4}" dt="2025-06-02T12:31:01.406" v="8"/>
          <ac:spMkLst>
            <pc:docMk/>
            <pc:sldMk cId="3071268777" sldId="476"/>
            <ac:spMk id="34" creationId="{0DEFCA8B-4319-DD76-9F24-E4F917857D12}"/>
          </ac:spMkLst>
        </pc:spChg>
      </pc:sldChg>
      <pc:sldChg chg="modSp mod">
        <pc:chgData name="Chamaria, Shridhar" userId="8333b265-e735-45f8-a921-ce459cc3483a" providerId="ADAL" clId="{18219B1D-D84A-4149-AABC-D8F3B3D591F4}" dt="2025-06-02T12:34:27.786" v="32"/>
        <pc:sldMkLst>
          <pc:docMk/>
          <pc:sldMk cId="649816041" sldId="509"/>
        </pc:sldMkLst>
        <pc:spChg chg="mod">
          <ac:chgData name="Chamaria, Shridhar" userId="8333b265-e735-45f8-a921-ce459cc3483a" providerId="ADAL" clId="{18219B1D-D84A-4149-AABC-D8F3B3D591F4}" dt="2025-06-02T12:34:27.786" v="32"/>
          <ac:spMkLst>
            <pc:docMk/>
            <pc:sldMk cId="649816041" sldId="509"/>
            <ac:spMk id="18" creationId="{3CADF63F-50F4-7973-14AD-D2A20940AE46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F50B36-4258-4576-B87E-8104162634EE}" type="datetimeFigureOut">
              <a:rPr lang="en-US" smtClean="0"/>
              <a:t>6/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B1A7C60-994D-496A-B97A-9D3B249615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11587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0EDEE1-021F-4B9E-987B-55DB27A0206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69796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650238-8628-420B-8705-287A468A0B1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53790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02E0AD-2369-4780-8DE5-D6C7161D316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90613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0FC5D8-7D6B-4601-872D-366C7BCB721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98252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 dirty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3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9F73F-40C4-459A-87F2-5B4A916D8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  <a:endParaRPr lang="en-US" sz="100" dirty="0">
              <a:solidFill>
                <a:schemeClr val="bg1">
                  <a:alpha val="0"/>
                </a:schemeClr>
              </a:solidFill>
            </a:endParaRP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Survey 1_Sample Output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  <a:endParaRPr lang="en-US" sz="600" dirty="0">
              <a:solidFill>
                <a:srgbClr val="FFFFFF"/>
              </a:solidFill>
            </a:endParaRP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208" userDrawn="1">
          <p15:clr>
            <a:srgbClr val="CCCCCC"/>
          </p15:clr>
        </p15:guide>
        <p15:guide id="9" pos="7472" userDrawn="1">
          <p15:clr>
            <a:srgbClr val="CCCCC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image" Target="../media/image6.emf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image" Target="../media/image5.emf"/><Relationship Id="rId17" Type="http://schemas.openxmlformats.org/officeDocument/2006/relationships/image" Target="../media/image10.png"/><Relationship Id="rId2" Type="http://schemas.openxmlformats.org/officeDocument/2006/relationships/tags" Target="../tags/tag6.xml"/><Relationship Id="rId16" Type="http://schemas.openxmlformats.org/officeDocument/2006/relationships/image" Target="../media/image9.png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oleObject" Target="../embeddings/oleObject3.bin"/><Relationship Id="rId5" Type="http://schemas.openxmlformats.org/officeDocument/2006/relationships/tags" Target="../tags/tag9.xml"/><Relationship Id="rId15" Type="http://schemas.openxmlformats.org/officeDocument/2006/relationships/image" Target="../media/image8.png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image" Target="../media/image7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image" Target="../media/image1.emf"/><Relationship Id="rId18" Type="http://schemas.openxmlformats.org/officeDocument/2006/relationships/image" Target="../media/image10.png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oleObject" Target="../embeddings/oleObject4.bin"/><Relationship Id="rId17" Type="http://schemas.openxmlformats.org/officeDocument/2006/relationships/image" Target="../media/image9.png"/><Relationship Id="rId2" Type="http://schemas.openxmlformats.org/officeDocument/2006/relationships/tags" Target="../tags/tag15.xml"/><Relationship Id="rId16" Type="http://schemas.openxmlformats.org/officeDocument/2006/relationships/image" Target="../media/image8.png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notesSlide" Target="../notesSlides/notesSlide1.xml"/><Relationship Id="rId5" Type="http://schemas.openxmlformats.org/officeDocument/2006/relationships/tags" Target="../tags/tag18.xml"/><Relationship Id="rId15" Type="http://schemas.openxmlformats.org/officeDocument/2006/relationships/image" Target="../media/image12.emf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image" Target="../media/image1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1.emf"/><Relationship Id="rId18" Type="http://schemas.openxmlformats.org/officeDocument/2006/relationships/image" Target="../media/image8.png"/><Relationship Id="rId3" Type="http://schemas.openxmlformats.org/officeDocument/2006/relationships/tags" Target="../tags/tag25.xml"/><Relationship Id="rId21" Type="http://schemas.openxmlformats.org/officeDocument/2006/relationships/image" Target="../media/image17.png"/><Relationship Id="rId7" Type="http://schemas.openxmlformats.org/officeDocument/2006/relationships/tags" Target="../tags/tag29.xml"/><Relationship Id="rId12" Type="http://schemas.openxmlformats.org/officeDocument/2006/relationships/oleObject" Target="../embeddings/oleObject5.bin"/><Relationship Id="rId17" Type="http://schemas.openxmlformats.org/officeDocument/2006/relationships/image" Target="../media/image16.png"/><Relationship Id="rId2" Type="http://schemas.openxmlformats.org/officeDocument/2006/relationships/tags" Target="../tags/tag24.xml"/><Relationship Id="rId16" Type="http://schemas.openxmlformats.org/officeDocument/2006/relationships/image" Target="../media/image15.png"/><Relationship Id="rId20" Type="http://schemas.openxmlformats.org/officeDocument/2006/relationships/image" Target="../media/image9.png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notesSlide" Target="../notesSlides/notesSlide2.xml"/><Relationship Id="rId5" Type="http://schemas.openxmlformats.org/officeDocument/2006/relationships/tags" Target="../tags/tag27.xml"/><Relationship Id="rId15" Type="http://schemas.openxmlformats.org/officeDocument/2006/relationships/image" Target="../media/image14.emf"/><Relationship Id="rId10" Type="http://schemas.openxmlformats.org/officeDocument/2006/relationships/slideLayout" Target="../slideLayouts/slideLayout2.xml"/><Relationship Id="rId19" Type="http://schemas.openxmlformats.org/officeDocument/2006/relationships/image" Target="../media/image10.png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image" Target="../media/image13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tags" Target="../tags/tag44.xml"/><Relationship Id="rId18" Type="http://schemas.openxmlformats.org/officeDocument/2006/relationships/tags" Target="../tags/tag49.xml"/><Relationship Id="rId26" Type="http://schemas.openxmlformats.org/officeDocument/2006/relationships/image" Target="../media/image9.png"/><Relationship Id="rId3" Type="http://schemas.openxmlformats.org/officeDocument/2006/relationships/tags" Target="../tags/tag34.xml"/><Relationship Id="rId21" Type="http://schemas.openxmlformats.org/officeDocument/2006/relationships/oleObject" Target="../embeddings/oleObject6.bin"/><Relationship Id="rId7" Type="http://schemas.openxmlformats.org/officeDocument/2006/relationships/tags" Target="../tags/tag38.xml"/><Relationship Id="rId12" Type="http://schemas.openxmlformats.org/officeDocument/2006/relationships/tags" Target="../tags/tag43.xml"/><Relationship Id="rId17" Type="http://schemas.openxmlformats.org/officeDocument/2006/relationships/tags" Target="../tags/tag48.xml"/><Relationship Id="rId25" Type="http://schemas.openxmlformats.org/officeDocument/2006/relationships/image" Target="../media/image10.png"/><Relationship Id="rId2" Type="http://schemas.openxmlformats.org/officeDocument/2006/relationships/tags" Target="../tags/tag33.xml"/><Relationship Id="rId16" Type="http://schemas.openxmlformats.org/officeDocument/2006/relationships/tags" Target="../tags/tag47.xml"/><Relationship Id="rId20" Type="http://schemas.openxmlformats.org/officeDocument/2006/relationships/notesSlide" Target="../notesSlides/notesSlide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24" Type="http://schemas.openxmlformats.org/officeDocument/2006/relationships/image" Target="../media/image8.png"/><Relationship Id="rId5" Type="http://schemas.openxmlformats.org/officeDocument/2006/relationships/tags" Target="../tags/tag36.xml"/><Relationship Id="rId15" Type="http://schemas.openxmlformats.org/officeDocument/2006/relationships/tags" Target="../tags/tag46.xml"/><Relationship Id="rId23" Type="http://schemas.openxmlformats.org/officeDocument/2006/relationships/image" Target="../media/image18.emf"/><Relationship Id="rId10" Type="http://schemas.openxmlformats.org/officeDocument/2006/relationships/tags" Target="../tags/tag41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tags" Target="../tags/tag45.xml"/><Relationship Id="rId22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13" Type="http://schemas.openxmlformats.org/officeDocument/2006/relationships/oleObject" Target="../embeddings/oleObject7.bin"/><Relationship Id="rId18" Type="http://schemas.openxmlformats.org/officeDocument/2006/relationships/image" Target="../media/image9.png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10.png"/><Relationship Id="rId2" Type="http://schemas.openxmlformats.org/officeDocument/2006/relationships/tags" Target="../tags/tag51.xml"/><Relationship Id="rId16" Type="http://schemas.openxmlformats.org/officeDocument/2006/relationships/image" Target="../media/image8.png"/><Relationship Id="rId1" Type="http://schemas.openxmlformats.org/officeDocument/2006/relationships/tags" Target="../tags/tag50.xml"/><Relationship Id="rId6" Type="http://schemas.openxmlformats.org/officeDocument/2006/relationships/tags" Target="../tags/tag55.xml"/><Relationship Id="rId11" Type="http://schemas.openxmlformats.org/officeDocument/2006/relationships/tags" Target="../tags/tag60.xml"/><Relationship Id="rId5" Type="http://schemas.openxmlformats.org/officeDocument/2006/relationships/tags" Target="../tags/tag54.xml"/><Relationship Id="rId15" Type="http://schemas.openxmlformats.org/officeDocument/2006/relationships/image" Target="../media/image19.emf"/><Relationship Id="rId10" Type="http://schemas.openxmlformats.org/officeDocument/2006/relationships/tags" Target="../tags/tag59.xml"/><Relationship Id="rId19" Type="http://schemas.openxmlformats.org/officeDocument/2006/relationships/image" Target="../media/image20.emf"/><Relationship Id="rId4" Type="http://schemas.openxmlformats.org/officeDocument/2006/relationships/tags" Target="../tags/tag53.xml"/><Relationship Id="rId9" Type="http://schemas.openxmlformats.org/officeDocument/2006/relationships/tags" Target="../tags/tag58.xml"/><Relationship Id="rId1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image" Target="../media/image1.emf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oleObject" Target="../embeddings/oleObject8.bin"/><Relationship Id="rId2" Type="http://schemas.openxmlformats.org/officeDocument/2006/relationships/tags" Target="../tags/tag62.xml"/><Relationship Id="rId16" Type="http://schemas.openxmlformats.org/officeDocument/2006/relationships/image" Target="../media/image9.png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notesSlide" Target="../notesSlides/notesSlide4.xml"/><Relationship Id="rId5" Type="http://schemas.openxmlformats.org/officeDocument/2006/relationships/tags" Target="../tags/tag65.xml"/><Relationship Id="rId15" Type="http://schemas.openxmlformats.org/officeDocument/2006/relationships/image" Target="../media/image10.png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15C1AFC-D7C0-0DE0-BD67-79E5368386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9924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5C1AFC-D7C0-0DE0-BD67-79E5368386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btfpColumnIndicatorGroup2">
            <a:extLst>
              <a:ext uri="{FF2B5EF4-FFF2-40B4-BE49-F238E27FC236}">
                <a16:creationId xmlns:a16="http://schemas.microsoft.com/office/drawing/2014/main" id="{8623C95F-B58E-60E5-75E8-8BEE251B9211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2" name="btfpColumnGapBlocker785440">
              <a:extLst>
                <a:ext uri="{FF2B5EF4-FFF2-40B4-BE49-F238E27FC236}">
                  <a16:creationId xmlns:a16="http://schemas.microsoft.com/office/drawing/2014/main" id="{1C9D0BC0-3BF4-964A-C691-3E685ACFC966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0" name="btfpColumnGapBlocker407237">
              <a:extLst>
                <a:ext uri="{FF2B5EF4-FFF2-40B4-BE49-F238E27FC236}">
                  <a16:creationId xmlns:a16="http://schemas.microsoft.com/office/drawing/2014/main" id="{E9FB1F8C-7077-A0EA-D75D-A4EABD91385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8" name="btfpColumnIndicator147385">
              <a:extLst>
                <a:ext uri="{FF2B5EF4-FFF2-40B4-BE49-F238E27FC236}">
                  <a16:creationId xmlns:a16="http://schemas.microsoft.com/office/drawing/2014/main" id="{E6AF01F0-CE10-1841-BA43-BCAE6E282E95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124242">
              <a:extLst>
                <a:ext uri="{FF2B5EF4-FFF2-40B4-BE49-F238E27FC236}">
                  <a16:creationId xmlns:a16="http://schemas.microsoft.com/office/drawing/2014/main" id="{372775DB-5D1F-03BA-D8F9-AABA8311CFBE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btfpColumnIndicatorGroup1">
            <a:extLst>
              <a:ext uri="{FF2B5EF4-FFF2-40B4-BE49-F238E27FC236}">
                <a16:creationId xmlns:a16="http://schemas.microsoft.com/office/drawing/2014/main" id="{F313D4B7-A556-5BE9-997E-22C94573861E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1" name="btfpColumnGapBlocker793440">
              <a:extLst>
                <a:ext uri="{FF2B5EF4-FFF2-40B4-BE49-F238E27FC236}">
                  <a16:creationId xmlns:a16="http://schemas.microsoft.com/office/drawing/2014/main" id="{F4DDB03E-DAF3-FBC3-3A5E-F91F39CC55F1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9" name="btfpColumnGapBlocker956107">
              <a:extLst>
                <a:ext uri="{FF2B5EF4-FFF2-40B4-BE49-F238E27FC236}">
                  <a16:creationId xmlns:a16="http://schemas.microsoft.com/office/drawing/2014/main" id="{EBCAAABC-1B90-DCC4-46F7-2DE974A08CC0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7" name="btfpColumnIndicator289695">
              <a:extLst>
                <a:ext uri="{FF2B5EF4-FFF2-40B4-BE49-F238E27FC236}">
                  <a16:creationId xmlns:a16="http://schemas.microsoft.com/office/drawing/2014/main" id="{210EB62C-2EF6-85AF-EF8B-7E707B5D02F7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867727">
              <a:extLst>
                <a:ext uri="{FF2B5EF4-FFF2-40B4-BE49-F238E27FC236}">
                  <a16:creationId xmlns:a16="http://schemas.microsoft.com/office/drawing/2014/main" id="{3D05FDA9-4206-0358-FEFB-5191335489C7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E2156E2B-F33A-0702-2CDE-23AD4F64C4C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Survey Deck 1 – Sample Outpu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23277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btfpColumnIndicatorGroup2">
            <a:extLst>
              <a:ext uri="{FF2B5EF4-FFF2-40B4-BE49-F238E27FC236}">
                <a16:creationId xmlns:a16="http://schemas.microsoft.com/office/drawing/2014/main" id="{C4C79D8F-2959-3A87-3443-927AA2624F31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1" name="btfpColumnGapBlocker478760">
              <a:extLst>
                <a:ext uri="{FF2B5EF4-FFF2-40B4-BE49-F238E27FC236}">
                  <a16:creationId xmlns:a16="http://schemas.microsoft.com/office/drawing/2014/main" id="{8A8ED950-9734-26B8-2C5D-50E3DFABDB0E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9" name="btfpColumnGapBlocker247897">
              <a:extLst>
                <a:ext uri="{FF2B5EF4-FFF2-40B4-BE49-F238E27FC236}">
                  <a16:creationId xmlns:a16="http://schemas.microsoft.com/office/drawing/2014/main" id="{2DEADCE4-C69E-A5E9-2504-327B5633DAF4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7" name="btfpColumnIndicator461813">
              <a:extLst>
                <a:ext uri="{FF2B5EF4-FFF2-40B4-BE49-F238E27FC236}">
                  <a16:creationId xmlns:a16="http://schemas.microsoft.com/office/drawing/2014/main" id="{B219D3A4-2AFD-0B5B-801A-68A33B6E3C8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btfpColumnIndicator515685">
              <a:extLst>
                <a:ext uri="{FF2B5EF4-FFF2-40B4-BE49-F238E27FC236}">
                  <a16:creationId xmlns:a16="http://schemas.microsoft.com/office/drawing/2014/main" id="{3353B497-A418-C78A-E2A7-AC0BE5DDA5DE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btfpColumnGapBlocker500980">
              <a:extLst>
                <a:ext uri="{FF2B5EF4-FFF2-40B4-BE49-F238E27FC236}">
                  <a16:creationId xmlns:a16="http://schemas.microsoft.com/office/drawing/2014/main" id="{58EEC858-15AF-B3A1-BECF-A26F88984363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1" name="btfpColumnIndicator761758">
              <a:extLst>
                <a:ext uri="{FF2B5EF4-FFF2-40B4-BE49-F238E27FC236}">
                  <a16:creationId xmlns:a16="http://schemas.microsoft.com/office/drawing/2014/main" id="{2EDE8382-2724-2197-3CFB-05CA6A3C9DC4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btfpColumnIndicator571341">
              <a:extLst>
                <a:ext uri="{FF2B5EF4-FFF2-40B4-BE49-F238E27FC236}">
                  <a16:creationId xmlns:a16="http://schemas.microsoft.com/office/drawing/2014/main" id="{D1074D43-DFA4-69AB-F9FA-D7B22C836739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5" name="btfpColumnIndicatorGroup1">
            <a:extLst>
              <a:ext uri="{FF2B5EF4-FFF2-40B4-BE49-F238E27FC236}">
                <a16:creationId xmlns:a16="http://schemas.microsoft.com/office/drawing/2014/main" id="{727E31D3-9FD1-2B3F-6012-34DB4AFF3BD4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40" name="btfpColumnGapBlocker870714">
              <a:extLst>
                <a:ext uri="{FF2B5EF4-FFF2-40B4-BE49-F238E27FC236}">
                  <a16:creationId xmlns:a16="http://schemas.microsoft.com/office/drawing/2014/main" id="{4FB585C3-6291-7816-E5BC-199D7424182A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8" name="btfpColumnGapBlocker110926">
              <a:extLst>
                <a:ext uri="{FF2B5EF4-FFF2-40B4-BE49-F238E27FC236}">
                  <a16:creationId xmlns:a16="http://schemas.microsoft.com/office/drawing/2014/main" id="{12268698-4DEE-7942-31A5-0461D5C2965F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6" name="btfpColumnIndicator485851">
              <a:extLst>
                <a:ext uri="{FF2B5EF4-FFF2-40B4-BE49-F238E27FC236}">
                  <a16:creationId xmlns:a16="http://schemas.microsoft.com/office/drawing/2014/main" id="{AC8A9912-8E3A-CFD0-6766-277881632DA0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btfpColumnIndicator262562">
              <a:extLst>
                <a:ext uri="{FF2B5EF4-FFF2-40B4-BE49-F238E27FC236}">
                  <a16:creationId xmlns:a16="http://schemas.microsoft.com/office/drawing/2014/main" id="{3045E159-9B3F-5421-5E69-ED89DB386116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btfpColumnGapBlocker407166">
              <a:extLst>
                <a:ext uri="{FF2B5EF4-FFF2-40B4-BE49-F238E27FC236}">
                  <a16:creationId xmlns:a16="http://schemas.microsoft.com/office/drawing/2014/main" id="{F1DEF968-C64F-C0A2-0AB8-F67D26964BB4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0" name="btfpColumnIndicator109515">
              <a:extLst>
                <a:ext uri="{FF2B5EF4-FFF2-40B4-BE49-F238E27FC236}">
                  <a16:creationId xmlns:a16="http://schemas.microsoft.com/office/drawing/2014/main" id="{DD191C78-DE25-9EF2-F4D7-784B97D87A53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btfpColumnIndicator468298">
              <a:extLst>
                <a:ext uri="{FF2B5EF4-FFF2-40B4-BE49-F238E27FC236}">
                  <a16:creationId xmlns:a16="http://schemas.microsoft.com/office/drawing/2014/main" id="{0417FB76-2C58-3A7E-16DC-57FABE3EFD01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61D35C14-98C3-7DF1-8596-43C83B76F0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47" imgH="348" progId="TCLayout.ActiveDocument.1">
                  <p:embed/>
                </p:oleObj>
              </mc:Choice>
              <mc:Fallback>
                <p:oleObj name="think-cell Slide" r:id="rId11" imgW="347" imgH="348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D35C14-98C3-7DF1-8596-43C83B76F0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385F772-0A3D-6531-A37D-6441D76D5A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/>
              <a:t>Penetration</a:t>
            </a:r>
            <a:r>
              <a:rPr lang="en-US"/>
              <a:t> </a:t>
            </a:r>
            <a:r>
              <a:rPr lang="en-US" b="1"/>
              <a:t>| </a:t>
            </a:r>
            <a:r>
              <a:rPr lang="en-US"/>
              <a:t>Penetration is fairly high at ~80% globally; solo/SMB segment has lower penetration at ~50% against 90-95% for midsize/large segments</a:t>
            </a:r>
          </a:p>
        </p:txBody>
      </p:sp>
      <p:grpSp>
        <p:nvGrpSpPr>
          <p:cNvPr id="32" name="btfpColumnHeaderBox887354">
            <a:extLst>
              <a:ext uri="{FF2B5EF4-FFF2-40B4-BE49-F238E27FC236}">
                <a16:creationId xmlns:a16="http://schemas.microsoft.com/office/drawing/2014/main" id="{A4121242-7F5F-40F2-A702-091BCF79D9B2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6282209" y="1789126"/>
            <a:ext cx="5495528" cy="568301"/>
            <a:chOff x="330200" y="1020696"/>
            <a:chExt cx="5495528" cy="568301"/>
          </a:xfrm>
        </p:grpSpPr>
        <p:sp>
          <p:nvSpPr>
            <p:cNvPr id="30" name="btfpColumnHeaderBoxText887354">
              <a:extLst>
                <a:ext uri="{FF2B5EF4-FFF2-40B4-BE49-F238E27FC236}">
                  <a16:creationId xmlns:a16="http://schemas.microsoft.com/office/drawing/2014/main" id="{245AA43D-8241-16CB-52C2-47837F043A2D}"/>
                </a:ext>
              </a:extLst>
            </p:cNvPr>
            <p:cNvSpPr txBox="1"/>
            <p:nvPr/>
          </p:nvSpPr>
          <p:spPr bwMode="gray">
            <a:xfrm>
              <a:off x="330200" y="1020696"/>
              <a:ext cx="5495528" cy="55975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Current penetration is at ~80% in Europe &amp; APAC</a:t>
              </a:r>
              <a:r>
                <a:rPr lang="en-US" b="1">
                  <a:solidFill>
                    <a:srgbClr val="000000"/>
                  </a:solidFill>
                </a:rPr>
                <a:t>; ~50% for businesses with &lt;5 FTEs</a:t>
              </a:r>
              <a:endParaRPr lang="en-US" sz="1600" b="1">
                <a:solidFill>
                  <a:srgbClr val="000000"/>
                </a:solidFill>
              </a:endParaRPr>
            </a:p>
          </p:txBody>
        </p:sp>
        <p:cxnSp>
          <p:nvCxnSpPr>
            <p:cNvPr id="31" name="btfpColumnHeaderBoxLine887354">
              <a:extLst>
                <a:ext uri="{FF2B5EF4-FFF2-40B4-BE49-F238E27FC236}">
                  <a16:creationId xmlns:a16="http://schemas.microsoft.com/office/drawing/2014/main" id="{8C70960D-C565-7239-6B04-83DEDEFAB213}"/>
                </a:ext>
              </a:extLst>
            </p:cNvPr>
            <p:cNvCxnSpPr/>
            <p:nvPr/>
          </p:nvCxnSpPr>
          <p:spPr bwMode="gray">
            <a:xfrm>
              <a:off x="330200" y="1588997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btfpColumnHeaderBox887354">
            <a:extLst>
              <a:ext uri="{FF2B5EF4-FFF2-40B4-BE49-F238E27FC236}">
                <a16:creationId xmlns:a16="http://schemas.microsoft.com/office/drawing/2014/main" id="{5553C01C-D39D-AA2C-E035-2637E7AF6FF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334963" y="1781581"/>
            <a:ext cx="5495528" cy="565218"/>
            <a:chOff x="330200" y="999025"/>
            <a:chExt cx="5495528" cy="565218"/>
          </a:xfrm>
        </p:grpSpPr>
        <p:sp>
          <p:nvSpPr>
            <p:cNvPr id="34" name="btfpColumnHeaderBoxText887354">
              <a:extLst>
                <a:ext uri="{FF2B5EF4-FFF2-40B4-BE49-F238E27FC236}">
                  <a16:creationId xmlns:a16="http://schemas.microsoft.com/office/drawing/2014/main" id="{A881A7DD-7672-F9F1-36A6-C1184EC43228}"/>
                </a:ext>
              </a:extLst>
            </p:cNvPr>
            <p:cNvSpPr txBox="1"/>
            <p:nvPr/>
          </p:nvSpPr>
          <p:spPr bwMode="gray">
            <a:xfrm>
              <a:off x="330200" y="999025"/>
              <a:ext cx="5495528" cy="565218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b="1">
                  <a:solidFill>
                    <a:srgbClr val="000000"/>
                  </a:solidFill>
                </a:rPr>
                <a:t>Penetration is at ~80% in US; ~50% for businesses with &lt;5 FTEs, while ~90% for those employing 5+FTEs</a:t>
              </a:r>
            </a:p>
          </p:txBody>
        </p:sp>
        <p:cxnSp>
          <p:nvCxnSpPr>
            <p:cNvPr id="35" name="btfpColumnHeaderBoxLine887354">
              <a:extLst>
                <a:ext uri="{FF2B5EF4-FFF2-40B4-BE49-F238E27FC236}">
                  <a16:creationId xmlns:a16="http://schemas.microsoft.com/office/drawing/2014/main" id="{4FEA257E-D0F8-7C98-AD3D-A9624A9615D5}"/>
                </a:ext>
              </a:extLst>
            </p:cNvPr>
            <p:cNvCxnSpPr/>
            <p:nvPr/>
          </p:nvCxnSpPr>
          <p:spPr bwMode="gray">
            <a:xfrm>
              <a:off x="330200" y="1564243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4" name="btfpMGChart408865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oDEJbiJhIbijBWlQuGajC1jcx0pBH+Rwxh7AJAh3ro0ehSG+bwiCwfpZfdztiq5tJUX3jPzxAAu04fmfz8Cu6FBpugkD/m1zzFceCZFe8P/M6flkWyarYmcqQk+8LlFVSHH6ebwE6lnjeps5QR37mvRNgSCAiN6t3T+FTHd+5Y9wJO6710c+eOS/2Prr5UrqTRHX69hQ7MP1jK/40HQbvs/aUoD6KP2b9iPbUs1mfTyJvpv6nOuTYTlF6OaAGIGzqBaUsfzuSMMqMhZMFJPxf8bNJZzjfyChJzHLrn6eCmbMGia9WOLcpQZucTnSZr04ItfjFnAA02CETOZJ/VXRdku08kGiHBGxFVUzDVKAHvipvi/tH4XHw9RGjd/HxySsbTPQIccCu9iHrlHCwEpTz1HNCZN8g8A0NeGIQfa+56bBvTVpxMZAD2Fe576WA3Q4CzV8R4VE/DdIIIFfhgS4nJYWcY1wusj70KPyU+86jPS3hhGSg0ROWjsiQYKKioPK3ZKD4fgY+69QGxUqYgfIPvzau5Ht3+YE832FxlJr+tPmZGG+3L1ISlEb5vweIGScvjWyvTOnb3fZ1LvyPXk7uMvfQ1YGrdTutfEiaIGB0ewPSOgVWOgIIrHVovMA33xHwgZe5YimXET5Yu3tbUQhqt/MLI9e/lPrei2PwlHC/vgP0dYf3B4m1gdbkdwhPenMPOTek0Gi9qwkSUhH0oOo3MOjksFBUh3PIauxlGDhq8Sl9Oe1J9KFMDVuxxmKcklv3cMDVEQr8Ggq6mmIma8GT3rRxrCFpThlLc8pNDD9xyrsV7kPyq0TH4CO7smF5si1L8Xwv9mBFo2hz3XiVNgLErNSOM+028ofiIKyWaqg7nQFqhTChxXMiTEe5EvljI56n/7QSWZgsvMRCrtZZj19sxq5mLFvnBs2IdtZg3oiacxhGXNr0oJHvP91VJu0dEosdhpqV7zNoXln/ZvkhqrvoWtNgw4DW7JzSdq7C2xFtQtcSTRfNaeuNtugSPjByJTwmCmGzWrbupU+tSguKp/djQvKmgUHrKdZ3Ul5Kfd8Ai9Kb70AIhxQubRkvOgVNwshC6aNmECuK4/IgqjPcGq2mJ8jSCndsTK/u3DcsGHNQK1BGr1BxO/FNzqBkVO47MJ0GNLmc3gbjsJvpO8DS1XSByeVii+LIVsEK7bQMo8E64sioTE04ry7tGywh6Ax6/a9+YWxOQZ/BKC33A2lziN2SMm2bGFJmU9EoJAPwLtXi+rytq3z7Q4x/uJ5UUxscw809A1DiukjGmf7aex/f4ImZFKbb/0Vaa6TnJIbG9G8n+RBNDCvUxNafwoWFScNXKP9ee4RfvXoTwnTNH0ZzRCN2abCofxcncFIYZtgiMrS14Zx3Fa1XeN88qNvYC88/AYagr/c9jPjFhDPEkdzwGxEdTYi2lNGckkVD3AM32f2kTWGjXJJXwi8dBw8m1i4a2d7FC7CPUCPLaNv/3Svg52jHnR0PZ7fThhOsya13xZbMBVmUh33JdI8TgMXov4v6DnJ+/P1HJzn3TPSEWhFSDjspD9HjDnr57Mku8V2HfG1cU2PvZnMCCP3WKZl6xcfvlpRJVLe3PNr822OzIHJnhdMkfulwS+UOYr+lNVnl+H8QlwvgwRMPKW1ZE+cE8tcAkCP1G0rmAUQfGTJImbJ6zFebBQwDYpldEI+FXgnywfb/N0XXIbXfgjxSVRqUAaAkcrSPf22rHcF87sW6rC11w3M7hsfJbCY/wq6frXIqhRcl9GTx84pkTvqGqStD6qrLarQOmwLjcOa54OUnZfK+6MtkbmMEqnqs4ymt22EgJP711ytYLaFfJwKSNO2PTnK7eNG4Fdsuw1lPKhFh8VqxDBbDB4bpnIqYTpxfIjdQihxoaIV8esmH4CAbwmKID1bxXZKrTF235UlKoIdK3zeczSHT3RftNkzcLwQp0pWdnsPcUg6I6u5hfVNtxB2VT/tpSAldVDRQmUpYIh/4cch6rlIybmhmgy0AkxJkbdY686CSv4HzORPqvekFQGTRphjmo4kJBhS1Npa3PHKBmaS6DtyZh7sOTyXrORN2W5yjz5x3DS7bGFOzUHI29fJi09S1238jaqho1ZECTx5hY1u3Sre+KRY3UETiTz1VlcexBn2kCd3e8mSZb0nkP4GWWTgXSWXZ+p69ZEewVldMHb8VWTLwrPtOHHp41bFMOISLh0IREWvR9faQ1SDtnXwIbmaTaQo8XKnnbGL1zTZF373mQjUrdFlUMi3DILj4er7ARI4XxXpckVZjF+h0eIX5JSjG7J3L2NebPUxDLgVNbWmldmzY72ogExgFx8VBOw5G5rkPWUFaZ8R+3lwmbue/vjP7RJ0fY9HTjDBhLcB1PTvSIcjmuRY05Huc8Kl+kMW06Cd+BIfJbtZzytkIdRd08A/Wbij/zYG5pm1QOozyZ4S4745/4qEKmGlHd/sa1tJdQkDMxcFwpYZUzHeKwkByDuO+7QwIHvJmfzE5Z8bO0Oue7smmtA6kxjv3BT4ZgilwgC5rVaGK4//tzTvYq8yISfCln0JWEtAmLLj5l4DfXskYCNULe+kcm44uKlD9EvC4um1MUjaXvLc6G33xM9U0xyu5GFw109Rni1+dajwRQQCLcYnh2yQK8QidkB+LOUeQCFbunZtftte+ymDwUPNnxLBy/zMQ4bCUDuE0u7V3BDidcAp+AisC8XEb4tFK4LaBb5jDUfmuz2NdhAGdluRiGwmfAYIV4Di0YdXo5CL90i5keIFUBqudYt+i8/HoDIUj8zMKckrJTWTazDTEb1y/P0aIJS3Bx/54NNq17UzAXq33d27TmTXN1fVdnS/PKTVeIYv1QW0gl6vXn1Akthj6iTwg65jBLmlmJW7sMpqCzJ1SL5+1K42SDzzigcZL1W1LFRUBqwE1AXta5A/bmzzLp00YMUfngVeYp5xEgewH/HTuJbQhmoUc2aGl0OEIPaeTp61xc+ZZGaHtrIVObh73ZxdDKmMuc44OxnO4N/SN3qQgg6vseGKHDiZgPgpsimiv35ZMfRyjZm7pHZg7BJ8Uk5aKdw9W2MxB+McRAdUD3wgRsjjU8n7KhJO8s27VIR1ZvTbhaAMmwS7CT1YlJF2PBP/2FyrPeGj5ShaMvf4Ku8IHHabhvfCxa2XjX3YxNciumK5PlSI7Xtuq69BstVNtHmxrqsSCAeykOADYYLSblcTwOVUUebqOfMYmYH2xakN9tYk1O15flyG9PLt3eCRFCOBRdsw/tJBmbUdh5bmBiXQiEZoluMO/z5KD4KLr/vYC7bJ8h4W4QlQCqq8d5tFVMXdAVd4lAgekaxuvMsK03JCSlAJPZpapKJGCdUwiRcHwyKRzq8sCIdzqzmNOwPT2DAjpIY6jxn7RXBBuCU+cgZIndpTJOm2wtoOay2wnhQHjXOofzcP9qegRmJuveoAa4BNJ4IoaquUixSlo3NtA2GSPkhdXMISRCCPqikY5IlPSIAAmpB0xj+Wq/gPCCc058ZTAw233mEGQ1Vwsqn+jHLwdKk5VK650zQ79w5IYIVEOpAHKz7jvcZfjwO1ED0dLWzQktZYASYe/8y8dNDF5fn6aUbdbI6aFYQe27lzTDiBMBo42Tmiu0mk4ue/ZyZ9tMonCPcM3YtOFybsZx2jFFgSqSAa8Dqcp9oQcflQYvZCppFrNqCsLPZZrufzZtXhyzeDcqKnDhXha0KD0hxEoRncArUL4cZTH/SQ12KF3Frb49iP7ZGpP9TRKZSFSXZrTtZZIueiN2g3AddYIrM7XPG/5AQimFjpbulsO0WIpQmtDzMWNyEa+1KwiYpAegxbbpm4PI+tkg6MP0x2IvXo0IRDWn7Uc73z5mHVCW8o7MXi9SjfBVuKCE66OhGhf6yNd7I96Yq1lVrhLOSTJTsYeN1F60X3WPZmKr0XKVO42F38//AmOymtycn3w9T0jyypVm37ZEjuJCKyd8m9EuLml+Cxo1GbzCrjH6BqKxwevraqlxWcMT4ebq91IbY0BEnKFNCzSG5IR82LZ40kq62RIhBbjPLnxnLqCBOV0L8A5rsWMi4Pp4gLZdf013Tsc5D3FbDIn2nlG73DdCW2u5Lc0PMW2aJlPCL8EEszl3D6+CbvVMycY4Ky2pf4Nkx2971srEB0JCBwTM18wWaiQ8wxWEzJoFofotgp8z0HzU005zjdRMoJPLhPWNpONXl1HzRq+CM/3M4BEpvfHvsQXTdEog2NLEVapXfTAGXddjTZjl3IcQMGdlAJfDSGFlu9fyZwlvOBjE43i3c7Q845/pwAIjr/kqfMRN9U29hhFUE61VztNztWKpTrC9jF+AU8nK5LBmXTNERWE5zCvzdpPgE+gZtstKrnUJjsDUEFElkbQcVLyF68N9FFQgyQrsU2RF+JwN6RPpbkwft6oHWV9b/97dMTT76FRN+fO1sU/FsbGAClCCv1/ZJoKlwyD+vT3vU9YFersaLP38G8XUh6pozPds94uD3RuzjZm3EthEoNDTWFPzijl4Y6/2DXBg7Pmqzq0lFI2NfCybuKQAAdnRJwx2j4dE9QXdR1Ey4YRCIR9u2wrxEIGhfWsJzcEnqjTbV+N/WZSiVMUL4jpmGahjPCDffpgjsYci/JQU1xNfYT1nTSO9zItRJl3hosMEEBkYadj7Gvw8Q8uUIx4lf8jqCXxMOdZNE4yYuRCsjDQUIrAwKbqY2fouT44DlL0nPA+6vftlNLbx1kvrYsq40MaSRh97gQk95VIMlqBE751FSX8dpjQAFCSEj1nHaYV1ITiRPsJYunRtdRqzmSqEPSUHziABt23arsHuvOD1RBwugoQFvkugxrbltK//9S+Wn9hp/JbIRlTqMyrOrBwffcEsp1qqt1CbkrXewg+Ik3zoIwQQLqKa8CaF3wh2D68bBKVU2NMnbKkDu5KTLpZpYZ2B+vZmhc1PPddaTK1Mnwh40kG7Tom/ylRAgrz27LATIsla97NtHKahxeFR+xLPzB84n1IbaM9SAQhCeAXBxRwqO8OxeBS98NDkt8NqzLmOn0m+udSddTUaTGm2cTEUFD1WGBRG4xHW0Vjr85egLNP12lZziTHcZx1+gWLLYurtD1662lUYdg8TXZliz3O4p1nu5M5wtJZeXMhzTikjUv/jWlUMV/6YLun9GaNHrbB1CbxYMpVRvXhn+l2pm0yEdqG6kQbp7X80ystEoz+AJoRM+O9EQTxg/kbzogeNlM/S5Ppg1rqD2RXOf4SDu3WiwvDDmVPwrKxeTxWW0bOnxRRY0v/eZgkzCKslrMtNe73tctm/YE3o3PrZ1dP0I7ndDWX2pKe+pJ34fLUNmZnIIgaRVGrBARHJ7RSRPTeYFbSZZDTv6BZJpufKJwqvRRrE0URDozH5+8gspAcgNlh9z37SwVkUNAgOv8kcNiIEiW8YnKWaiutpgIBqt9ClqR0v05cOxYbnedIAwmmd6UKb2mD9bxHgiY5sMIrijcQ4GllPtxyK/ZyeyzyHREKfI1s0/Qw8HYT6IB61Lv0wqqXIc98Gky86qW3fihFaTupx0B63hUOZ/SXA9Jou7c23v7S/xa6fHB3/2V2OCNztWFCmjDKDJq0FiNbOR2NpnawOiOw7PN9Do5ZIUu3Or01+JzasC/HNYT+FacE6PKyNdNSQObuoq1raR6iCZP7XLHnGj3dTn1PW81hut1Gi0Bhh8bRlMiKgRbRS3E6nxF9KUjkj3iFruQ10bcXncp/Z7cli9Rxuud9usE66PIMjOh4PiTT34XxQ0HCUj5tWKL+I5V2LpD/IRmaYFqHtd46q3BxQS26kcJCxLxYmbJwcCxDa/3V1yhGD1MLlat+Nx31d2eKCHe+wwwY3f4MyZWTdcfWtsq514W0JXoUfYOnXT2WU/I2lbtDrSO1aKcKhkTheiMDdMSxDDqNW4PFvx4cC7gtkh8zsY4ds4vlH23AF5Vqtz9LC4/3T974zHYUxSqOCsxhzGuDhsNgWsfu7hoQ8NhlBSkpKvdQY7LAqlQNzxj77OnOda1UL1qpCY1S6LW/lSonp0Yn5B6i0M8XkDk5q6ifrrG5p5aUR4bnEe/5bWpdjNy4AXmhftZF/+MQUvvTjATssEf/V/kXFXlJkne8r104fFBGlBO+tQoUzvR74qfbWpDri3UbBzC0Le8U0CQDmgZL09dEJdIqyF+8sHOYoaXBQH6Tv1kvN2CRPxCQUal+7pxMZHXTSbLsihjOxCZZv0ibaw5rOdMMOZFvS5bVQJs1g1f4b1W9s8stZB6bZQAvTwGywR6uSfp/yHtXTJNaMUO8QPliRfMDtc1dKLk+xVy7zTRfbrrVqi4DLCcSnpJs783qfdkYA6XW7IKqlzOqECoQ8E0KGskQQbsKfM83N+3xXgmEbcs7B/LTOU9aifrdbMzeAXxuF/1pw574Y+Am+e2oAex857S73OFiFzO1fg4r42VzMj3AyaHU3DsoZAwkS3C7GTiufB7iKvdr9+80YTH2y9gFR5yi1mC09OzdovVSrRH+F+rnZk8XugCtnMzslkysKCZ/DA7QTC5CwLzNOXu7JREbaB3VndOpQCh2XFvyuGFGmdhWC392NNMbjahXLPGGur/e5bigR6QmLzzjly3nPsi10cCgO+5neW+MdzTyv2qarbOgCTKJnR8BvqTF3AtoZ0bG/NO/mkakGVho/cjnsRj+7aF7+i9ESWWmHGDJ1LHxqPcMbyFB8P0WJamHSbzXkZkimtVRYbTg7ZMyrJ77+GxCmtaSM2ZGIleqt0aFvB/5Ink1y21cZfvsqSZ3vdV9xFJPoyH4AEUO0Ya5vYYPzO77whoiBrZyT5DD0nQ4kyB1OgaCnG+R/+tFsGE2Rpkm1MK7vQkYjbfQxmdfCNocYyQ21Ss+1n5vTI4iSTu3Raxih2yyPLd40BFZqi5fcYUf0/+qXD7WUtbo1LljgQyL5eURDkl8+paSqiKzppX3u5lDx2EvyPjg9Vm2YzuSvFrAEaTIfo2cBL7rK0D6rp6i4OlxzR/BvqI///M3G8fhiWrNtR6AO5Wu7DGqKCAoIFTKpBaTXdN5GmGMNxHTXCOuBJUs71Jx3QZu1npCMvJpLil73mD9pgIwlOm9zDjBBti1IMtaRgHWdiV+IemLcj92xs93N6eYfJrbOx+oJg4n8eZMQ7aaxI8IXC4scvLvBTncyp6pw0tN0TOBEvaF1lnypuqg2xASAzFkdLT1ggv0g3JHtJPbT/0UEZ6AzH/CJ3BbAdLqRHFiLdQE8iahzy/U2DXQumAE/3eGP9AD6m2q/njH9RUQaojbH+VbOBkbUUPCZY20p/8AIsBBsSUEOxNhoAuRQxoxjX5bGHmz2TeD0id5jkkz4PMCcLixUauDM9Z3nBbV9hBdzQQPPhx+TMCAxHnb2UwK1BjMBIWNTrBwO7Tf2DGEXsu8uBG5btscjxXASUV/w/sPKIQsmxyKqDym36Tx3M+nSFYnGMx8zttfG2VCwSr41xBZr/Rr75GYRXo1TCD7vBelxBbD1OxDt3bkVl1ZOijHfFhozDPqLcroC3bB+PxThGkUnYVlZuUlyOwd5sFHBCGcQLY4p9taYPHf//SjgTHdyJ+eiwEt3pGpCK9CFJXW9TUyPHDA4JBY0qbMIBo2wepN8S65KNh0aX7hFjAtexqYQ3Qw65dVyHvlJPntXemBMYS9KTIhXw3FjNk/EetFrdxytN6JHQHJioOhlULMciLVfBtkzxE1CzXrBwlF8dZv52Apo20FingzUMAtcigAhK/kVF28gKjYJJGsZyqGJkwFYIOqaWX5LB7Fuvh7dC+vm0qeopzYcRiyAsEMXKUdPHkSHN7RmDyQjZAOppllyHd7h5+4aZVAED7SbPSDAz1S5A5IhcBHCnRZUHsXo1+CRzdzRksRsHdSfWsuFv+mTVII6J6t24xecVwPNvLyU/G5TsE7TPSzQ5jWVc9YuoMWO5sQ1+5WHcW24jy7vUncsn47rtckJCD4vK7YavSL66CBwxmyGNQpG92aOQ27s4dT7WtOkHm5XdhjroE2Ilo8fS7zgSxFJqqj0iW15I5+kHCDqVRucw61CShKietDG9d+L4H9/N/rwKjZE/OelfcTPxpnKNZmq/YgdnX+ZVyfB2E8AnJR4KsiYt0pP9E/R5tLFTYz8bqQ7QUEZUN+boADh/xyyf1ES516JJLQxtkAB1XaquyVkXM6uqKEqPDMchNoY4e3eA2B0ykcXoUOByodJ0vtKsCId8A0rCI8TQpHjjSoM1dZZn9Z9sYr2wa0ikzLvI+DO3Vqoa+MrVcd4VClG7yICIyhWvclkjbjOOV+DMd+boCjpPt7rlark/LlSYyTnAcUOl3J7PZmvj0WwNb28QiU8S8Q89XaD+mrCX++RhzkSzsQqQxAqa5a/qwkuVXFIYShlUWuv/YVCEu4zpNprHE4OyAz/o9it3MHGPKdm7HKGYq+Kbh9GfwGqeprKl/OyCo/ceKpJkTb3/TlzVMSkn4ET8E77fg0BPFMfMJECNomr5bHNVB2wt5h9Yw5scqF6NDo3B3I6wcXDyz+rk3IJzf+EeQvOMrrRsncoK5MpjnmYdvoJJpIjawC9CXxck2lxw1cy9hs1NxyfRuAogczmLnUgEzZaXdwOicXNyGl3keFKdW0rvhschxFr2p9Lj3V8vtbEiW99P/PA/BsjHxTJPoJqgtDyiInUAQhffNrPtEN/zTZJS7tfkpeqpiGwlRwuWfzJPu1cryr75Dfdpx/IRlH1GU6bkqNNOHlQv/wBkgbzLibPputJvFkK1DDFNoaZkkJYk94LQMQwZE3SlR1bckI0yfA7DfcZKr6UCfdu6cUuRpstPHOCRAwmzmUtWuXsqUUDLjE3AJHPHdmbnhGgmOAfjcWnGp35hflwe7mkNWN2OyoDQvxFBA2wgE6J2Af8YDOxjUSZ76sfTJQE1a/MOyZkSswAKEunXA39tuhlo2JhxJ0SjEhS2X7MAFeYdOxH0S0sEnwOZqka8SlO2jBHdHDunWnHTHubImUeXNcflOHRAr4rNFu+LsNyyEC+V9QyJEiMcQUG9b615ZAVJxWyCOfucS/2PGq8GZTDZ3e/M+5GFDtsRQRLtidSpr2y2VQHq+6fPZnK+U9mXwX96QU9URostzjC0bFmC/bPgJGjRrg/6/lv0bLRBr2djvbMGYulI/YHDoLCXA3Va6hJMCVmuuBpQmpBnf+36zlGkhxl4KckK6urrT3nIH7h397Bc2lChMNOT2OYeiVxEHAc/dzI88YhK/ynfMTHJ+C5HsbQgmtd1F0KYcacUJrhmFbFjnoirzCHjKZiSzI9bvktJeYoS3fyA8paG7lZ8e2/6HPq6eInemPWNM2c1xjFi6vY+Rv4nQlgPBFU6KRCFR/yh0P/528d/OZsEuUgjqgDSWSG1SBJe4AZSbgaabcGLk9EHg0dl3CkkYS5nrnO3/P/SHNoD27/r2J4coEtOLnUJfrjV2uPiju6WRYRvnVAeQlZf5aP2jDAE+d2BET+fqyiOXkB6cX865ypWek6im6pr+BpR+L6FAtOVjYd/daG9qtT5Vz6S4V8ZJubxHSEwoUHh7ULy9oVXGZc6ptQXX6FxxXh96B4PxmHSI8ia3x8mK+pYsE/9sznEDkJTnX9uMXXCTBgBnh1xv+sN02a9WKR53cIiT4Yxiu2VBvZlqMfeZSoRUEKzO3Co+u6Lfnc7+0TG6RCOJ2ICa9fHilLDDrLTQCdHvgcQefAhWSeWXihCAsIPg3oINDg89pAzUBG3A/4SjBbYFw8gcnLpPlJnDdP1+28wFcM2JLDJSyxq60jSl+mFtOqvddwYyri1qVkqluXbHua7xYzRqpc06gqlWoa1uloEKB2YcfP4iOuj5zfO/yY7+eoPR4A6GuyQXK9gpXbQTdAxfyWxMyhyrI50DEg4dGD5qiGfcy5QJMCCdU5vpUpCI8Op3MtZB736IOpPpqz+etFhGBK4sGtGFmbimydRvoea2F3WmFAxu3T89sHVhj23/K3O2ARAvgRpCNWpl13wnNjZF/pkz7mRZYf8tlqWImhV4zhxiTLCxMyvhOli9XskAbMDLC+rl6rkNMYUuPr93Hc7XB1TTwoVz61JcsmrcYseBtmoBB6MyjU5roRDOoX5MzEjJpnm2dMsSf8ZBf5StuHDmCBS1BGfOdNt3ChUHo7lJ0ZBDcWrrF1zIyD46HiRXz7bExv1/HbiI2LRPv229g7xt9MmlE7yesGpBwih97ft6vDq+RsQK1CYHk/SHUPN8592Nv9XeYDLVlYYFQ17CytME0nR4FuOgdUQUYYNrlU0nKyMqgW2PsRm40pBy5majQZkv0IyWNnNJ2UwKd6sPKJZjbClE2GaiaM/lHP2bTWEPdUre7b4pE0ngAK0wUy0AIhGHwMo6BWojNQOQKTZb8w9Fa42wJPepKGh7hR54djEqg60JeG7SFHWHMLn774TJpnBOQe5ArZZsrvhLBK14K2MNb6zO8brFS5+bpVZA/pUjc9UZJA5sf4PCnuBHzI/0VyWw4KJDBHMkpWJC/LQ2of+7zB2cW2qhCkEI/fp/ntkde+aJwXv/9GzkMmi3ef47oxxJUI5ZA/lMrpOBlGZPmdDhUwgl5lrrKQmjpwd+59AAwh+/F/QBbb1qu2HYeeYLhrAiv5DLolG78SBIy6MiRfidVu/MGaWuPfMuAQnamY4cGvqoU569UbRX7dNu+UCU/6XaopK24dpueZOOu2VyTQMAwjuAc79cRg3AriIaTVpz3IJY9/LnkqyOesZmttbDalqWyzqhrY/nULId9qZUsgg+y5VO1VDOamByymrlewF49Z2hdayuDPiAdQT8inYMm9zNpsWe4LLQ2ogrxYkC3igNKFa3UmtFOGS0hsd9bUGOu4J/IUoej6JzwZGf85M3UP4rpNzwSni2iRaK4ErN+PUYMpHYVWKxMm6JMMiZJ77CV8OKjucZDAieKCCJKpdm2g5IxnK+2Q0Tr38ZKr/71SMmELiZa4pPh5gI59ToCTrUGoJsTaZZ2GdkgYyptrPrwMVrPK5TdGDtC5cDlexqNAPUFNsL+Q7MSzTn3NTLL+BdwB0QK+g2al6bnYykKsn6/M7nMQqhD4CDVofGHie4wJoUeIiZIuOAR9lntJTA2P8yXRBoHUfmFUYt6S0kozfodwlDsUyd1nczeE8wcXsNnSlguYcHDgiEhtBZ/3vAgJQNv7aRKdTw7MvTD2DM0+SGIbt5WQ/cpe82k9tdPPQ34YAM3NsmUlkMTHtQiPzZUvJsBp7qLZTTb5CGbFglxh9lyrputbtYFcztuMIN6IDqczlzL2k/qpfkmTjqNV/0D39ESuBdbbj3Fz4VlVLCh1PNWuyBRjud70C0Aszw1PQehq5zBWxqgyDKknC9jEAu5HbIN8LLSyhWryqr/u/Fst8zNhYzcAur7FZ3snwGjxxxmViyLCziSDiKFUIyLWL2GGEmzLK8Wjk9zS30eu0s2qNPVJkYkbCPnd8RS2vI4RVVEljGhioK7apvVDDKobeW7s6Q/ji6KO3AyIx4DF/Ex+wEvL2iSLzVu/yQGiCosDNonx/xNUuPwl5W+gX7ZgpQQGd9hvE95VZh7wQFZMFn4BDt8gGYFSWdF7gLnSTaMFAvc4WvD77Vsfk27VyzKpS0gZ54z0yoXbQmizFFDOofgdX3zeDHDPxsah98EYH0QeTGd+NuYK6GL4G5ArrwAcGexmkRlDja71mUh/ZqWPZtE4Z0AS1BD2IhU8n1zbg8PW9EA1gV6hG//TqfwIiAllnZWTV1tUmi817KxTpWC5UnFRlrkvxwjR8BnAHneN+da+kbEM5pM35r5Sj89QpcKrDklEULmIqgqy05cQfcAlIb0cGGzOLmI/pX2yxsvbaiF8ptymzAzkvJYJpLJk9HPbq88T0YVeMe1sdmMihjSDWiet63dMei0zC/VWGdywllWsAUUnDkvbCvyWm0ti37o4BYw+l1kr/vz6FD+ydHz92B7xb9WNaIhgohHvnvXQIlAaBi4CIycv4yXS/q7JfwuINA+SrXnzQnp7AqGQKkUdiShpvBhaFcRPtBjzJIiX5ay3XaHDD7eZ4nQ3v5xk3Aknbr/YHfNDYxxenq4ZEbZbcuTEMOPNXDgyQX8Q7lU2CSTsOsaHq1/axXyCtIkh7AakiktmUaegW4tusOyy3F/YZTSYV2EhDQt4Uhb0cd81K5bXqlr6IpoizqkjjSMVsnaaSKo1xClIA4diRwEjpv85fb970rC8eBLrNoPAdDf0HMJzlE/feeLr2Urn6kPT4lCeDNy4FtdfbY5oKrM72ke4iZMzJCR/5joDvhv6y5HMQKFhIlwf+ENyW4qd38+nnc1FIDUXg4I0Ff1XtMWWaJHDDq+IQd72m+0XXvyjguSbnB15PxgfHQ5Jq194bp9hN12CQr547OtLYw6RhZFq3ufFVrhCgmhwWFVFGCdaB/m5mL34ek0vaGRVyGETqmz/9J6Cn1ERY96YabskNSGSyMixda8KEKIXUaqtLdLlykyJm+jdZW5aXSjMaUx0+6Nj6iFGoUNX6FVa2LoVFYVg0rEhomVYMod7OkxYbmYt1d3YIFt789UmdsMoROXN+9wJyqj9Xf/p17ITk2JkNSSMSlnYWZUhjZAup9KOGzXpnH7XhKTm/gC82BE7bQEdORazhmtjCmZpT4rz7bmRAMERBPi/n/VqRxqwtEsqIk4LPAbBw0T/GHBWQSD+//ZOjFrAgm+XZNy/TI3xJv5Uud0aNxAUvRZCMcdDDChgwVk8dh+2ad5FaEH0DAF95E2ZXEEQ1/1n9PhotPmLyW99cVe+QlP95MaTjtC8Qip9d72w+fAzQxBkN3WYX7Ah82+F8JI4O+Jdu0z8ClljXU/bhkLiDNwG5vORnBL/urlXntgB+8p0p9z36ythSqmdwnzzDVDftvi/utfEyfed5xpiZjLBHnt+O6ZZi1DOOGuGu3KmbcaiWZGH8G/dhuXRI9yBhhizI4/sRd7+OYvlGruDCMkSc5GN9S/6WWFHAgwDHWQo+BHWGCt6Q5sKgaOwoz61OP5Ub7RqZs2fYysabg0DgClxRHzD4+mjUsBpngm0ddE1EA4BpiIP7KwX7Pwdp1IjccDcfhzrZw57OAcTwchlJAjeMe8Vluo3e56dNlCWO8vW/F7vfKhVbMxIS9FfeWPFmwrdiTyMeK/kbVxQq7xWgTN7PQ//X9yxquL7yq6O3OQGnyfpb/gZm95AxyAR/GDu+gwUa5p9ktjMhQsu+id8StFISPt0YC69YV80D2bTGsdl1Gq9QZ3AfWWMkQRbvp1ihLEapbJNfETlBp4q0fa2IDGHR8ngzPcJ+IlfqqA3yDOB4utnB6yX9sXG26F3IqU9kkHq42/ALugrOUCP01KzmhKg5yRG5f21hNTayt6qb05qVHtDv+2PfDUMoTC0MVw78q8g8PERneqUTdjmh84kBBqz0npzJEWJnbHRkFm5/UGx6wL2TJF1XTfPhYuf0omjfGBS4gxFs/d803x8jcbU+NoD3cW1cEARGmLvyRRmgYO9sDB8PnH7pWuWkN/lFxsFrQhVlC/MsWOJmpt99Nhq5awXLyMl2H/7ztVX0jdRlG/J3qC8hV8pr3TllGzQmPbCyhP0dSbm3OuWWJ0/vDN6p3W7eJ9wnUhIwkcuFoVyOy3L1yaIOIjNbAKqCpxRdNu5F7hkc3cA9LxULtllJi+vFJ1Sj89sR3ttgpWf+7zAV0HRstxgTfQ+Z5g6m4zRZXEDjzCh9N75xkQ/n1l3erTNXNHqtaRo3GT0K6hi7MK9JiHLJm9IcGvhObGHOEcpRQLs99gm8dMUhrBCGUj/bsiIOBMfPscsBAjoRqpfwAhhKmu4g0wG/LqGh/Dg+OiXQ7d4RTaOLkwGvJeV/80GudAIuxLYQ/rNMADYWWM5T4xILo2/zOKBrrV0oBDK6H420NM5PgtyM1Gdk8SQnXaTPmLT7HBotztAcwuEgN/4eBTeyVGal+vhFrIZharAZ59jDD1ZLzpwsXFaAWJ4j7LPzWoVXky4Dab8W/+EIs+BO9+JpovbQPv2gYJuRDMrz4iNkfUwEAwgJ/d5/vNkdlG/tmE4YebMEbqYoZlN3jhbPGVe3YiSKJbyCIlhstegv+1kOBeY/pdfL4WRCnMIc+fR0qP+YqGLSM6+zNOpWwZdbOBM68X01XBGcC0BPIzkQ6iS/sNd2h9oYrx/BCl+QoVn3oEY+WqZLdKpVuilEg+iC/eUbDXsoWyZ0l0ofqkUKFeI6km7Yb8mvz1eIow5Q/QXhTCQeFvNKqs5QcGIPo1aZBxElO3OV8YpAJmHQLAk2XYtIOxZmomIA1zSh9QIO+8CI1L+oA3WiIVajX5PHc/ri2kp3w9c7Xpd9HU3CYUKRsSA+Osa+K8bRnAd19LXkrgHuf4mR4nsvGFiG3I5aJnIUv/Rk7WGeiALnbprx47c0W36dGeb/MhJlkK2lEUq+cvlEfAce8ItFCxs9oHYm2Gp9Dpq8+7JVI5EbqH3iTVmmsb90CNzrILvFy37lvda/92GRJxGlBDUKVeF5VTAYfVGrCRnG1dEhZ6oQAiMF2+0jHFa8JXEk3au/sXSkvTyMhQtuolHGhJZLPHwdMXNHMfylPMrWDSQjBcuiRcLKBtIFfGTCIuBtBlwMM4/QL0ZrgPJ23m64ubfckysQJ0NoPiPgypQeKhBRn0DMKHSJwifGzXAipdfQOzj14M81pIE0yI/YhPreRdj2lZbhpIjc40poHqfGxRrWDH14W8muFVNM1haxXfNP1N9Y2Rayg1GR8wyyDVAoSg0bfNyeQYXBJBUGSxegcvrvVIlr4d+fyxOxbRfut1fI7DfGJwiVt5vq+Trnx5NdHDbKjMr3/GrIeF8z8XK/Eq6Hvx0ImvmQr2YNw79NwieG6cTFZp4RpNMC6tOZCxkW/v806vtMHENaCo87Ka397aVMK0SigjjJd9d5SBbeVmCz0wUkIH1qbdUsZSEyxz+Lw5QIrTtcDX1Q81oq4g2q/n5wd1cCkk48rOynB5l55nlm55qM2oqowsb4G7t6F3//6wbw6lVdh1UxfdTHXUomUs0lj+wwRbaJMnniz0QK1cBN1PEqhzxTcubP0qMF4/+w2/y2nJio6SR1zWxaRKYW7CDfCem3QJulYJ8ULr4zcHgzHL0XqUmq4QcLXrsUX6RI+Z85UjkAY4AgvEygLqOdjVyJK3Cf3x2ul8WYFM1O2YoxiFDtiQBlX6V5n8WllZigHkxczDpf1BMzmQ97jp24DnChb6ud8fyoI4sbiwpLgjrn2oMaEWb2f550XBtkqorXrQ/G+xY65Nky5n0vhWTQRWNtGu4xARVP10BJe0pEQnTOuivJCpzoefjFDi3Fl9HICsDy05hR+xxvKZPypU5uQxEJxgytgzv9CGBeDDoVJRP2BX3OjTt1Qq/lb16OUMkEOSRZxAtYzAZrxn+RYehWWOIViqy6eQAqDHwRTXgxsUuQG9S0ivCD/LrJXiu6skawQeOa+8fcfVS8bkgLjl6sKn7uahgsOEIim820seZfsT59ymm/P/S0c0t67ESDoT3vG6A3MFtY7eTaJuNUzNMN9zqt8lYUVgxNgUJ7Qd9ZIQlB9kuWY6+fCjZCunwAuMa5Op3nsoMfVeS1R1fENPAZUGIQIWAvARPXFAfOUfIbQ2MFt9Dw3V8DTZApY+y0w8etnaCSCJtuELNZhm4/zuJPd2/UzWJbB2uNg6I5j9zRFEcPxZ3JB0jKk8ufGXBNiBCMdUSBJkh2WHExSnl1R2m9ySsicniCbzR0kQPgHEkw63djDzf5Y1VRCHOd/HrIM239G+1aBg7173W22AZ3A9qM/HxfhDErXQl2M7tFS5QwelU9GS/Gmd8D4MPq0MFk6Us8+kFpMJvWyAQuBEDA6YFaF9FHnE1TqSvaQFA9xtE32Ki5KJxszAYyEUedVtzOpHD18GeIENYr6o42liwQE2GoRDuIToLreZ0lmOtBuPEYkfq7LCSjX31kqxwwvMOR2y+UNGF+P0x+VFPIkuTfjL/febxacS5oyKDyeLZDnOCXK4ACiQNPBPxTo84tLOOmCan/Tpoel64Hr+wpjGqtz24VkMABZdWWgt+ZZtEbTAhmo8UcLNUON8zAvFwyO7XaeMqoFzRZo1qdBqgAFiw9K9B5LSknOp4zHIU21o1eL8i5GoyPaqFJi/W/DaQa0mj2T7sqaiI3v15bjNIychUTwje+GOQvxCobbLiczqXA8qf1VCo9QIvRkYAcgyd3EkUGlVjF9AbtonSJA3Q6WqMJ6EIBywQwb693YjT1/5PD/vE+1i+7C5TLOytM/lCzs12HL7oNI3DqBvAjvxOBEJjihETcxeEIG8pLrav0pqbxaY8yzBhdd1F902aUu6kFmbor2sdUn2T0JtZ0hOa4VsjatPC5VdFBls2Ri97yvnDnA28jHmrwUQK3z/tyjRYnWWk8SKF0jVCHvY558s00Cl8QF/Gt8UaYxV4Be+QVAR0q2G8RDBF9ILWG+ShchJhrM7vEKiLMLfOQw11z4Wz/ZsQ0yz3jOT0rRQFzDZfI1mTZJVOlgvZXD5rdKTBqInkJEWf29y5TEmO/NvkGg8bGdL7wPdRBI/YT+Ax2XN83M4ay4j3/ZlKj/BNsB1Gf3DHhiWa99q55Z0XgTfLI2/w0OE0p3iqRJf3rlMBfR8mHZm5Bwq6ib4zC13taF6bxyorj3rmm6e7rIDKf9GJ6l3NPiMRIgJtPf8fWk8nEfKOD82tQfOdP7EaUTLNozeqvch6d7Q60vdHuUiJl+IxxQVKpb+jnRX+kIJrsj7LdSCMdsUnTSddWTLbhqxnLzHngMEdtB5S2jbU+9YLnllPpiLVLwMiDUjYN16t4Etv1u1CYiOYb1akckdHZVf8wfmK0/HQqT2ts4YzFXIpHZ4onLILFeWexE2wAVRJJnQ0EkAnuFmTO1Yg+TxnTPaaL70/C7BaodiqXXXmUj4oI+s1DukqOMaXg68CwreQN1cNBEkI/VgOwPBmrZetqt3XdpZXr5eFhxOIp8j+TXtKHMRwm7Ie0LU6B+EaS853HemYESRvyOZwanQ7HeTbG2ikt17HsYxlPkVWnWc7rdZ0wOrQGD88K0P/qg+EfZSqKZx/KJE3HwkqpfuvH2oEj7XVxk0FlvvwuGCukvQsvlsbSXJgSLzavWIXl961dSpyhmctX/iePRt4K6jvgFovF6IxGBH048pcg+rDDoYC0rg7mPzP2xj6SYabeQvBCKLPmMhmqgYp/KtMKSmirW5bQN4TfRf7N0lAN4xFVEbW/bhtwyGKmDUkFBlOV8GnzErwEVXltyhcrRd4Q2q7SP2Ox5Vz2R//Avh1y/N96hAV2v1ZrjpjmGE1gr5nJeQ6mUbFgEcBb57B77w7ZOm9qo28f0HDGW0e4fzDDkTrheQMMhU3R58DxkEcl+YHJqcT58SGBUFIbIi4FBh225Fyd7isQBxjdPnllEx4DhBwC0zi+6P4gz8WlJH2TdhnRl3A7Q68juR8BBk+a8D2IQRy00VxeTY0ZhoPFf5srP2q3X3mnfvOb3mUct0ThjrT57zDP1TwqzO1wHozv18D4saVwklu/skyAYZCOwxtxkoaz9k27wG7JHMTanA9CNDB0ewA/sd1EK70M0rEIAvE+KeEoddym01td+Ob8YMST7BaUxi8YUEhIo5ePH1r71NKSux7D0HBbx+3kQYm0KTobhnVkEk2/k+3sel2GOaAceNZS3S59uO56Yr3ADjgAiQilUOpMGs/rj0iH1dUgkisTHPCMJJMkMjxM0VTlTpzHU3Ej8ik68ZjX4usxjanvoRe0HdkK/PwZUJdyd8Qtiy0ZmCcsQMpZ4BsYSgbyJFWchRHV/N1d0JanQsi+QS9dKYbfgLkRgxjNc/B0l3pw0XvFEGZrqCZ6pYyD2WB2r7XtlwqsdMBmpnhvRiSmfoD0DW8n16Naa8L4tM5ln+tb81dLYiOSuHjyJ/cUH3DQh+psZv1E6o/GBXnBJYwmQk2nnmfNfmNUy//82wdz7lKRZyXWEE7k9nreZLictklPVrzK5yUfGkZgQKNL/Xi63v694K/gjvImt4azo2PZA+s3AKS2WWT9J1bqiTWX5VSWlj81cZDaUIQKyJRIzAhFslG+wOrRdLyjiZbfJpLtMK6oRWN6FER123kZxao3Wig2X1nF+6OdK4H4rmrjI4q8MrztQMM17mKpVuIJEskmvdFLuE2Ju8OlWV59JHKvg6y7YOTNiplG+aJzn6oYXJqyw3cEXUqUYHXgX3woxP1EWw11CT0O6lajvNtT/XxWpgIPXvUekxoPHIkRIr3eefu6sjrldFDA6MdYqi3fSUpyyMoxJYu6NPDSkxmfb5917JN8zBdvjqmpnjvhyyWP7o3HONpdXs4V5+zY1h9V7LpttareZVNEphJJ8aukmh0IFLJu3GMT+yvu9hSsx2jia6I8IAkeUkvRvq57sRns21+YfPVbTuVtNZuvOZcSezXpQsJSWVIR3MY8I9kFtLqP6+Ior7a8m1N0ZR+ZUCPhLoFxZscs0OA3adQvNqTpJ1SnIR8Vg312QVYLSSjU6X6MlwWgRL3IjdbBsH97jb6Qp0jVV+egX9YI5eVYWWJo6DXj22vquqJ4G0Ry6wkbXC2baa3CdHenp08ti2DmNrXvy/1jMmWwcluaSircm/Cq06sVaz9ou1bMRlXsVE4ML3LojDdqG75yiXDNTM2drgqX9wK/xsfn47ZCf/AUjL4xXq3jFiTRBuXU2GY67dM5CnfUFp2Tsbe1TTeB76xShcoNL3W2MFySPC3kzo3QkI1zVIOB5riZjFI1j5dA/nwGV5B71ehAfg+FUJ9T80DYK1KsiK6XG5YX+CMs4pj9U2yQjKf9Di+QWqvfx6bRAeFVKHOTq9D0GwGLUc8DpmmfiHwakMj7ZgdUHmuvkrdfnVPKS0NvOQ6vwPXDXiMelV3HAbFLraPyS/p35E4ZMKqklcDMk4EDiTh24pqKQkf5TPK3Twbf60qxOh0xHTxYtPL00rDkrY2xH4Q/fAYqg8pl6DLaGyNQvF6XTKQUtxhR2I2iHsqrxhA0HcZ4WnE1kWJOzYEDfGWIiuQR6UTOUoPiWThYMLpDs08sy/m8gcehdn+TJBNhl997fnEDQ1Nlhf2IOVRjaP+3utSm6ZDXHmcEjQOR4f4JC497qIExooI5UFzg8PAfwCn1Vv3EoQES4F4nJYxrOudf+6dUCUI/s3Ibjup616FQMDG2udNV1VTOg7b5JjbhRwGPVSU9lgddIukhr5LmOek8oBgjLrixlGcZqP0Yj/1AxsPX3oSQ8gEzkEuc6w8MtwnnSmac5+Yhp/Ht0kS0K32yqNqsPoVZ2zb74H5dWJ+ifAnW8IvtHtw4C6LvTkqL01PqD9cPHWdDoHpGtkbGdhDvmf2+4/52Efs1dx6SD9W0rmnYRVa4bm5mQfeSS/55IB6ha3TWBACmdn6gtz6bBwcphH8CEb3F1G3FgfqzAjEt2htRpPRjE51eghTSBCw7UjJBM3lQ7jFYJeS1bqbbXtz9QLBt+Eq4fSdEecrzm75MeDjhzfTz40eAYerGNMtyiupVvlMtkMsePyltNyv6Qy18NdKrdqUUvmWBC0NcS5D8PH7Ky2xuR1SXmAXUyEEz6VEA0jATo+n4kH9hChV0NcD3Gcu5a/P8gnNZhsKwj7Tr13dsXD7zpJybCVtKGOoy1wy2thbzX3dt6MtezZY1mGXrvd/YAQ/70q04W0tq/I5Wk1VbYLTIsAnDUNgZbn49Yuz2dd9RuzBOABmIQgPmI+q6/wGhmlVwuNkH+/XS0oq/85LPP0t/k//fUxg2jDKllfSBEYSoKP84ahh2dmavnQCdgUpc4Oh377xPXylczd5Gagvo/lX0xN7U2iIgQ6RhoRnYCAfDWMNKm1MaOMIaCL3q3XrOPS6aBK9XKxFktkuBS+3G2alwZ0I3C0b8giZtYc/spZEgZBCWPDRcMW6k0g6jrEEQWpKqhRTVWXB3NJCvYN2hlGq2VzZGbw41NdfPlH9qF7idTWlPnS61wJx/U1z6NpmH6Jz2c64j1WYW3HW5PtgXxvTd965zalekA1uQSQHoQ3yhpsRpC/3VHJbegk/tqHk8eN8KFjbwRvJH5RxHwGArNUlCkaliKFtreWYSAqQ34zS+i8wJkzCx3XgIj48YaANtr1ArPeWnjzzhY2IvOjHmPtVsKQqcfE7Eatz41VjFt1uX+csZVyJ7XLmJT+PlvpY1G7qqSZkbMpy6gyeW5ZcEAhqsQlB/4GzcYVzmipZ/vtAhHt34itrw/b3W/8iXj5Fx7XIC6OQhjU1bcn4sJVGohMoxvR4a2Y2MXlflmkxrrlTjNsbfuU+gNIpGnSk7DWogOQO/ibV+tcqywL2CROIuLvFSey7ozIN/JFJ5Fjtjq1H+TbWdbIQ5/p/PmcOoxZLIkLXTC0rakOlI/iEri12MP5vKifbvydjDKzYbBgWEi6++ybGdPuzCOLLZQEzMb4X68zpyYPTu/ZAx4da62hd2b5Z9az+mNjfksEk/aqVMfoh+1BJZyoyAmN89QY56ePJ8sQEogJWwMknt2F947vo28FYkM9qgB1I/MSHZKrDAZerX1QtQqZm20lMUhF35cPdfSroSTooqpIAI0YfoI5XPrCT596/Z7WyqrzsG9nts/HNGPDFXHWH0ZhFlqAA31YMoz3tsx7xgBuRuMjA3ToLimoh/4mjrinPj0otxRpKOJ/+XI4aePbVVaScNe7vge5P+fxlb3kND/RJRweF2BUSw4lH8BcpXJ7x5QAf6cRpOzBNPRY/BTsAS6CPZzwtlJQNERQrOoi+tiJOLiARbqdxeBYeOyiHe47x4nCfEGM1SZn1Z7MbHD6E0TBva+x5TQ1evCajf1F+nqG0TfDBH0zuRmn8zByfNnuEJTl6Q4Yr2cSFNrxRwYu0P71MOhUOZxRb16lR7MxBXwbC+/WNdRFdJYOq5+eLK1Fa8wKGl77KmWQvkdgEzyYfAe1XcKZFOKM5juT3ww5ID5RzwMwzqg4YyMhz5ZqyYKpGNbj8HpH1s+B7Td97wakpOXnSXqkbWvc0M8xsEPFbyeG4qqggiHOafeaLwr9Of9wNw7wwFsECNtcWb/w1vLieG2CG3IlrN69elYxaoOkI5NhMmHel0Py6xbfzkl/KdjecKlAxlAaAAq7ijMnBmXa72lCJgA6/145wb3Q2nG7wYUyfwIAtGEppAt6TLWRVjO9B443CVvKj4j3BLPgUnwF2jn9oBF8i3JTIAZUutVJRytLxK9gJteV86yhgVk/WvnDiUkJfHwGspTb7JC2lHuhp19U+vLk1LIlEfnGX+KLWEB0dZodLFRwIKaoIZ/pVCs536jI5ZqUTkisnBuFOLaLyzOmOJrPs8Xs5X9CMV1t/2CYEsca3rjL2gz8Pacjz1heJ9tWETiRz6TDZzjmcm3EbckHOFGEM3A3WVacrVGYCJm/pMblTHqA9MPerrFPGi42h6tZlGIpxjHhaoh2tBmpQKWRfBzc7U+qFQYv8VmvJCOtAM8wHM7qKOlL6DGm93Bvb7J8+Jn06QHqGO2zzmcRpS4XcxfYyT3+pkPhGYXH6I+cLc4JpZR/sv8rpO2o6SRKdVlp3079dN5JLY/TYUB6WM9Zuq4EgI1TveZQId8MmQNVjAHyJH9cofFqaTjEyJ6YIV0oNxTHwMWVNMt10oF168fzJpD16TGCkHfYolIY6mqYfy0b7pkOA4Aoln8Rlz0Ny9+liuLLkWkfqFg0/5NqPex/mPCp/vaNwfHqD7LKp31TlZg8QGSQW1mZ/8O4iFyasgLGrzr8vN2pAejBSeF84MaRsecWJTgbjN+M8oW0EjI/gF8HlAugcbfB4QaBh6o0Zaq+oK+5KWyeC3gC4I/W2x0VVssOkVdksls00h2yLcjHqLQzIPAeI2XLVv0t71d8AfHFm1f2dIs7go/35OEV11n9rLcOxm3B6ayF9n7zhz6b88eZdyh5Fhn7WkpvB3oHe4KxutELvehRA9RZ9X6gcD1jzSQzBaLlIWWxtfWkG+Fj3FCeHie7kTxt6XEMMIxjE0vdE4JRIIom4Qt5WG0BPnmYtKD6hewlwSF2nuJQRxyPT0qLxZzPHAKpufjgJspVauIJff0+4Tne806JATXrArOFE1AuOVhJ3L+ZTUYgC+YK+65fXX/ew32a/a8pYGw1Cpa1Xyc9FBMa15NJrhCFu+8jEnrMIA4p616S6B7Tl7wigCsm7jpmrGnORQ/MyMEPq0ScxPSi8djv6oyqQO/d0v7CT6ebUa78MQWms3emFPvwldSAtLSAgIbZlRK5d6vqbU4pY0XEorklhOlxjq04G0+jD9B1g9/rbx3zt9FogIZBZOccHBxrswU/zgi0jV8yUhb5M6XMgEm43R1O4FE94/DN62baTh9ILSAdQavwnOPXpP87FdU1HKZPt9AmftNqo4Jxco5zEJw0cJgGp7+M4mjDILmB05/YVS8s/662vjY/UWw009nWrq+WQ/XCGyG2HdHQB3yHGTQk4vkOHxzACcy2AzzSsIJy8klLFNv2ENE/6XW4hABh9ucRtzyk6vynZLQUNooeSg59MesOO/HmBhTpX/ghzN9hDq6SU6SYNZQDqDkfe702McLNG8toKgpFg/FAcM4rqvfQEKpCSW9ZtutZ0gINEyGmgv4bTI5wtN0CMMEYgZ8fd0tekcBfhVpC8z1pCd1odmNNk4OR15CckesHUfwW8VL01PC5iTMu7DMC7cq3fQaCqzM2+YXrPyTIm7XgpR7y4BKoVCEEaxY5CEax4q/Dog9nDu6E7QtwXyOq6wQB5e5KR1FgF7Wx+kTK7lspeUWu7rfmSesSs9u8b6gbIcT1FNdEa+uCCyHUT2mblmaHUE18KSdaxSO8BbP0i5mVMdwGBfSYHowRnXMFNNxOMpMc398cr4icgB4hCt1pgD06itAFq1qZXBXbGhS0P34afVoC6d1BdLAW5UaevfC6zESxnl6erZzYJXetb5NLM6bivet9CKvg0K95PBJuiA1KL+YNyWhrUHvjwld5JCuABzyHRrUIVu6eDwkDbZpbfqdAfi5Mvvy0JGpoxGSfHKfucf2qhN/LMDch2NKbJ3ZK1t6W3RyI/2CovNmqkFPbJFjliLjd/5WX+Cq6VoWdSo5F5gDu1XIN5ZlwiUC07D4VNXiMopynzc0TN7t3AO8rsOitxTkK9otZroe57Sjb9qlkzSwTKpD/5G4ANgZ+WEVmSgykpL8FHnqOLRIFzsYlk2zIFQWyPBqX5Ebjj2+vwTGAG1hGXnqxB2833h4s9MWXkfhbM1eQfPcu+/6mOj9xD0SNvBR9/KYd/blVqBPmq0/Md6uHCgOms9xAMpsO98ae4WVmnhbVeswCDH1YFzjJeylcA1nD4Tl2qPzXADT0UU2gBYxgn4do9TqsRJCdAZVfAQ5V2SFxMJ98jpbGJtbsAngY6w1lKqckpUoQ/YmidBd9dVL0Lu/8ljrcYmhf31VFlofcM4ia3BEYSnDJFH10kpwtYDsUN0JaBNM5sv/kgd6Djf6GPwypBnf0+l+tNcCl/wrb2MCG1bs1YBBaBl6/Jcm4HJGXVvp7dwyCF4kiuJ/iqGZpursfRvtIrhkYTRhp3DutkrXJ/o3K44A3qJrGo5lH3eDsrJ18/QbQyF5sCFpKJglhqYnKrRSWmqXGCbR3KJ6z+dc9UEs5FZk2QcnhWdj/j28X2jlYcB5K8e/5RQ2mqTOXPO++wbaa0XRAUTMIu+IleylpHASAbCE4DbmQrgcDZ9sdvzl399RI8O2uwdDh8sAUidw5H3ekCyRcL9EDwO8zC9KgXeKmX6JylNKX0+zsh4wN2/Lyo1ytw+Px/lZG1Z7e/o5mVWU+daUkTBjDh5L1pG91mhtQPkGF9RcLsDtRIrWM+cBGV/osEEvMfB3dAyR5ScEZKxbmyPldsXD85LrBrhn3OOBS2wrK3ITM2HFlj5VlflPc4MshFylOHVgfD8WnjqGylCQpjSpihS5lzffSoXzVJ8pKejtQZXgTnHxEh3AsJZePPBmDvUQprMBi+aP8J6CJoe994IeHzOhwz86ki9AzXhIjTlJ1CM0TtRMVGfF8GO5ikVKbOwIs0Tvzh1qZsFTznqKRZmJHoi/8IXZ1cHrHzubaYoiJHSNLzua4DG/2W/uum8g+ibogLRvQo5Ra9jDj8VNAi/jB9xMzPzYeFNH5JsPWQyBfbUHt4d36FN8Rr446rR0FimfePGCMhEEYZurqNU2S5KDbuvkrAcBlbUuvkhf0er+iGRX2ipZNNM75v9k8TcvHoPDeVhYlGaUKr5nMe0U6GUkJ/I+ATdYNDvhz7hktUus/WNQmL9fQJXmKl8FjetAdetQxd66zkclAvNSFuvWM7pZO54GfB8+UT8Zhnb4QS2XGPRpHnYjMnsrLbuIky1typ83jeiLnfmzmyeObualj8BoRdyAfpl+xo9wWtsUjej2IMBJjn+uoFyI+LWgLnaLQ7l7qq01cxo0/vnc/ejsbljYnGv5GIxRwoUE0Nr8OBFI2OPAMAr4tHL05KhAus7SL8ZHlJencLsV9llCmRCsNqwnKGTGPEZ5C43ZJ+wztBj/Jb1EgPMHR9wFSjpzjssABAQOfxqwEwXJFSQU1CI761s8jsWPbEOdLDBxmb63l9jTNObNSvo/v0Tz1riI0Lplc/vowO97p+fnk7FhWXlX2v/XNeiCOKveziQus5rLdt8lXqZfmxHFiJ/+By+eWSR59WrdN2jImzZL1s2PNFHNBzfwQ/8pgr5SiVi9hu4tvjcG9+nNtY8hd2D4SPPs9v2jgtGhssnMo1BGKEtro9giElLl5PZx2Rm3Voityu4yXOoWouVCvtV+0k9RGVtxdeTOK/kklWiX5RSPp3nJM+6wKadrUjG1X9R8eJ1uAOPcmvXHHWx8EGfAEKGt8EJgEaQ8xESvL3ku6Xgor1wKfU6pwMQV965KBX0+h1esTzUBpKp3AghNcQ02DIzzjspaZuMXKX0L+Qd/HevG3TixN64w7p2teuH+PMFzaL5OmAq4hODfSwqLgef4aTS6s8ymCW/zD8Kzdhn0L/osLgq4TV2hT5jw7VNamaLEtpzjRHkRT3slC/qe4tFz65gxRxR+adbg7ILkgg3EUcal0yJBHWYZYUFCrI3jEz42rDcDtVmZ3gNhFpcH7Ln67oHz4hExxs9ZI0Ldp2qhlf78s0H1oBNyP3BTIL8FaaKSBZsgPcBdLXtnZW4SuMf2xd9WHjnQWI0olied5HST6D/C3AA9UBvKRaS7VdfCCJizH70tnuRAFWGLHBLJRUDq5yZzv1UDy6wpEUuN/2yPh4FE2HPCtypuer0VJI2riMIh2WrnGEVQYAChr5HsmMi+Wv5SigTXBgxhbm5v7hrZSKD9INixYiJHIOonxRxJ7X8AOAwfOErg0ejU9MJNlBXxN9EMj+tAH9uzi5GhzJ8EaHgaR5FVppajXAk8I/+s6wjqf1LVrDeXnM5FnAbysAbq6iNkPo9c1J1Cm8aQ7WEOnmk3gybRx9UJd0n9S7va5/ETIkpYrp9y7g9tkE3l6djvQuJVbMwlB7Ztx3GOUm9vqqHKkpvNDuVHyS6ASg6CJwhzddhsZdSaJHXA869Y7Fzli4ldcEklZWGaqUr0nHvzj8WRvOyAFXClgHGhP2yClsnf3UNFqmZOIjqc7m9QqHFYCr8j5zdO2zSY/JfNCU1W3T6yZsHJargSwI/c7dxNi7kGehxMs+zvylkxYs71eNOxZIlC/B7aIOqZ7cbvC+VF9XRexThfCdg/IiEBFmXIRIGAG8E6CqacbYfrMAJ3Vmj+uv++acWVB5ZRiqqpD1yx/kTasYLzuvxrTsXDxGNVfuwmQEkWXiVIrFSIySkeDRKl1y16xiySS+SkZ6RdpJBeqvAvplkTNXNh+ppmeFZ9VPdxViM2FCwqm8YVzSw7NbSnmj8WD8qGEZyYDO2+kMsJzhdrjdWvzpjrUjA4AxTqwqLsQuz1aRoxqfBCP5F3CpJPl9ONgaZv6v7mwn1JoBfQnEyj7Dti4Z/Hfxb4CTsiKxm6D7htJRlq2QeXn9FcVjfD/xZCnHbv2Auea9gA3nZ7ghlL5DERk25+rgBQMw6gEOAJfvfp0984ty5BmwiNiYGpAcJ/T0jVoQk9EH4MJDO4LYhLUGE92EiP8P1/Im4Dsw9JvKPRdgegmLKA0Yd0sa8xEdErN2zYvYM6KzI3UC451qw70+mMD5WGZmPATkmBACnxt7Zls3vuBE7bpUbsohkd9LHMd+VBmbnSV++hMJdAX+h2xKJuWj35eHm2jhvhiDoTMHOhcohC7JB1147jZqKyQkUv1H0vvkcNViJxlww/fFcw5pi9cpduMk3UY3aF+NxJXMqaQ68F0a1n1xlQPGHrH1qu4WB2jVuY0QrVYX/bviyyDLlJmGv2vzav1B3zXEsrqeyvAGK14akDquMTkB4G9TdPaK3PjIK9p1MZobpvdJBMwFsBg1fJzUxgf0Fc9l+rhmiRXVFpAPgJx0y++EZl3PTvTdnSYnKUOYcN7vuG3dK0ms84iLITJjbRYSDs+erxde43/cB+2I1gXM4GfPcLduW3YYwCdclxSlBZGkk9F480UqYNG0aRX9yanPICFa1VykBFJCwa2W9t+6JbaLDMEVOsFE0m1/8hF2o/DbGtzIwl1zDRpqMamuWEXeCbrnxd6kxIWNgXHAruldhCYyuLRHOA9uU0nNDGyKgE/O3znmrCsPOYtMlhFA9xISzUwfExxZ8zMaJ3gycfkq3OeUm4Kj8y6bxfgoFcCgmy3FhbXsQ5IYnSKNWZBJPEPieE/mu/UDlYq/EoKqNhh9Xa8K6AZwdtgyUgcLBCn2ZpVvlZu3mINhyjoYZyeGBrEi/aeD8K1vlHNXB6aH6FR1jxTgzTX7Rlyq0PwnZc902ZwtowpPjX/1w/xsWzlGjQOTT3uNDADQHl3DUVZ82l+F9/xXfus8X3OZL7nvB8ETaXP5wJroZJlWJzlyh8VRGZYiWEY7GZP158DbVYsNjXfWMVY0b9c/nPQKff1x9b1YCTu8yRRWIt6L7viv/hh6IP0sndi4rG/O0D6uh11FHaWxqQkBvs6S++8pIaLUMkFgtW+6le4CwZtzlibIA3ooqjSh4noftEMOR2IM07eZB/pG1uCsds69yGbzBz6jZE4hxfpXBDbr2IS57UXTpF9CVcI+ZLlKCeYld99xbM4Ahsl6Mlb8iIh4lSUWEdAmzXZCz4XLBwvKVwHYBhCVFsuIa3I817gZ96FiYK0ep1pbCLg1gOcDpOiqVN7TPxs+MwrDRCk669wCCGT1tCNQVTNvXk0j13uGqNL2njnpGEbWHygDOv4QRr+ltSfwWywPphmzJpTWytgHaKpOHhsEV6rOJbea5qCMpmNEMsnBBwqaf9AHdH5N6TKrC0LEHOXGV/4lBWCQ0gnT7I8P4tYJHAg2axPGSHzkKA/m0e1QBhGv/rJzqacNaPkw416CE3JlRViQO7sZm0cH1e1PQdGTDvgrRcGAixcE/VFkzbJ1DMFePuNYsXzXsQZ6A5qPZgcp6uN/TNNxyepESlelOPw49xIThOfv4g9Wb6+3fxUNFDiFb8WUU2XQSc2kdih822gePTtYZsuniEFawRvcf8oghyQLDi8tRULutoEB127ghmQMwyRF/M5rYdcV7F3n9JqQPuuxzQtzuN7oIBMcxUVXJkUj26yErnkBDye7z6eH0G2bjoAx4HzO7ltPJoI9lXOw7h+nfn011UCya3W326a0Jppzk6/yb+jQjJGNmI9mhcouz6TSgQt78trJPfZL2s1L5mPXKniylcA77g2g+PcOOMzUwpdO3jdjfkJRQi1K76EvVufanpgzonuOrGN6I38t1rcAyVX6QHV0MZ9v+/qlIdRrPCapfJuOjC88hwIIoqfKrvvsJdAcrmNzZUy2CkE0iMPecl2VzQGGAlTAUhBld5f0jNQWFuBS0LTvugLrBNrrwHG/YzpPJcgu2XSXcY0RtKdMm4rQevgNHCmxMWrOGJQ2HEJpH8mNtub5qhjz2BYK3R2yzJbZ6ugjJxYEo3yXG6RaZJgKCF9e5WTjxiJHDwMGJUln+uqUONxmbftMtsNeroUp7tt8PICh4zUe5kJSUsKVY8EzVlTNBECQvGn8+umSJfSH7weq11QmGiICBGIthoaEJG0GmmMs2BA5UPKWcq+Cke3P+sMWpGw0oND9ny87Nk4iMUrIyqLKm0KidaXp6grBD6cHiFpk9v837ahk8ZjiHFzl//GAedMarucoGhZ/htY2S0GoPijr/rS6Jamn+afCxNxoriAzhnA5dyNouL6DZY/MWtXV0WhSh59lxY5M3ZylSffURBvXGcBd04jw+lUKOntrmfJM0BqpX3Eoa/CDdUimqmLDypLjSLSmoo5AjmNuU1Fbs+CGm70d4C80U5yUo9DjzpuekFSr9lwDeCBKHj91NX9c4bxKqXBE0y3hQN3+RW3hOllCahFiK2fe8ZCr9RTTK49Tc2oRDJzbrLp6X5W7SOc48EqbeEbsntSrG+eaHoFe/oW+9LIjHl2jm2pxOU/dflhPvcE932CyILGz5Ky/SRXqOEwck3wXktdXDlJXGGBHiqQ4P472lTflQNWsqCC+33pQhSzopOIW0ZZ/ilUfMvjqGW0tIwiNnaH2fR/84ja0GyCBUKO5RNSVLSmF8ZFLZ7/yE8Uo2qIBdVf5PniFh6ej2jAG/s3d/LKwwgblCc4xbtKJZd5s+SG+chF3HhPd13a9hZb18mvuAsd0Y3kvJlGBVdNqKrZp+DDOGfDExCsGXoP9p1H7NF9ewd8JuafWVgDbJ9xir5vCcIZdImH1DZR8eAPpA6ANQl8ojjvDD60kBnMlFAo/P4yENL1uM6xYX4+3DkRc8NDs38RnFdF0SDoV1TYQSFQkqcDBE6LaEEDrlojeEnWqTW/btmFzBrtD/Tq/TARlNfkaO8EBLw4R1edBYK+yt37H8gE8zCFXagvUrP6lveSO01/Fb87w8vp4tRwiuqMNiot5VaZNYFZmS8UWUuK59i4B0lWVQ6zsPYtXpbJKLl8zMv7z6cgQd1BqWR9N2hwcYp0egsO2gLimT8BFjyJeGb9y+OkopRc5QPhYouDqNukhfR+8Mfe+aTJvitzO/SPas+cWlKqMN/r21QBJqvIit0dqWP3diHHHx9S/fnUDDcEEN55UhXrcSuCUh8Meklee9ppN9oL+T8m2JLPzcZkzKxz8pvv2n4PBPaSfBxrxCqFyNLly01Pdf2aBvpXMf0sMBXpYfo2EhZ9mr6DwYkBACduWPdneui2yDi/UOeimE+Qift59fOZqxAEv3u6QWr6a+aAVO9+OJsXk6bKPlYE99HRBpHeGcLkfJkgcJnhp128jEWpiaeMMNTVlbKCDrjXuQ8U2eR753UdaoURBxCDHI62DuzNB/7eiy/HnRBZI9+6kZgoxn4vGY+dMSfGSzgbQ80S3VfQ0AY1HUaLyIlBT1JBzlQDRvVj1N7nmdt6dzbnY836KWx2Bp9zxfuCULwYzE8FLNWBW+B4x537/d/KVR6C4dEipKh/yIFktqMVhogiCzEycDwoe2jfd8H1BOnPrHv+U4FA30l1hhnr/ANtYjV1x/0gASzf38YTTCTmfq+sG+d7RYoMhzq0VMyMJnxheFAXD4zeh7I8SRx2I7Uu56NY2W+UHRaPp3gcrvem1PQONf2gP4BV3vtkWp517GltBIAoiiZp+x8BHvuB/yQQ84OXQ9NQeXvdqnnLj4oMOxEDj+8ueToSEfpiOm7yvrZKj0HUsCQlDlOoLTtSkXxGcCBnKjhmlJbxzuXZSCAj4vLUDWfN2mVyN43xhBRcSl1IZtN60O0T2BNDf9N3PVk4Lz8+eZq+SWGjpnJC5V9F/DzUxSC/sgBk0DhVPmefUyHwkikWHH04p7IkGovSQldg6ormKQKnNTIqH0I5clVRAUSDZ9P+mXhWNXi9Zc+uhzIyUklTelT9vp2TX0YLTLaCFgb/ZK6P1wbEpIb3EMjpcqpLCYYl53kAi406QWexgU/MdZHFi4lysyDgTbmEzR+4SO+XYaVSZkQYkrwaphhWcQV7ZpDKvbjnO8DQXpVYwxKRaAR9RJxWSIfZrjbE47UvhLE0I+hUzqlGkM2RBQAe3kgY3hzRPwF5SJv3Tl8HWriqxIe0Ddnpr2FKQg/c42Zz0XjYt8nmLiviPMAO3ru123+nWO/+JRfOTQfEL38xcqWtarWSTVxqfHx7NY0L9PESthiYmBCbNSjOAvudzK4OirqITKPjcLuXKes632XA+6Y8WKhos/2aQSOeHFg4qwp9mdDrR3uJD+hIAEDECvsR5wDe2fpDyD18tkW3Dg96jK+jzqcaHQT/8siH/Y2e4amj/iK68vC1iDzToiTVAtUCTSmTT2JKEYzvSeJzXFOKlwDHop5+tCQyWriq2cYsLkriP6SOjroRAtyKoRaYt91BMD4N7ZvJDQo/T61Dw90um5lf0npzyBm0miFJ6aamGoAGuxBeSvsJyjqnQIiEUfB6LAvgrduTIVkYAG+sLw3gVeqm/+5j+6gw22DB5PHHo5UNWotREV4d4cftbwGCgzVSKr+03K1ooSis97/gyZ2f7iuJikvw6EhJ0Q6Wc8p2hhmwqw4rA3ZX3zOC7nuHoQdF+QJhq/25zRd2lhLIHDRZ7rRPlHpXGv4Nma42etyFbEFqVBXAnSiSmlxrj9XLI0CWcdXlHnrx8jFo3Z1x3sA1nkYnNseQDrP6Kue91+q56K44imaCVDR43q+Vz+qEsUmAM5QxUTyzvktnTuuLtj73TVa+cbbS6E/iVS2YP7ZDIrQmJc2Vgjf6xqPqEQiYrzW8DacrEyI6NEqDhdQMIjJci3M2Aq3fS9GIOt9rOqMAu4dxcGtbkcvgjXf/5trqEgQh5mpXC6tnG5pevZ0mN1bGxLAf7AuauqxENKtizjCs/FMVVnHWkdVPw59nAR/Shr5GdG2nXhQ5P7/hCWCiUWMhU8qvJAXYDozfxsr57KlQ5Cb1oLf6XS5mx/MHP2MP31glY5UT7eKOzZxVWOb47EjX0wZ5At+vVlvV4FE2sbDW/ifmADD70PYD1jfQZ63+5LnZk+pbQTJXz3mskZKqrmYpFMm0tAW2yuY/A6wBfhqXzUSokqi8HEx9NR1LJ8ZE0o9QfxY+j4Q6bVVGyqTSEywKnnA20sl+edSAhECr/2+OkH1kI5hTy5sA51YVt24KuG5/0ybt2GLkmtg0gmMcoGH7w3ydbE0jehu5xIFAVpczCp0P5aWLLWA8w0pNaT2CqDsIR1upL4Jy93qizK1GlSzbN7tWNX1oxsFwk4bwNzkK5We3/LOWDkluezIZnVBwvRbZwX9GEpQ6ANaLI7NhnGVUtsYkFmwVOcR7TJaY4UuGS+JgofAI91HAMtDj1kGdlRRYQRsf9fO6vQQLNtKom5adN5Zkaql/4bkwX4Wuz9N7dUh3wiYzcVCuJNClME9oWfN9ca9XndaJTv4JRbVpBEQ9ZQycgICdza4V70mgUD54sLcscY3czeLZxXrez0f6If0c4jEwNLojrrpamBMhLKQFUejPNFsjUxCrn4aJcOcE46nhJZfKpyzd855ejddq/1FlYwzP4jumEPG64R2hP/aJgNr776v5b5irVkyfOaV5E9I/r4nV7Fs3WzqsQHdQaifux9Tvvf2OwM6i2rT57NGDOge6WGKkfECRjsv22vBVL7mqo6t6D1Ax5RLetq6hcqnvdJWBlNHDh15SI9NvUF+xMqBTqrYqKQyyENjlJ/ndulS9YGrXX5ZZzufjAoRjJDh5lHHKys18GIKm79dGxle0YssHfkLDGqAcD2m+P2Xpncb02AFmFqanYq8149Jj2m+Z3HGUHgw//garmgKtn2Ji3AXIv8ZsSNcs1kjGaJcl+DSVaBIWZOcel3pTW73aUMOT2AJein8pAVzlS0/mZ6dXXDpaVt5M1Q1gdF4b9AM4rJ52hVKPMhyML03GloBqnGWBcTalKhmfP9iyVD1x6H2+5waJn6lvyNrtXMZPOl6jiGMvK9KIoMJljpREfhj67K71qRYaYUUIb/y5f+ogN3N8J95Ke79rw96jaGyZ6qnPLIfXvCVXBzGPL1LtzooHea1PIadhhm8L63Af/1MvYK48LhmEw/mO0SDyH/1nO06tiBVe1MlsV4rIcLmKUJOie8CKypL+X8K9FZDKu48NH1+RT62qXc0wxQEIu5Yr/5dOI7jKu1yC7ttqn/mFYYen17deLTBhCBemChoafc50nULrRLtAzy5UIOOYN/LIF1bP2Q3WMY4mW1sa9VTFTcE/b8oV3ElwWrF68g5tfO8W3ycDs=">
            <a:extLst>
              <a:ext uri="{FF2B5EF4-FFF2-40B4-BE49-F238E27FC236}">
                <a16:creationId xmlns:a16="http://schemas.microsoft.com/office/drawing/2014/main" id="{BDF3161E-5AD5-B492-6C12-798CB8C58806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324023" y="2182729"/>
            <a:ext cx="5495527" cy="4217549"/>
          </a:xfrm>
          <a:prstGeom prst="rect">
            <a:avLst/>
          </a:prstGeom>
          <a:blipFill>
            <a:blip r:embed="rId13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" name="btfpMGChart408865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oDEJbiJhIbijBWlQuGajC1jcx0pBH+Rwxh7AJAh3ro0ehSG+bwiCwfpZfdztiq5tJUX3jPzxAAu04fmfz8Cu6FBpugkD/m1zzFceCZFe8P/M6flkWyarYmcqQk+8LlFVSHH6ebwE6lnjeps5QR37mvRNgSCAiN6t3T+FTHd+5Y9wJO6710c+eOS/2Prr5UrqTRHX69hQ7MP1jK/40HQbvs/aUoD6KP2b9iPbUs1mfTyJvpv6nOuTYTlF6OaAGIGzqBaUsfzuSMMqMhZMFJPxf8bNJZzjfyChJzHLrn6eCmbgboW1VXXjQcjdolXRX2Q73f4EKJeHUXgP6F/STDrh/ZuwMh9uZP2onTV5XRGw9MnH65Cp/zjVMqOk0KdE822G9vn6bA7MWtvOM/4LR32MWSf63vMaVE3FABcUl/AX/869TqORVwlvQGcBgsO0yaYVednvbgAWwzyCeWYkV2Bax7oHEdK/S+pFWtWYRe0Ls9hzpbWsJ04RGIIqEf+1fsrvT/H0VxqMk4wcYOkcq+9LfO3yvxbbUK1ZupkQ3jXsfowDi3QtWxsXzsG4p8t6b95XIGA0uhE2uI4/rpce7h9PRWH8wLzcXJzDRDTBNzdj0GWAxbA0f3VJBJL2VfBq9jDs5wF55Gg/GJfyzg0KOcEmKJD5c5oUGW+lYvubZ7RYhLUX1tx6A43MNn9l4YDcghvVXkDnw6aZQhJ4/6+UHoqVF6B6bfPYHE4rmdHYIfbds4Eyk1dchW0DGGzuTKsYLkxeFOXnpxfC82xM6r7JL+V4m+1PN/ol3249eWgGhgR10CPui3vVTfEPCF01KpIiIzaMlKFvus3f5Lk739pmqaEMmeAoQg6RpdCH67oXqjdWnqoXHqOXWivyR6Ob4VVhLQyHghYLePIZXyvIpC8jnlSSk1RnTqUlfRMKRwq4QCkuoq9OK17i0cfAI+UEvEsowDioz1B6+SaeexUn0+PZEpdW5feoigqflFNEzuFuGnphf2ko8zSPb5AED5JlZ6x2Wul8bpYSplrvB77Y2ZpOigcuPSUcQYoDzM9Q8Ywg5zrurR3aUPIpHzL2Nd84uZWVjwTYj6zl30p6kXUxp+22sATqrgqXZ5v+2SXtcEcPL+rVh2tJ8BmWrVztISJTDM7MuEg/uVZYgtzPht4tQnvZHE1+uBrXHcvfVF0npKjJJrmZtl3tEn4LHmzpViE8Ifrh4tDxXrev/pl+UL74csbdBzguK70FN6DqGuNq1rERpKHbQYz/diMO6gHPoKLozuVQIxVBxotT7GsOAuLSm1bCb5B7BqgxWVyANLWP2uLu2XJwP8dbtHQNtXYI0leaTmKzC1er+nvQqwMZIUhZsLbr/3dhBggLaysOXBrG+aqMtcXgMRgZQeuDkLnsBkMnABP9Hfnh4cfMTU6erYpeu+miCkHPTO4Y1txjq2aq2cZmBSJanNv6sLMTcB+P6ir9gnkFvVFR1b5zCEZVcdi4Bjqo4q3bIAR6Za60hP0G35ujrF76M3td0hVfiIhM8JbYW4UMRmS0VSA3AEcC38+UuS36qkP2WxXkhAtksHCK6HyySFQaUfvxwpgPJ6kOZLnl+AD/nv5tpNPBjR9L+DvNhxuv6GOK5XNsD4zuMgUMMwmdVxuFfA2yBkRrxdxekrF75DFHviN/OI/v0Ewz3ht7PKmTWs/m6Gqw4MRlYOYrD05kO747fOoNPRvY9oxBhOpb5es1aZimnxmLyQTWbb6UNcZC5buzy19jleKWfO8XgT8rMrF4PkLqck3jvnJeqh85aIL5eoGBtQxqfZ9SF7HR4naYON0cvSo4eopsOJLVOO+p54uLhxVmIrRaJVhju+ZIkZEIPly2rXXEv8W40mEoxTp9cew220prkQ/ILd/1cYISHSXwE0qo7JyBSQvCHLPwput4fhk4weQ6/LQeUx0QqvRZPOBHi0PBJD4YnineBsZTv9r7Z1vf+6u+EiBtMcihRXLXIoY3LqbHIf7Z1tXF/zaUidN+vsCGrZUSchzCz7YOVO26vxjr8PNklycalIOOaUSaq1UN1vdbSD/AQbar9Pd5nrnqT4C7F+GEtHn1TYLwuxY7GIGaj6T+Q4/0zyTHS1Go0HwyglJzJ2bBXVaUE+/dvFBIjgh/JB+ahC2razFk7tauzJGDjN4ZEGxxnt6xl6wPXCXBN04U1F4PWTq/dXvGP2Y5RRVdUE7Tl744hbS9Pp+zJ8nu3lyPO8KKsipM3at+cbeNGtOG4hUwnieM6tbk89NbGkWwfbwO1FE1dbPNs4w1hf3IH639VVeXMutg0KQ3OML47u5S+jMoupWK8EgjSugncf12su+schNm783nypNYL/KtQJmN8JcndxsBauTBIvHx6eMrd+Z6ZO5LBLkV1EIrJDHR1kUhzFPO2LkkP5272pwAT3TFeK7ppnu9LsIzIA5LoFN7gC7DScpaJYAFRGnNxhCi2zO5y2sZS/FyPRN6QktgMGqfetYOhJ2bQfudhC5QHxsgZTyGunwopjKv2LRP2psuqGX3nbT++0+DKZlAevOuh1vWAa5G1wSUQLqqTIblm2JU7KXwjN4t9o/Av6wP4QZoYBHBgzjnc+r6ZCE5xd3uGLlaaRqOEVUrh5u+eM5uN4D5LBXdf1g4avPScxubiR9aIBfnjDAMVCC3fkaV+RJAu7/A4hmQ0ZbADB4A4nnHLHU0nDCoGgYO1npHGWEIrTGfbskG9ShlHjrPIVtQHkTV/ZDCNuQpRv4uzcqCc0ATsuxmCg5M4PEW46FWTbcsFLKrvTIqfN7UbKeeCaB5z3CHTI0NcKP51NzgKE3ccX0e6Sp1NUWd+p4Ov80UxU4MbCeo3tzQiwwgodTp1taHqO2Ep4SgNwYrbFUn0HeTX0XCBJHD0oq8u+/wgufPRNHgDU6s3DjWxSz242eCCULl7+GSRjqMl7qRRR9XQasxBL8M4gKSmSCeizwDBGku/wiLrnd3AIvR1xSWn3jlVwbddKddeUCXFJw9ZxAzu7Ko6M5UHFaZ7t0B3u0CdG2bwniki2P3Votd4rMIIacAzaFt6NUuqRmky46tlCIfQ3d/VrdCE0G1LiHT4HrylIeyHQRjbxMeH+WrApxAR4B4/ytCnCoZIhCi0S7eV/RPw46FlKZbCkDnd657TTQLWs+zM2AsmOetVGP703NlJHGTs0c4vckbI0JeotWhJCIKEMXjW4TtzugX7O16wgQZ9lMBhngvYqouPbmQyHxy4yZRI5DgGjxN07x3Xwrrqmw+A5aO3onVdElO4KCokRgCmqwDwDSJc74gyYxMp9YtRin8XO82DLesuIQ447RiVua59a85bxHK722RvOklDxh7yYHPXcGXw3wxgjfQwAwCudiuiVcMyscpYrBkVKnTfQTgk+hqKnKvFcEXmIfJ4HF/xK4XUxm6huyMUs0ufeVm9KSFOLb2RK63mghGAYduc+TNZD87I8Dm7zHQvS2fwq9vLamnT/7yYBIIgnisD2hNIdJrCf10GDA9XrTLq3aX3c/3ehfvqbU8A1WNZ1HADWOiAo6i4Xrv+RbuwHLIsJr/egUxozKUIfUheHYbTKA0Yp7u3Xj/ZhCjvFqwNysOgyIObu+TPoV8COmkR2+pje2DZ+kQdp8VF5JRe1oTor6iaGJUzvYzpOpyPo/YBaMrRzcuWEcUErRRx3+hAfYCabHtHZNRwds8K46CLn+WAqrCRy/IQ9WloDnc5ObAPhMPqCmU8FHW3fNLacKTp1K6/6eQsaf/wmvPptpjmaP0wTSHnydojWn1mvnJvWGmmFmY0VHG/yq19RHeQo/OJSK6e6FdWBvzreud7HT6PhJtitjz5nyxdPxmy5CLOsWe37/8JYQzAzRUqzIvkx4ihOQC1twBHhFwaGYk1crqY/sp+mCGftj1gMTgjqoBL9ncGXNiQYXcVL2DuC01qnMTpxykvpocRZAQFJPPAlHdSm91wVI+ZPdXJIUOQBwYMFMf1LkjvGgkyDqHDcXOrmsv1+pgzMU4q5roVv78UMqrfkLQ4zaDynwvhipI2vtZQcz88svP9PblymN4n3etuLlhpK/qv4+DN05CzxwsU8kjHbdBv4HbYwzVi1w1QaLqfblcCcWJbkv8+ajdPolrtDkQ+ixpYFEp32vileVqK6vp7W3ddbNIP5BBXonuCzHGpZDWzmHEa5QzWvAIpb4cWgd+th82lb0vb8Ys/SpRbeW1XSI7+rCWJMHxetx9rXi7NHQ9bkGCo4cAuMlYDpLTVbMNdwOWqzgJcyWiu+2chVakpiilyLWK3vnic1q0nFXLArie0iJw6n1ClZM6/FKpG8OgO9BoECfkHkqPRprPSVm7Z4g5IDfNfA6mOwByEAhV+jyUBr8GTAXuWBG1Wu43fBghUxQ9kqAhWdAmjP8MlS8HrHYKmJNAMOCr65P+DkFUoE1Yp2ldbU0EQRx6R3m3dso8lqiGKzgEvByj5vc1x2TF6SryY2FUBWEywJ4i3/yKC4Ep/c18ya2Mz4lfRVLLBUJhMPIDCqshn3/Hkig/A1JWNm6PWM6nf/kCaF7ja0KQp6xP6jxe/PlkamQK2QUaMflirB1qzA1sVy6AZXX3luVKsVJ8md/xrBPnvwTSQHHyY+0IumvPeYNJ/agvSjVr5IdBqirayEmcF67wOZq38uPI4tvmQZ6ROWNBrYP3uIISG+lha8vzbvLcKUtEyScYmxeQRJTDVYLoghB9Kr3AH12MXW6NLwBH31V+mxfEzEjVcybrTZwL7ESNsqijUtAVq+ewDJPRuPjfRohReqKw9XhX/d5r/cmrlLMccasaUs6zxqsWE24MJTDh/wqASoqQoaXSuSH7suojXdYyQzMilfG/JMXXL6tXplA6fA41rfvZdhXyc9cqTEX7Zijt5UoK264nfsl4rTWiWon6kXD2mXPcSUDFRZ23lGDBD83+MFfBc3sgZoVFL7SZ9lobI7wS3H37O3wyoSVc0sbzTCVmZQbxFr9NY/WiKJksab5OhPu1AJi8ZIR4Zh3BO3pilQ/u+B1Dzih/rCUSgCpqusXXNUk64adS4W5ehoNb5581xxpDuChMX+DJGboQFGEJVgKflyoY5br/3TGEBsYftiBzc0vYii7dD8MzePhwGYvC73OmcHhkWcgdvI8NrkxDtELUBOaFiSSQ9j7fEWqhw//ilVhfVV/0GVgrKXDEhwCNXfyRI8o8C2Po0dUdbYBDghCrOgHWI5tj9nOqMjtyTUL6HTWlx/hrZCvFVsvAPTM9TK1fDREAzxTOdKdbNv7Gl93vpH7EOqjwNMKrtu57+7oVNrTXcQU2K3JLsn/WqDnBXf+UDtiW7u9UTldvReo2V/AySw8K5pIS47yRYKlnEWM72mfO6H80ishJunl78QdBmmllouh4LoQpLrLZFxLpdd0JK8RaG2qYRMKgsNWu9MpLKxik6+X0x1Csu4LAHDneo3nETCijbH/vTCemsv9ajr1IZ4lDitLJ0j55oM9UyRPGqpA5lPnWOkS+JdoK/VzR5jFPMdC835del3aCPXCiBrFbteGtyIkj9sG9CUTaEArZ/WBISaoQ83xoFe3+ClaJ5M3VNor4xvmQNU/8osOj3nYr6CWZS6X6UTFZeY0V8FL9V3aeP5A1w0YeAhowiJuRxiod8Vyu01RFv+UJU/Nf/JE4YNVySyW6QzrIYUql/EU7pl7xcV3AWZv1NZ5Mgr3pDaZiNC6KvcZiTuyKYE+dkRKWajtvChc8TXU8gU6jkeBhDLTerHjhU/NN5jQtHZkQEuC1jYPhHeqYtEj4bywMVu2baAkqkofOp5uWQPatZE6Ac/GbLVMCF7hW7DcXcB83IksoOKLXqJZmmKqJPfNj2HazLd3mgHg/9zXDErBf3yAxCuM8tGWfQh2Samde6HUHAmHx6BDduN3TJtsdyxAw1uSueSvNrF1V9+zEKBNL4z0LMW67dqIox1PeoXCb0zyvROJn+j1Q33OUVTexpZyk/XFBtH77gj4c76azDuxl1qYvmgn+h9lSRcUaLC5Lg7h6V8nPQIcdW1+yMtlouInNcurzT1MCON1OXbKvJDBROV734LMu+xutoJamodkw72D7ii5lNVjwJws/t/V4osrU6iq4GHEzsjYS6QT1j8yMhYBpZXFtVSzyAcv27I4oZ8qH/u1aT33YujFZ9TacHYdnk0WyJuaHGKgE4fto0rjgxZaZ/tmOPboPgp3Uhg/A/qnzCWbQaDiv9ABZTLKVsy3Iu08dLUaBuQjlHOGzqqAmZ35Rm8FDh9d+TLQTQ/HT5APF/bUio/oiwcoTPfyXM/VT5n6+ZHHGnMu8AqcYKUIo26LPN7HfIILxBeMqz2hDmS1AOIcFJ2ndZpUcExwgULJBSXuvO3+6tt3CjHR3Cr8Xjv5kCumZxNfxusnH0EIxPNUQAbsX+QprGKl0noJRMhWd14Crsh4aaqK/8lqRVUs7loekoRjKXcgVakhp3oR66/MW9dsF4+evcknViyXlnkAC6Q09eOgqKqM6vU5B4RLNY0Ldj2stR0SsHUFpXLLN9xNfr6hDTp1hYUvr+kYD9DOsj9knLNACwLzZXFYzaGM1cgV+tmtrR8wQV2YPlTOpyQcEgWpxNe+dW1aFmkgZC269tR7IRf2AjJJzwFWCxumMt9ECn+IGTeRae0y0bXKTCMSL6vZGIFjN/WXuY+kf22S+/QnpWObxvMpAdf3ER62ZddVtUovVprIma3zz1eMSQnp7ATrsh+7JMEAKNrt7pKSLqptpYoizVLkk1XH+C+YNsRPHNWB5OEdSZOIMHYRMAH/ublXsuJ4QKGM36WhAtUyqYmq1F7BUWwrQXisE/BnCGiulog0ebbg7yfpFNOy5Yumz/szorUONwL85OH/oJ4v4VjJnj7OvMbHtjKubvKQegYOCmEI4DrYfeXJYbJBNm3/elRU4mj8ChkKv9f/8eUrZzAIi7gHVZGt0F4Fuw5uk0N8oEmzYbWTauffCNVfbBpL2lPdS2dA7k4TtrTGeHHGO07nldcWjqcJSdN6uUZZlK0MA7ETvEnSZRhYQ7XocVklaV8ZepIurIVYnGCSE7nnlAnvVCGgYbb6FYlGyz3ZSirnyaOCf08XmHmMEVBsjmK/vBPqsBR7OZ3o6f2gFpG7kx1skqDY0qaqpp6iv8RbWSQS91VXarrSarBcaAM+GD97fY50W2KgguacfI5ESqGNX1L7UjqD62wqeixXyK7cKUhzjzu9HZ/SMhKXmtYx2Eq8ptHbsNPpVtPoQACT2pXDLboOYEQ4zWVtKYiXzMt3/uAOL57DzLZZMDOenPGqV5npZdcHJvyp/nXXj5/68wWyzjhKPxnMeqyTGnr1ZkluSqbVCvMgVHz97vtfahpV6kwPdnD5H6A+bjO1pvycrH7A8fUDbL0Ras1s7kVB/yNWbmDHduRsZscMasaQTCtlWx0cMGA063XamALGf/PE5DbFtQGY/oMXvdCvb2WCM7iTtsP6a3PGv2h2qA2OePVZAjE8lRSYrf5F5nI96HaYN0thejSg4Ed75T3/96vT92oCcCxgjhg6+aPXsHOKO+uAj4U3N3uU7YJxYKfHAi0cdGJ8oKkm7hmdsO3iZMtguuPDrX2dSVqyX4QSOJ03Boicbd2vkE4ndjjvXc2P9CCzN0ITYUXfh9CTnrFUED3e+4s0esqMdBItXnxnZn8tJnWmkph6mO/YMTOc9PxP3nyFrjscH4L389A3S8mv7c3t41F7qEEpvXho/rbPddyVFlaw6ANYWiL2llToV7RdBPlElZtBKubnJpR7etHi68F+2vJySpiyylt+snRBBwWmADOdzOn8KAxHszn93NlIupbWw9k57dc8x4E+ifUW/ozEP+/SvT6oRW/WsppdcOpUM5ZvBsC+0t/Xcg4jyHgZMg53kqZc3GFwbtuFIjiEAT9GkqHln9JPPEJgDUE1B/AhBuO+KJGpzh/DOQ6L3yf6gNBkAsJxUhlG52SRZ2ryFX7B3vAFqp5oLx0ahcf6CRNMLtFRDGvLP3cw2ZNfovJ/osnbAhbkbGVUEbA5Cps+6DDd09dPdBvYx4ZctZeq8HiTUBrYCmG7DPucSB3L0A3+on+sSzsBChNRsxcao4XIwMG529mxZca1beKXIHnn6GMvKZ3pQc/LOctCF5L71GLQ0rCl+JCBRgUmROWqe5k1rywCvht9TV63Dimuy2dE2GFoL1n8wWEa5jsfGb76MpzwutSl1+yAjcZOBM0WU4TTUHBrZts2EMZY4gbfKQxEvd6s3Ej+X7wldI0WARAgGe/QxgTXLD1Sfyyw03gWhWyMiJsiRTTaqULn+xGovMc6bNnG1SNi/CesVd8gnu0+C2sCHkw8KL9l/29FzieARRMkA4pDOvY69ZjDK+RPsrYGWNbuNf57HTLJlM6njpEblryZebofVIVpz3Qqu8Z+XEVZ6GXtmWtyT9n2q0jNXVTV95rfHdjTllbUUyYSGIw5ixyDG4trwi9u82vZcuYY8WrwfRfnGnIrLDvCXdNsy81We4XSd8ELtb8nXkMWKsANyd5PtB4h+kfIaqHZ9dIbdDDFwwm9G9Yj2SSoRM6s34e8ijqSxyBBOzpibJpkw20tRqgRWt2nCXhZnzqM4n2fd6x7UhfazIEQYLZ7f9cJxXygeMTNLqVQarbzCX1AyciTZlTirrEySDDYdEFiOnYV8nBQcq2e1QjYNlxrlXBQsRHjSXxK8FbXL24FAxa3PvGOlbzNL1gRC59rxtiz18SafwS+ybpi7ktzYCMLKLbwrRCI0BLbUfKAKqAOUhVsMu1L8mTw3LnRdtTYskpFBIyowt27pTy1m47kEWomRijbTsAliiTcaZkknNpIqQxFA4470wnkjfwz5bwVmK7Qq7o8elO+GwGt4QZC/rIBI+xLp3KyyFZNPXZmS+RvnSDYHi3KHu7uzISeL2oboqqflEifhU3Zk3IVGiddONdJ/DEO5DOBphWcREhOUvPGaoBWU/Pol88x5ADPULkCYPGva+aoIzrePRUCC582i0RLPa0m3XGyhPFY1EuCjG2+10ODI2FJrrJa/fBA9ZkRWUY//piM1+FIFmdk9NklImknEyPqg27/yOWFgrs3B36hgKqUbqmilmft1HOGclIFVI4DkRd2KnGF9h8M/od3PlgBDylIY8FMPHH7fNy51UbtEMGFDLpuK9PZF0Dix8OyuHtw+rWjDvpyHZzooue2NwWM3DoEWX1lxkBG/fSJVs00W0qPzQRlXUfu0epSHTP0Lw/Z1dZaOVe5viCFpLiOuCAc94CJT8+EmxIMCFK2gVg/iMVi7mw9gfZxQNrYKG+Zsd/Umw+5I7rG5nYHSt/jYboy+YZjV+eVbDtSSS4skULoPgJooDTVsWNAQiKaSMANDZH9gWP+VyndoRKQ5AWYnBM7bfQ+tNmjcIR3gvgIRYQgGW+UC4+kBsgb9Flfg8S/VMgUdfTtzw9Wnvwfx9MA2C/8IF9wtFOg7AIZC7zdS+eh7w7CxviUOZVF/DvvTGdWupBCkXlzP3JmnT9SxN8va1rUXUT/zbGd5xhQDWEu9JzHwnhUJP1i0COEH+InAgxmicxBWGCeoIp7asyR7SoLAdGyRi3smzDKvU1APz6z9ejG61DmVrdDUesSxu7GjJVEheT6iSqiBHkYli3lCXCZ1+fTg/oy5+xy/nWCPpNyB7yj2h7NBP//jLHssTSUGV+0hV8jQ1hVipQB/LgKUG2D4A0QYV6WEVh1/x5AQxEELaH8JXX4/ggqaaqXZpPbbzRclKfSu/AjZqzITubLVg10yo8wefM4oEDALjLIwDic/23upKusHxOXyoR6JbwyecJKDxAFKrLcD19okm7soSwZXm9A4dLU75Zu9vzOgMjuQHoaHI/sN28AOuwgfs+FIX0X+PIqnEDSF63mC5MagauB4k7vg6grOGihsg6BgFRfLJnHhqMqhLfSrl2eYkgB96zacxhZLAvdhoZn9x6u+IWA+gAC6PRsVHuN4+UjheZdxN94Edi51nxi7NLI63vN/JdgG3qYQ3wynBSDW+o5F9VFCxBtgTRFBYpVozuHh3C9Of/xliGU4NWCmv/jxhKaiBnSRyhh9FFSP90Xyx6rnyjvP7AIyJc/Eqt/ilUjBTN4ATpX+vopmPIp0U3e97qauyUXteAsLG67Cx9JrCmGdAjNV8TY14Fa4gxVridC2ZEb2MQdbBz/aO5A4N7hU+CTlatnaQOL4zj2B7Hm0a/ksusM/+IMNSmIiZEyGwqgvWsIsKSle6L0iD+hN9XInOQJ8qJEq8Swjtpq5IuVqVwSKGVPkcP4V9yJZgZnTF1gEuy3toAKRK6TzXjgfMEoswnFgmBmkRKQakMAZx9jXrlL1Yw4GljCfQ4nzQb9Z+cGT1La/tzodL3ldinGfdiFvGImsr8I3daIFmq/IYpyC9/D4ztg1RDYolgib2pY1kkemUgztIol+hOisqLaazXk3vynPhHhcI/1GYf4FaGxK/y5ceWXSfKE/ztxwkYNj/GUoBHyItUyXpkn43gjAk+ZrbrL/mSfV3ymibLm0UodWKeaHcHTi5KLgI+zxFu7IGTeWksFO88u5k6zYTreqA81KWYop5izrJ0BE9u8hw1VJCM1Cu8zaWX6ZydFV9klQvRfe0OM16zv1qNuMVmn2+x1ML7JSzTl4Mq9JGmN3C8KvHilCMT3n9zOoInkhFme5RI0yHcfkdvIAI2G6xR4+qU4G6nXXY25NUu22JC3GDCrWlHmZWDQozVDgMFpRWdCdq12sy4th+/eYjqrVqW1je7Cs2fw/dkMbrHCa1uAOWA5fP/0LpMTjNj4DTdFHaqubbx5YeMUo7G0oDDp2SIfwcGpU2KHWhs100oggcGRPoxHjDXz5efy6rIuBjdTuHUiWYX0HwfAbkIScy4/pxIIUPwfa61jFBNjpL1O1Pk24WIaw5IK5be0C0JJJdHoHUqDzkM/ockJt1gCt6MVPpussBvBN9RdqWWsSizyEz/E1HPidn6ufM42i7VK82I5WD4dUqpaAvLnE+BuqwaMl8mg4CzVDc4BNCT7L9V9XT39XMMTel81q3FBzuEUwJCLvNRpQOsk0u8K5k2oFr2ao3xUsH7mZcfStAYg6Sj2/c4kqGpNfAOTw9nl14TnL2tBjEbbsgjCpXliUeDd8cxFvN1Ks5FLeTES4uaRtwWX0G+BYDUy8B6/Df4rk57Iuagjb2BZ/RkErrPL1JRfHNeXj/mi75+omuUR1d3noD2/yFd1bs8M4OWiOfyB6NLHqsd6PD0FS7A1AJP/kEdFX9hJ2qgzxj3k0656D92oZyIayNB9BR///9nhrycodPHax7o1we28qiX/hdsI4mmBDG3yG2O3pO7flTW0fU138aHRAW8mRWCdTCV6MhDKja9oLq4yWs3vvNPNsOTDox8jPpZZIDvIWKiSiEr7Nm8jp2x6vDMgOmItAapflzNv8NE9YUUh1F4KIjLK4hrlXP+z3t6CsTdg2g2rua3MJzI2eKo4tzNjwAD3yaVjYDTlF6jiRdJQMTy3sWhRLn3k7Rriq/dPYSbayICs155nMmEPlWZ5dHeHfYCg0BWnQWNmhiOm8te+mafBUUHHznJLJ7OWjY3K1OCG+bT+gVHK5EcRkXaexSKqjRhHeqrUsJD5qP3mt0+6M1tK0oasL6vbnQi9Y2R1YOoppu06GDhbbCur/8wbr+zevltp1pURHVJPuwRo2+Q/lhjvM0i5Bpuk2CaLT7fSgQinQnkE1zZlLHE+ILiXonm6kG4iRjH1CuwryurrZhaZEUnUL9dWduisYT8D6smFDqLou7EHzxFXOE7KT97F5i6F1BWM6YuuqymcgprQKSyLTCUVl/uOHtLe5tu4dgG55Ed1Y+SCtxT6ygvScVF7aH3qt988KGzsC32CeR2mARuAn3XkNEit1stazcu99oz515uqevV7vCAN3uirHVnJJFw+J9osEF3eQiS+HUH7W7bsgeaOH9aes51ekLoQT0Ym3Ym9eua44G+Bc9UwrucAqw8VYmEoic+VOYm30mcujuYwoXSjzXlhvC2bjwjr8QF40EyeSOk8VsIxbPy8w3dggZzBBD1oqfGzEPpwByRKvgBCiMdciU8zFR/J47BBDhrsczuRxSlwaPpmDi1XXgI7/fbB9jRmLS7DI8k79bk0xlQKRuBbU54ahxgZXCj9LVauyoAzXb5lPY8gwP/ANmiMSfLFR/Mv3rMQKVWjtVu4FtqDI0x5Bpvy65zLJB6nqx2AGK8F3pbKwHmsbEDr2toywGae6+ojnXVQ0KRKqjq0NwuO+MA/sCHiwzS2SnV7AS53hJwC6/fooLcglnaTMOrNlkWq9LcGV5g3wvTHMRtFpaquCfeiDRYPODpINA+ccXuCWJgAKFEWkx2IKiRYJpHhObj+TAAXxGIBZYxKTXimadfK+WAfurTSX6ftkOGN+MHJyAcRkpwjxCZmHgw55dmawGdgo1gL0FPJwoT3rxXvv0yHk3UIa3HXzGjZaS/LOUw33jIcGsa9xS6RwrkYvoZ8UqvoaLpzH/F0YY7s4LhzdAmva0uBFzBsq5F2+WY8V5dTYLIBJ0WokGAfwoAWEWwB7OqFvLkrIrdUudRtG6GYupKJfY8cZiPFWeuX1Cx8+7wlONwfJtummFjDhZByhkr+FLDvKQHBC9sIY4nuEz2uykrxfmLGV7Qu6pZw0ABCVFC+44JpHO71PRKdu+PWkbH2/JzIIVHRpan8iMa+SXtoz07ma4L58ufVB0/UkYqua5q6hEs1phDazrNV7mR69VsGqlBBJo3afqI+RH5/VXk5+HmyG7sdHU8ODuhELbCusMuzE5wzkCWCcCv2/pPh5egC0AoGC4t+e7QGe8KnG3qTUkpYK+fljAzgpzhTm7jNta9T+kRaAAuaF+VHoYzf8H7nSUDVtUYsV6vN3R96U+sz7Ck38hMxKbY9C+0i20FmbzVxAY+opuokZ8GS73NOkEASy2uaEmuNFUCIxSND2hwIw2dpFYUd5W/9O9naomsxRjpLoQygpW6cGfdtN79BJvpfONhj6JkdLa4uDFEeZ64KxwFPu59nw7mxCHeaI2pCC7r0xaKRmNL3Na3ismEfE9Ph6aO3ND0//qHzU7elf2rKHC88FyJR5j2RLvknsdTjElOHA7XrZEXjo6K1FIk8S9L8LQ8OOR6rFp4pkypLF8LBuXalfKb8gS2C1bpIY5+VLGZImUC/lNefbKYwITVPWL8teNA0r8r1sZAxouWruxVxwkxmfppfpxn3kGMiM14MpQW2u4Wm0hUXrdYQSDZHoTAEzmPDv6f6j0MoBUsKB7Pc2Exm5bf9oo2Yu0ohAFP3pxmcug22W6bCkR0k2hPpSruxpildXOFokO9MyG0eLGY+i7hBf/3nYwiXwFZrIWtLFGwc44Sehzdo3Ma0zJHx/51ocOAjxSxZheIo0L4WvIiNNFbTgy0s4CW5dudAg9bIGV7DUWtqIO8tsDJ3oQiNeasyH2Skyj53tpkQKdV5iPhL9EJ/4WyOqnyLU/mIycquC7e5ZsfGfcaZO5Yp1AnjTuw08nHK0mcJrjcuxwK4S8ajVwabqXygEOGHwoY1BK/mxu+WEk2CgULg1Zrzxr5jnCVXqNYO9EE9MA5oHK9lrFmu8drcMJ/o48w3VFiJI7nl1vL7ZSEYDUQ50/LLmSnAhhdzY8tr8RGXus1HjnLzi2d6xtvFcMTAabzWugxFvkbm/hoXxX6vmX7JCTCYBiu/xz1spt5Sv4xPv0yIwBMzFAcEYZolr17RwduCOOcdpRtbzFcwauimA2P4qtWNXBSi7+x7Y916pPzF4efDaAqmlYpYjU9oyf0Mc48BpJt1D8hknRu9X8uTbwLm+sZJOw3xWI8QF4/EfSyqiscnTcOVeqTiPY9jr9TdjGKYRWF/RvsFMD8fPHPH8BahJL/7ZuIKxfUm6AlnuwgS3LUHU10QJImut/0LHCic+qy+/1YsPa0SNVB3p317ZFtS4ow1MmMTfoK93QMG1D5Ot1ayitx6urAzbzDLnFljre3W5N7uiHLZDxdiXRhLGBhtpnObsG/JXIICKKwqZW9VyQ7Xc5xC+4FRoCGwau89NGo25Pgxu9q9/wtpSXaIg/UWa9wUbzvIpGLOOBmPZMSo8zy6XhZomSS4Tz0S0g7YvmD29vT/RJXx9BCmqKR6eZqgyCsVVWteRyAN5IWpsyxHV/iYD1yKY7onQuBwBTdewCI3K1rPEEYv6s9rFSohBfWffVur1QGXc3D9vYaHYbRBUNhjPu6rfeATL+qURtQv2z3r/YgyPnpdBoCEaaqwS7cdFMvjtvUNFhMAnbzMLXgHGMakEI0A4WazHrSIFWjUa6NKC4YquVXr6WL06XylAF/R45dX3HxG3voVRcfLK1BJOOVtf4K/aQMihGNIFvJuIihQxAub6B8GNAtsOIfL8nQoUcSqqzsEC+BUXNTf4/xKbZMx5e+mD9+c22Hg16YM5Oit4ryldpQ+LMtW+REh1IGWIpOQPSVBGAlhMEDZrb+kGeESedJc0L5vw60lu9iQ1WgI1pII7hPJmE15fnuL7al7mX/ZmSBubh0LRGBPIQTJ3/TvK9U73xn3vw2Z2/njkjAdYEwYt4uRB3pGpcEGYO/jIfz3AYTolqHLMZPkKYUkwaLoNjLk0FrDNJz/wscwdLeMSWaQLTtMiL4E/kDYxz/m7+mjhdVkoEJUSXKEmzf0O4+ychNvbM3M7OkO+bhcdaqf6uDzBnp3GtFO5VZSnXZk28l+YMC/3bBJ8FboZMvwCB/vyuZpWi9FNav6/mbyrz6LL6Gue1r80iQZmjIfFQYyA/nzwym3YmtBj15Alpj71bQnzFL8UFWIPbAoUvFcId3P35SWkz3hcADVwm28WYB6LNVjCKMGiAZNf3s2FUXugr5/BNATFeeU1oM2jkKUsn7iXpPjQwuor+MepZ5OHTI47bdZBBT/6KQN952FpCKA/+iNCYNQ7r17AMgZe/C4qWOsrm9gCM15398gfSVco0A3ThuJwZ0RP9Ilsp4zMHOhAzQeSgcEunMWq7xRF+WXeFAb8HzhbBeAZdF5Syv9vx1liiuXX3PiqZP1MBGS+VLyJIWGxa4DXZEEeO79wgo94TWKctsrzDNEzbSPntFOrWLx5isHFTMDyqeHdOiO9mFTR4vEL4DhGxBfE8KB6dsGjgWGR0zCBo1NEotRW6hezuQ5NcwynYbAHZjAZYYpWfHpqDqfp9EDjPLrXAtblAHwbcn/VZxLPJjxc+4ZtKEpsefKaNaWwAnwa1Oe6cQrv9H48BkwEht6uuG81IBZA6Ap8DvXng8tQwq5xA0k6nRho5t6fRf2rrQn2FqAWYa3ScvBnWmG1bg/vTGcNkoFqgDGZEVNd+R0PCUJ37mgQUfsogmmgPSCJDeXzd/EU+ThE63sk328mCO2ck6WTRCbj4wBurAT8Ixb2/l5nGjVgWYaVwZbR1iQGoPBotaqwqtnyvGYEfxyYG0rHgAxFJXYsontUQs+bstLFUBsZNZbRomyiudYXwrX228bzkLx1cVVlL7lRWyMZ8DMcyn7zMNOjxK/edtydakDq4vTIh8dBPowRmCv5tjcMZi/YLHEyvIT36SP+LzsjjXtyqXKGu9izjv4etvPl3Uq3ffw78IKeT6IJF7L0Uy6b6pXKZD5y2+OrWh8n5744i3X7Wyy3hdHUZ8rO6Wzpq4JpT/2SIP6o6KCtuYyhtBVo3Kni8X4CrO+c2KbURi/J47H3sKtnKUAhAs4/XN7rK61y3ZfuF7j/FQw5Kz4Ho3c4hf4ouOjKQBRcKFAC03YZ9bPVS5I/aus3UNoQnzG6lz9GbkLOZ8qnU1CXsx0VhZQYXat73Qtpl3EwNdiKMpBIsMJRlEOFe5Mnl5IPKv+ljgAdBoAljyqS85kse1Q9PWYwNaRvGDd8RibGJftNriWFAE8zZo1y2Q88BbV7anP5TPf7W1Z0V6i8INyYppWE9bOyyTFosbn551G3M2EOecNeUEM/ZkO+qdvdIwU2Y28q/FbYjiiukd3ZSYajCv50BXVtgeDn6flYHZw4/3GKgXBg3q24U7zl7P/uXJgpqjJU3h2Lqv7TBkRLjkkczhCw9JKBEkiXyc8EIZ4t9Yy/y32zEtgKWdZIx/E52/jHrHjgcCgr5SeicdtO8wMaRuPefWcBNiRubCVcoAZfEom4kwCyKGp7s+PEoeHxAA01+BJ46VlyPp0XMP+jg6lgr8DEJI7gV9Ws1zWYBEHNiY32GuKOPGLdtbCAyKtwKd2Mo7wy9nQBBfDiF8aOvnMU8U1Q3+5uga4LgvhhIUnCeESrYt0U8ytmhnAi+aUuEAIbko0YGJkbC72ALiyNoQNufTxgQmg2nAseXY1MCSQgX4ZWIaMZq33NITCi5Wyb1sYBRB25LRsU3nl2MYEBxZc6CxwGYZalh+zWoXhwnGhCbO6WN+SA+bAMuMwUZFk56qJK6xBZT2l9TXzcJNWyAntfwyFrackYUImTgCGn5ssMyxm5Ke1kr+pYnfnanFs3M40aJ9B9AtZCouJ7bFHtabnQlmb8MZfUOqfuMfQdxKBgdPQnokmFGezVxMF1fhF/3w62LyffO4rNhqSFu2fshPl4BYdDmVAJgaCDmGunoIHM72xGoqGM3GksC0cxUsOg0bP2FJctZ1mJWIcVTftwYejXEAHEUHBbxf0DepD7MKag857gqkj7Xr36QJIidpRVpQOJr2ZzD+yEhkkr6an1FWherA2ILGQ303un4ohn/a4dnZmWc97w8IPsF+klSA9gQPIxgiHkd+k/vkHxoCzp2gcuaKJ5Pa6Ut+6xrK0A8HEOMpspX9rw/sNumf0jP+gIAm6Zb4DGmJrzMXM5BU/XwUBBwQU0xUrSTiQ4xLSW4f1vTm0RAFB/wSp+7TdYMG+re0q9jRsJbh3Op8vwjgc1KZp/4zLXuUUtHs7xhzsNj2MvCJ9tCkqEcYQ6WRPSiCtY/goWMETOTrdKvq4ZEAXynWIh6ktmWCvT2R7a2JeaAp5iUTvm+XPKj3DRBjAolppV0FnbaDI3LtfXllIkcpiGbxQJP55CRy+bU/DDAXE+IhCr0t7uk9/U+BS/tAe6fQ/uOmdq8+2992u5czfxYxdE46IpSVtvpfD5yv63dR9MeUbHRk4yNzXaxkbIDQDsOKc1bEBo8vVLhRswcNCzHTk0MKIJnTU3xfr9GRpZ9AVJt6zJskZCOmwspO84bJyb5ntyLCZkhtf6UOOCc7td7iPuknapjN7f/c0dmOUnlIxldsOE/F6uPfRQtvNRfE04KwzriFiQeLEPp4OnOMhq2+p2O1kru0D4hgLZMZ1EFMfsHJX+xLrOtLM3pN+nHgEPROkajyHTliHAQuEkc0le3gAXjuia/f7d51w4bSAAWZDrHJTTPkeIbPfZ0BoEwDkOaeJYI771umPh0GaoWfiV7V2amIZk9YIwJ96cyCJj9aIxOcoG8BeRwZCeaGaXZ4vpmhmj9ofELPCtkzFk+LtgsDxFgAf1CUHEyCJgirVRpnnuLpfgjUm9rHtQsqj9bKtTSK/ePBORtMNPNXgZ1HrHcZy3hZp0qaTl4nHY/XgpNsyGVwP2XphRIfcxnPqA2v5fkwEQa7c3PVINAjGWtcyIZRDdS1PgtnUEL6u2eco7WLA9HgMNPejMWRdMw+ICHa3JXBGjP+NSvyagu6D3TclKCpGip0KFAWHtUJShX6b19hzFLI5T30YkvS9Vn6Bd6CjH5ort+IbUOWUtABeQPGL9Jk5heRgi6Y9iLzKbcG2IeVS7MNe+p6qyOtxsoCI4PzNALmmueb2MH9SCjsJhANmg+YxwLAKq5x8f58f1qX1ueGb7tzDHMp9HdXXHOQRIBCOm057wkIOzVxslUzOS3UoXBDWGQ960YNwxFuuxYmLgRe63/SqF+890uO7OWTpX4uwotjcd9c3RhFrgSqdcz/8qoOwq2LdBrtxNlLO1krzORYHp+4grB8ZvjcuccyhBLAPiPZRNT/oAaga7R2aHpltpmzS0oII69ICaUSz2GFygaOlBdM3lBmAVqG+cVzUIawUciQfg/fCZtZkZ6ueP2L1QUJ2UKBl4L1zbmFExO9+Liw7k1Vil7dRUl5brw57IUzalsbGhjl76S9TXZYDaaHD+sA47IBEbVFkY5pnhslr/dFLuEb2Jz/7du6AWIfg+5p33vgfpLXCjOZac4mWzYuwIQcfaqj33iPsRmOwnyCgzISHsuHVomT//a87ih1uvS3JudB94PpQcWuzAhCPp1CMhQ1Pa2zHc+3xc/PSmCxopLNOZjEixu+OfaBmKvnPepP6GrIAH08NSOMB9il7mXGQz3vVyKMyRaH4Qw0nkVCAYfARqH1757pg1nIVQdxx2BQfR/EXtfEeXY9EdS6zRAZrSG0TwufCjXcsn6OcPsRBMcplMiACwGE6joeRdWqVJiOIVY0T20UREATVjItqrJMJvww1pueP8bUgFoSwjuf9gKKVtK6wYIYnEv+5FlJjIp5RfRyR8JSvhg3+aG+hYYh6bRAhx2lJ2+dlsFeapX4gVqNY00moXwmJMJ/iyBguLrFvudIFJjR+X099sijSzu7bFUneAk8i9jXpBvgM2LdfBpK6cEQaY4YTUKpVHyL++wigx+mWg9glgNJNrtjn0TWWnsDkNMWx6NH9VCO4P8oxtAAxabm4uKI7TxZdUQ9FmZQirDMNx7G1kQ95nCIN7XndeQ0+69ljKZMzLb00pdZ4e5WNFMkTMLFUYXPkjZ+aHvbnkzKWWbxdNMMHk+y4toanm5svGC4gVFCxwINlPqEFT4rEV5jqSfrzBfGEObFJdTtCNc7MWJEDZdBU56KH2aG6ve1mrqWK4rEoiC0eWANJAjD2jOz924BAdy4MN9VB+tBSKieyzMTWKviK2g7AxINiqx1iNo5MHqcm/w3fTCAgQgr9z6HeO4grlSFTmWuWi/qShXH+RLRSdQUmctQGojWOcm2zRpKqCjt1Yrqx9Vg3EwljbyRtXYBySGUloLdVW+mb/A+jIbZZZ7AAelp3Gb21pXNKhOYk66y+BmnXDERu7JAu7+cQZyl4EWDuym5Wm4okJwtMG444GlGGCMh0uge4XVO/mEVzsTREn5/eBTbI9Q6L20ltOJ76SsohS5qhs1J0/N4n6GfH/E6oXZ6F0x4+KPlK9DPFz4SAtA0AA3pA+bFcvyyljmt21Q6JtP51y+1ex8Q1CZauB2CXx88ZnU+FfaG5339sHJbipxHZtr1i+InVQa7UQ2/17V8Ei/s2hmmvayhPHycW7rBqWRZtBALIne2mXXNM0QpxIjlTULvhPLTDYn/Tz7TfWRLTDWl7ml9bmS0mwTg4RtZWE/Td4perDssD+XDurozQybKOoocv8hh/KErQLF/zENokyAT6lqlGofy/Gx/+umLfAKJ4+f2FYy66HnDgWSnFh2ZUp5gsMaMSVHvrJLMr6tOoD3Arx272IF41cXFqkABU5rQ6HsWz2IWPoRSF1xdpyMjwJnKs5BBEutwwo8wK3WiHuARI6e+B6VT+C7LGMx6ckPvcRZUuDqPlxuBev3bGQOyHUel5+7YeMdWtrevTAKrBxl37kIiEjAJQBvu5l91K136cbTt4iYddntvzlT8vFUPLhU3POfDV37mi0vhfo4MDiD/3YQdWzvgfiBcdgj7H25nte4u6jaRRbxuUXVRzueR3P1iDUL7Q9dRCbVI8dmLbady9Krsxi+ViZYOEoP2qaxQyhqk0QREEP3BwdffvGSZaTpleQ0GjCKSGK40JxRef+4SjfDuYLnQpj9+/m1xoDPzEIBlN5SOd6AulcI0Q5pBoI8AV2PXBl7WFN0rJShoTlsrrrPK1+6wFUxj4IR6w+Qet08clOeYfj7dDltks4p1awzp8aqw/NYdmMHELxInkcrQzbg5yUr8FRT6D1lEPleEFuOPe7JaBNLNhuVCK2v/3vg6Bibla+abj2DYb/MFr4ExmjN8cGiydBhcYEXhE3rc3ITrfWL3YkHUpM+XDifb8xSOl8Qwh/ohjVE0YKr93/Hv8Rv2vPSUCHxpVBLOYbTKYbsRmMwPpF3vJbEzeCV1Y+Ulz2m0qI5106axJwKbpZfYuapTYU8/q9z/DyT/ayuypsJpc3DigyDgyfmFo1tAlP440X/Fzpr8Zu2cZ18RU0EimWJFeRl2Q6vW5dg0AaqLptYgqIa5aszHJUjupFJPCfdH3NLBa9zZHcfdN8Z8u0froQcb3H2KO1VvyVMrISu7ni3bEs0zXSdaY2fp5/aUctNBDCI6sW9l9Sq7TFtYpgLyL3qnqQdcMYI/NsHO7kWcKoKSKmoAnRJg9EteSlmHaPSF2/+MXO7gDftv8jhXKJ3tqGwqVvWkk5qODtkUB8YyJls0/qi/is66zFZXyLUZcURpqQS0EEGk2icZ0+JLgOUzNV0Ib7LF7Ym0UaagUSP07dCMK3u++Q430pZRF4Xkosjs0siPQihy5/8492XkLm/F9WLaHSWZrQuiMHtC1CoSBK6R9A/gA3QtX+6IwXAPLfZo4+MpmTz/bd6j/yqdMUinvwj4bvZdDTHIiM38MFLbXXyg3GXzGvnMMV04WXpXyl14D8qANsxr0zxgqbgNyrwJuiuduVRUaBwM6YNxCeggIxByc7pWHA7V9XrVivYmPJyTr1BX6PDYXvxIMICajE3UvBp95yNplpnOZk2b68jU19xhBr+fil32bjB3Wq+XAbB5IC7d8uPhZrjuoBWcwHibPCE9scJCsOI3+6M7gFglLPxXnUIjKLV5rJLSN2x8Bk9dA74HeiidLYpQ/f53ZVjEwk36oQxsTNpB14wZgi3IQPNTck/EtmxrKtP8uHrR3uPwXHLSIPx4iGj4KRqQbhWR5fCDsZD7tY3h+bOBeoC7uheVjM9KqpYw4X0ChXCV3qddcYjWMzPtJoeVKlzNdx7o9KXhOPM/UPGhK9ujbIWo/6en0rcTBUUs92obuh6SALRqu23g+N7lDOkvPQDvZtSBwVq8EhnogMIVCJbTqtOmjFpTnzOmMNWT6TdAkusGBPY7sG2G9mka9wMJrHPh8v6c8rodGml50yjOzd6aMLqPTHDOVGhYcO+53AwGXRjLhJmNj3PSal8ZK7CXuyN8ZVGsqI/Ea92Ko/V8kFqiDKD2omNO0Iy0NiRYJrYpLAVi+o5ICj6OCFgTPlnEGjrINzBt1homXpjQfBJwsILY1J8eP3uRoCsw3x95JUP7D7v5khRwKIeMYaAek5H8pbCSmTPi1r12yi5Y8QaO3s4wrHEx2dRCoaJW6KJA+YgR/psBTqju/ve2jgFuxSDv7CwK7/V/FNq0xtwmcy101zU4ZdHKM0O2h69d9bl6XBYx19G+63t4iiD6MlpbCoeGZeXKz+66dkYJjLwXDCDQIEJw2ypIgqqcDc4275zo7x/ergHhcAkXcOSG4puU4wrBf0zTSQ55oUP9kgRGoxE27/t5PlAcyNlpRdNILz6HIu7i9RfZksm9wfOXZhQiEQ+3cSZf8m/yicbQajZfEW4hObtreVbW9twOykCv5xAB/bT7nf0UBoM4dlaSRFZO8mpeLZSeWUaGf3PmnAbXxHE/DExitYm/o15xE/Pehqr7bHefxLoAIX2ozjDjmcMpjk8l7Px4j0tOXhqE04HFiQPZ7J48phVaAKHADPPk9W5VUTPCtdmJx4HxMc+YBn8wmTlJdCwDEEj0LZh35ttFOwL5xw2zUOUiHp6s8AoWu1uRd4/ib6vdOQ2h1H+KqZAWKTlMcBrgwNPxy/KXd0Gsx0XdrfatWNwWSRsvJjOk0HbI54KmVC78NTDfLBwecSn6tOPNDVsHDoMm+xaSQH9jCb2HSOnh1LkWTm1nEDS9RBsgBIMaLyxLmX0JEbC8967RUIdJ5mgO/7yTZo+jJgZff5/UQ5M6myIWhBFL1MgP+C2SZqxJaRE1tHzxo5RsnvKNf/bBMZwCM9cpUilqHU4z4h23ExSFhAgXxdQ+8UohHLwME+j7MQtGNfVmvSurhIdwElysB9wX149tHxvXnzLa0GAuQqsVtMwRh2roSxlX5PcgGOIsb9TbJOE+Sz/WRXY0N6OhiQQzYe6YNAF+NTBHubHy49gE7cfL3sKOjuLuBeAkP81+SmoVlqfRFXM1xsTQomA6WQHsPyUeHLabomtPXx+yTxobsuDbobXwADG3MF8XV9KPlD0UUiF1nUB2L3w3s6pvhWR4FFdQKf5ZmCEvRqr4A6Zxy9zpS02dlJVCN1fUs1bPNxgd8oa9JZlgEuxdsMHcBXuT21vIORJtAlttqhCY+z151ZCSoInklmrpLmjHDzpSvOIRGyG63EWj1A/R/Csb0vz11AZYWIy1iAYIc6w274pY1/TJa5nXr5O2tMflYh1DcVMPof6KQwBI8JfIv9LrtpoeSkC7aCSEYj1D3oGJup+zOGQZXUzTUacHLRv2sm/P8q7FOHD1lxAd63M9kpK2SU6WMOUhhRq9guaztx0ZWvOV0jfiYC0hn9YHzO8FVMcoNPId23iz/Kgu3N0P5zWFJjm8H5HZe2Es7nfdxS4wVyjG7DZU53453LVF8F1YTCthAEVUH3if6cEpWXn3Pcvnttv1naKYcD9aFuk5FhKvSdg5jmiKqUbZh3qbsNMkAU4UVb5XKJIbwHP97asEY7DVyRN8gg3icXSJHKmesySH4HwJlc4K7hR/6mJAYyfDdGdjo/EkJer5bKZkgHhktRz5GpYs5wj723RTuZBcvxMMMJ0rioY4+eh0+p+ykCIO8D13lNiqC6aps+T0CsO0pmWTXWbz8xeOye+Pbdms9K0Rh07f6H7wLYTVQwiNNofolfkvqwPIJL/+PcirCR8MfTMnpkLTCBD4Ankok0sgigfhrnM0ttdcfFvTM6pTykpSW1QCUoBRmX6usey4Eyh1rB716NE1deMaOBkuOT6gIpb0F1GEM3hoitc/XZ1VRjGfgelkvWjeUxF4PHUJJQNJAl41ngXRThEPvc04/NO0S1vHR1yPMDEa9VkxnGxJd5ILrKl79EMHCYqZcQyhAdhamxTTX10k737vw3q+x6J1TYpKe5nAB6Yh9AmL3B257+Y6LQnsk7G+yK+ep36+vSmSGf0ViQvoXIl9bnEc/IQchpJHWE8yUEVfMI3h1E0BOMwz01wbz0MY3SXuEI6ppAfgXHXWDU2ygm9nVWDmG3Dppa9dLkKNGN7da4gMnTn5048sVtaRkJwObaUY4zYS74fnDzN32iZ0oJ9Xpk1dJ7yNZfDFLZj2ykHgBA2yDuNhPPkoOnu2gA54RaJtiHyWI/ZKhsAac5MxripueuhqOgMJWpFEMb3yzfR98YJvxH3j6YEjg+nG//UwnQvlk9Q8WspvvgJp04sIJKGXGBSZkFsVN/O2TZCdEWpO+cA2R9FgmxuTbC/O5XLFhWopYH5ebDE3A5u4A/bwfAOpHtOlz5v60WwYHpRGg+psvXcRoEgx44zRYy4lmZuG3Vrl8I00I3BVCZMHVjoiLyzhKhQZOsWttVyGWdpArbRJ0weUZCSSBO1/ZSH++D87qm6Kmd0hYEX31DEbigMEr61/0kO66QAsaWVm2kP8k7M4qe3QahNp4vDlkACCU0nsEjqe/mCdi3zqZ8SCIDNvVmH9NDG1N8EKWyP8fY3kLRlWmz0ve7bmw4PqwYNngDK1swTHfIuvv1Ej3I+fO6jhYOiyrugIRGNSvxSdAAUDVLFJnVR/C9IEPwvGZNlhcwi9eY4PYFljJGEkymOlocIBFioLx8OQoiCL3VL/vsoGxjbUloIF8xJ4r+esltJGGrxzhoGF+8H6VVM+r1BxrZYZBaQxEG172GmcdSOPPnubxNCbMinA6L2KHwQiELnnpAv3wobqeh+frcJ1Co6NSjtyOdPAIiLZb+/xtb5ErmBFT/GxRnrsnL0Iii9dFzXGz7kqQL2jGKdeaEjtZffmv95dLT0iHsBpWLWGjpDLucMKQmUsJVqG7CESgjJXTyAyKNgyp/8EFV9LJ0PlAYLU9I1fOx0CsOEknzR9uEY3mR3HQo/KhEDrdnMepYTMmhmwPrka3Q8sraiQdcaIixEeRaji+AB+XWIR54388N4llXg+mFTIM5UnvWiffimSXYkcsERu8JZVASFQ3FSxRd4lk5jRo4lFmXcMlOvAX0csIfsQRbc5CxzgQ3bhq5eqbqgQm+3LbIsneAPPvlEiJ/HkLEZDo7dmdAgE8ZNU6N7/TLdo/xQIAj4/9gOT29JmgbBr3aNmQUL26EhNb9wRfxu4EoE9JqdDRyij9/ONoZ4RlN53/mnpEKeqtmUz2UPP+S+eU6n7vJS1HM6qG3rigUtrqJCizO6vwVwDH3g9KCzwFHk/AqYeAbfVQv9EcECSuwFfFybS4NgPN+vDLtubsKnqQPYzrKb6Ddl957TUd97YJU5m1XdhCJ03ysmY6/WE+qtMXtZXlh1Yrrv8OEiM5iBfMrS+BkmpEz1StN8QMPl/chBuRT6EOBHNLg9zAxcdfHM22AvdwPbuubcgljeYie+W1MgObbRlvS6CMZoCm4rMHrO0kjDaE1+iHWbUw0wTo6IW0tkAjelIGSbMuUoo5eIuS5auCX94wE8Ml7kJOGOBdeycSLdpHPQkJUulaADr099RzxDl575/nRnFzlhkxZ1U4UQ/cSEYrNfwxnLfW0h7kflZUrJlTmrFm+RjbjihJn1bWOk/jAXXstqylUkrFybbA0zMrhfqn6mG1NnCNR/ZZC/CtVqUWofXIfThAcNgoyvc61EZGyRS8UrPShh30zLGW1C6HWRrFyn0CvIJVfKLvMrBhuIdhyWqorOk5PxddbiXxWOt1YGMeCv53WXEjpF/d1uvKsgbhpzDHk7jaC7SX6EwPtL/ymU6iRjievJGJe2OVMj9k6ARrtbDTaokmuV3eQfqP9Wf0kHe5ReC+aHBGAVWOSCDPY9KGXMSdLx2H5p+DIY/ujxI4PGvcf5to6cMQTUNbapxninaQJ8WtNt8vEmoWJk9/9Yg1TKxUXltev2Lba4ZpjxhPDZQ6KixNqjqOehE9928nNZq2685EZDlHLhgqfmGvBbzBgn4OV86DM/x/t6bSfP/gjtZJEgWBqEzXfrssa++cv6FvdDuMmOtiN37Y5xpz2l1qZQp3eg4byy60fQLCRpePr0IgwipbFklVioEW1rq8e9NbWcTMTzVvFjPbQcMjiNKrkQLISHedAJ6XPahbCzlc4dv7j1f9ICc9WMe74E0f19gln9cdvwr/KjSHycncgKvdtYp74JtCovOcTGLMLeRK4Jan/GOKT7GVwlGLUEhW7Vk54qVGTYHBDPA7QuZSixsx5sOwlvaHcLjECEL6eraje8muGgKh05XyBs3wer3cIJbbin1G2XWj6631eVB6/H8U3BNP4tUgMjaITUHXJ1GuPGkzGA3Qc1XN0yK8Q3vIJk/YCCOATGetKH3YpSeXVP4fg4x1A9+y/ZGZhqCgG7P1PUZxj0lxHisBJjvvN8/+rPiRkQBUi+hqn0wMqm1rxgdcktCWlqMrv9ziiqRONRGW7+o0ym2+TuJkKWsP7/nwmBRJlxfosfjWkTnQ5Fuz7ejt+7zjU+PNo12mLt7B0zmGB0Ht9hYWl++zoPVQxEFpR/+q2xGOqhj50Dappl7iKdn26d7ih36BZSc97vOwin2WvmxOu2+xIoCxZDxGVdA+Doq4atzq66KFxjmK90xreBBUlnSywxQk42LqJquJCCTSV6oEadTOlyEgfhlIH8rmlA+vgjoVnrzgiUPkuD13p1yrU85Q4zleQTYVVx1Vm8agbO98LGFPFSza8r3/5Nw/3FQOZsNcUruCEy04LSVsgMasIqEiq4mkQuy0UGSLpgbm3ucot/Eqgecx+KRBDhy2cKK1M54SaxkZMRON4eHXZzI44I7YqliuuEqj+T4viE8FwXgGiPJtraDobOupcfVIXN5J7t0qyNBIJn6+OF07TdchLEzRiTTYkZwG6k4aaeBRFNbqDy2LEUBEQERo6ReOsHwGNZrOhErI8E8iZDBjcXc0Glf4g5NCgAg6yioGPXfWgBrO1CLCvMmPnku95J+cESKS7m7QDM9XTrOZ7bVM5fikp6gaXI6ps0SMmeZwu4pW1zcXmyp2Yl9NrT7Qod6ehA3cQling582U5TdQ/+aEAAKzqKz3aFaPvTaftqoDPnmD/Yvom2/MALL6c5if6zKC7raRWDJoWAWXL6jLcI71J6uNiTouys3BqN35TVEqRlanN/1GK86SyRNHAFdaXXeGCNxCn6VIZyl5evCJ8s4HIOiJHQAV8ozXMCZRi8SwNpkAup1rD3bqRg4uWZYeV/3pIinM1dNZxHVO3RWZidq6RTArHh/BicKwUxeef0IauQYMGVGCkb2twJcj5jUU8VMh6EIW0OyEiEtmCI2naoeES8cxMI22nkedZYN83g2Jra4tqW6Oxrhqlna32fCPQv2zbbD0HCgQ7c1PG00QI1qLELn8+79t9KcZhcdjlKSY9LJPKEHkKaPhbCoAXqsBGB8MH72eGzZrpU64xhYmRAXYTGhCvKfv9WhminY9V7JpzIikd+erTfSJfqnauxOs7DkMB/2dkMrABcDGXDTby5Ea1A9vJYTrdHzC77KcotXJMaoNtRxyCR5Z+1lZcU/G3zGy8aFTLZTPzg5ilUhVVOUElX4IwWvNE5vP2qmYy0FyseTaCupDImQns5q2FHeMzweWmZncGfL14TTxhwUfUa9x5ycowoEVYBt4nvuLN6YVxyaH9QOxDnJjRP4tbq/5z14izkKrYvVeUxxZTSt4mhPQJkYI8K+PWwExUG0D0keSK6Xaz0moEdO3K3Syhh5D3E5vFOKIqni8wYGcx4kPGRev3HlWD1sI/SlkDTCVz3cUzb4AaLUvBzc7U8mXCpBFrhqjazKTQzENP6ncemY9L0ie4MCZEfb39McXJILptWdms44BqAjFg32cDHoOFqc/uAl2fDphgibgMK3Mv8St08Ng3ENos0hobYbT1Fjj65UNhHdauuqZohoVaWpONGCF4G2cLU9ELYNb8kddaQT3a/64pp/C4QbJyMoO5TysbmVZFTPuUOv1KrY7bqKcJDH+ifx34LzRJ/c4ugYHIoeuyCRcH8ri3smZwshrPWYPBiZYP8gb86eT08/lCtuSty5qxqGymJ7SY7UsEehUaoTuae4d3EKJy3qpjVNwqnZVW+fOmyyoEJuGKKWGjXkWRKiGU7nBzol+Moz6Um/MX5rZkWSe+5Js772jzxM8LNCLqCNDLVpmBThQgIbp092GMlqt+4C/gQozSGZuO/sh7y1IrDdvMeNPLU8sq7dIqyLdxoQbjMLM4RbQiCl+P64X8K6VEIa50xslBMM5hP+7j7uLA/cEXLul7ge6x4mSlb9nYl7UMh8XIRm/GDQbIKUObzVmpe29rI2gRZefvpMpE6xtIUKSRnBsDn+pw+qqD8wEHbgTPkCL+UM4kOcC9ztUOOZUca67UTSLDD3q8BLZxGS+aakrjZAtnkSyvtdoBQ/18UO+pi+dTpSqBOH7s5avfMmiuPZkmCGgXi71S2whmRUV7yM27JPtsA56YnvV9lSO25sl6sa6x7a7ep3TmZVvM3kWTSPZF/xLj+LVyTV14s6mnMAb4/n661fkwol24zmUyR73VFwfBUvuGb05A8gY0kdJRzZhfxGMQ9OdeoBbAoJeizibwWan/09QixhBzFF8eRVS0FLE8AnXENytNbfxcp9QQooHDhQRnvJb4zi7YjJZ3/PBKr2o8JPsJAELN/kaHyNaNd8Vt2kulvSB6PM8cXaqrdkHJnnBJ3VZTtgnaMTBnEqK/YHhBy6EVMlOE8a2jpWncH50jEHccMIOvzg28M+kieqq02vbVtVqTR99aQGcFoXXuCmAqzSUSQdGtf4uHLQ9tZWJ83lsaRpMRxLSHOBMAgPzkf4pOAkrZKULGgLhDFzFRapS0AUZeswZ7VJFaWv7PWyDzdERQoUfimcjsT4zfV3sa8iysJECpM1GxTJ/zBsiCBBzrifZAi0Vh0FtpmA6SzBUitftRrcbGLM3DddRuBhRHMWTlhbTlS0gkg5V9smFQrrWs57LCjrdgdcsb0Bv5jQ/rd+2BjEK1o453bQ1xGo2QQSlSUj0cQpgLTDdwmc9vPknTDpZrqqDajsK9bj3ky7djAfhtWHhCZFnBK2G4i6DoZKPZErnZ5rFaGj1BxJmHmBlMGsAL7RJb+uMFlGGufwILnWUsuF8iBpTMujo/u+0p+gId+ewHb3PcTiuYx8p4NjyixsgkzPjmLDZ3/RHV5DSaOnEqe1uTkEUmIZcBjb/F/5G4JEKY07osYk9aocUj5KbsbI9OwXS4cHOS0k/RN9hqrq6v6D2Tg5WuI5/kTnoQ/1pEGvZ4Um7Ln/Eaa3QMSPA4KCbnUJ/tFhNJzMYvDr2RrpzEwbWYzOwUH9JdfS00glrshLFNhpvp5ALRO+KytTlv/jSbzho8IdFcTkL4emGsJxH+3pM9zs162KKS+DjNFDmSdKMo4bOqPtDxFB0MubaRwQnnOplZB+5filFCQ0NvQJfnFX4l0/gm8DSfRVCw1oLnuhVWpmDerRuj8nUEpVTUUDQmyBXFaJwUutP0m9uaH3yvLse9pP9ECk1Ic1j3lrDPv4EuGqq9P9JDPvP9/LxIp5l+7e0TBxxGm8oBZYAMqYYgbEFrOY0c/BKx6U/vLctCHqwrWnFA48tqc6j8tjvXod9g0FOk8zZ4yJkvSaMjr2L1O7AWgIj9pXm7X+UuTVdwbuEybEVdf/TPcyshOADbn3kum2NdKe6mvdU8iSu0mVA8yj7Skgp9Tyxigkj9EZmepg5cD5y/1MWF4lfueGCzcZujUj3c57uDYS/+Nl+GshSCitait3Pa1WItipiP+V3KloxR1x5f+QX7ZrBzTmgawmL/Wpd8ZDp7wXRuNkL6fDk2mn8uTpeTJi7UnhFSOKd+qpMpsC7ra6X7fZpyOlaCHyGMWYzYPHbjwQLTpy7VMlxw8EpaANstugEXpVfQFWB4iMOoZ+FRXtJyk2C4ZBUbGmB5TauxTMescn8dJYeK4gbiLwHtMZf8S1FamcKLAiJP04UZdjVR+5ozQM5PzH6eWwDnzOm7BLuGC4Byn8nA4Xxoeh1KT4ROJPv6LS+8LAr9WmiJlZ2G0FsOCJ77URTHbtJG/MhSL2j/DV3QJs/GhkqBKSAqp8aMpr2zlGP5YElC38SMv264sTjyMs/if8xv+zIB/9McmgoBd2KRAjQTU9OmNIX2YJZbDCUl0+86lQ6vOMBL5aBKvRpfSd29gyMQboJ3UGspC2jERp+Wl8YZXk63saVwR5noVC9fWDSAKB/7SKv9ahoyToCSsWvXoVmheifsfI2DvQ9Jzov2fwdi1X0tD1pV8U9uKK89sHBNRakFl4NDLOicAEch+foslXC0STNGsiwaRSGCA1XNsK/AHOCySvBK5FqGaN6H92PMv2wbr3ggJSHTj62b+1Z999SzYbgz19JFvqFrHdLi2KubLFuib375jJ+BSw0afRzy48u0LmrHCPO09UOCrZBjD4ksuuhvS/nXOzLjO2IrKiSx3Sh4PUJiG3YLyWHy+tQp319lVG7rlM5uGUdMo8So4QPWYP3sRwPXYtLLRAaBxQeaIDt4SjVnKJh2LYF1GQKvC4vb1wDqfhiuFA5UHX0mQo9srIvOltcfBP3ghOKVDMeD7WWnl/kKezFHGwWmQPWjtzHU0WgenHPeyBiHXa+dAFHe2r5ng14UB4ChWyK3J+Vd7v9NsZV8ovLvrxNJF8gUuhOcz8zDVUlgEuUUTI6V/8HESurgKHbCFb989qyS5BbbiUVFlJE8HXIjDgoAmd/xADZAMAXb8DRvYOkddOaORYSh0SVPa9uQF3qzUh65t+Lf9e12L1m0VmtFc87A/sFvPABcfIEGBX0mFFM56o82t2zHLeOYpw9+p/Jpn5+vs0VQ+Jy3+khcYkE9MHK1qW+FyO5SEzBiIMORegUWAFxea1PFZ3YZLgrgTPacltXR6FuqhWuU80eN5XsTcF8A+RZMhOh5cQuFO5NOQmKL44+epi5zv2EVvRkNFvlas9B/wMO3yWAfpZKniDtb3mXnhLJdERTIrLfuwrXXbGV0OODjg/7GLOTrkVp2zYU4f6CUowXJQ/WuzVR7TFvgKYcLQZoxzDPW4khdQQH6Q7XJfRVgbFm1PLOIEW78MNrZ5fRFVQmdzgFK7nerirE2t1Nnz8FyNvKgFwMl+oIjtjjYeZ9bT2xWbKNAeZagFLEZBFbILom4c2fRIDWkv/fJg/mwDqIf2dm4wa59hNZ6tS3QpTR1NeFERhgRkhxFIXSlG+KmHBmFQuy7s3IhF8dXmwB1CKTxPWh4xJSpfd7KOB5yaEy56OZgNRvV3a3hx39jXGHwpfzKBxxPV/sIw2VrHzECluV/VVf2D5bvtV8s2CTaD4FYb0DtWx2arWjfqMaUsHx0yWsNRDFRQrOS9lZbp8v5rOKe96p7/Ay27rLcjxl2zcmLGcCuGsnEsbN8Bo3nJNtTBzIUtdSu3eMlM6TSSAUpHZexgFW6blgYPMlrat0OtdBVnTA4yrdfbIE5IkHLpFCu29sfoVs5v0fdCq5boni3+sVHVeEHWqZ/p5rUAroeiIg7r/rrDKJUUNUvcPuv/rfoMUO8FF3297emo4CTGrYURWBPhw6wCKV5IKsA+ozhUnmYbSpTd66FPBgWJNZX3YBipf83DhPgPhR7cFOlGjQzoEyXjsBBNAOy2F3xSrsW6uwNnUfIkX7yfXO/8pv0mFO/g5RSTfr5fAiRZ+rkF07IbPewdI0AWoWX2mWyzZm4a/wLulOkmFfQaLpx1GrRHngOcpVQ2oll96TDkw93wupZ8uDYl9OtZBvfcPlJvuOAGM9rePaPSdjqw0eNBszRsw4fGy+37A3ua1atJnCMCcVBHTbSBLoczKT4f12I1FgxwpgpYpTZlvfJjTuH1lWZrjUFXNIHh3t4LWUcO/Kj5UzoMXeFJacgwJy0WrXpZw2H+HabjTLRh72MPHuzrKk1UXyWmOVES8wMlVAH2+6ER3xQ3eS41iBhtyOnzPneecR5CAK0yltXUyaRXFs+eiJElMt4Q6hohCGkwFfuqfzU5/4qkQ3qtvD3fKD+a4uDeQpd1JrUz8eePe2fkwrBA3jcpv5Oo5UgJqUoyJ6UUyZDYnpe3KctjdWXwAGf4z3RebakWRKMHaRDXTsxThqfmnJ6wKkUz1peS2Srdc8cgz0tkquU9DAhF5mYzcrchRQajMEJ8gNFDyBvikomChMqtLWovcv0kg6txptysTDQUoEZudqpjqrPZcJf473Fav4YBzyZXP5IAhHQ33odgp44+vieB7h9Rcj8UGi3p2M25bTlj4egfAoqGaAL5QAufeZFdR198Kahaopso72frqVUa2DpKB8F6daaRD+7UFrxs/P2xzapVIoddn0J65YrZa8wEV5uusS/kf2fpDmynZr/6s2kZydGg/IjFjYoBK4drUzhxphHSOFi2dDAsVxd4B/QyZmJ2zPZHyUXo/kwsxTTGySOxOR7JhuLy5LsDC0Z9JdoFhQwEZzpf1qtvptbJ7tjA8hF6GVxI7ZYv46ybbQtDyHIFWqw1b8hYF9H0qvnvunSDgAMqe51Jtayig4dJgjtArJdldUHDb8YLWneszrnt8deoW6SB3VYZqkWoIEQUUdnLTCo2MW1+x3w28mPiJt7upwBANBcNWUbBP4MzpNxyd+sV9aikeFvWRhp2gPD05s0I6qD+ooEJzhfEkoJt9XpvU+gw007qBshgCN/tKtDMxVhx7e8L78b1WQGqhe0uR2eZbAEhX/EWhVXkciSX174OfGUm6Mt8vEeftY0BTPfnLgIXr0UjhwIKZF8OKPySw86ZeQI3AqoHkqCazXxVXhH0wK3vETV5BN0BIZF05muo65MoXDWTjKujajpgylhLAd1FUT3YlgAFVL5P0bn6NF5bstdbuRWtS+zv6k9nJeJW6rjUyS0E3UYmFSJdZ97JXjofhiH0EqB+CAjCEDb+NGKTBbCHkZhIqBWLDrV1UMoGua3dTDsN0e2smHP0jqDeSJpUdCfH4Qy2/Gldl9UMtk7ppYf7I32YfljBrH7kE0dqiPw6jLZA9MrD4sWo4WlemoQoGHwlvR8xysu/Ldqh8ukiYojNGF7GVHBEIg3wOW8iSH2KbTlWeTEj9NebCPCFcv4Ls/ELQTUVgFmIOTxezAfCvsB+O3Hf97Pq5E3q03g1H0QWnxX4KmTRraZ6IomiUWQhgwLNkSK9xahl7TcSo6IWsqlGEhomsawJixFADMNdO1cJMLiY35/XpOlv+fRoBTqPQjdbY68QkszmiU5VApOmvJ6Npxq6UVAOpNJn8S9Vc3D9KCWA3a3BuQuAHz0eYNiXdbOS+6w0jF8W5vL5ZD1IOqVYCqG803EuraottQOD9FtvfiYQ5L5cOvQIffdSpIJ3utIjnsWiKQ2VLlwycyQI4Dg8DKNkK6uMTErU1ZkfZ/bd3dAVMMzjuhojX8ohYjbr0A6WdjJPzmRkjlCwWD+JExx6ghD7NmNxgG5+4dTUDSdOGjntloxDnzYt+Z0qoVgyhm0pNZaY7GwfEJyieNhxU4jMjIsdf9L2nHM0ktPsdS+K5ERDNu5Oa9lM5SC6/kg6TJ07Md2p7badkx5cs1FfzzX7bRQhwlXKLv0l9BEslbq0kAltIeK2rhqMTUZda0gmw+0Ag5Vhoz7QNyAMLqSknZOF/oRkHUeyFzGph3yanUE539Q616vrPJmG1T8yuuMiUDKECIDzlsVeyW31d5yOCryC5sjygiwMFjKzIuadiPxs3F5LZb8yWKS/4Oe8tQda9KH9MU/quL+UAHa6A833aQ2Vcdk9RZfVUbJxRj9j88uR6q4XprMCDyR7iqV9jA42OHzyCPRjGdjS4PnOeYHt0jioNbOJ7HJFRlNUKFqz0+U/dEkesemtTC4coHN7J/1Oiu93IfjZj9Lgpg1QS1c6urCLP/n6/vXFxllhxDnoGK8GArnyQJGqIsOOB2XYvfbcS4dc8F1LUSRBGaoZhHQdhJCD2yMQe4nwrF2ChTqJZtlMBeJvZxfAiXn/f1YcjMte0IrNRuWBd3jQ6w5k3DF/o0LU3tgTclG0/94OmsW6Iq76+ttsiLmqp2ZDXrUyOh9wx99m3vePhF8WZoYzgl0PXQIvX8hMe0MyhIOknUuX2iSXsCa2vvHOlZgboC99VB2F5UUHhZVOKnuRwHj0/bLsKO0swY96pbKiO6LEpKsWom8/vaqfuvqUPjCNTEGi1UV1eGctHCBQ17bbULOpaLgZzSjVMune0Cpc+FqwZkcvcVOBNHv8yKFoUNSVsNDkBrZxEIC8YVP5mS15pcE7MLVRDVQCtdLYm57M3oO+cGItg2rafbRufFUkx8OQXareHmbNSRv/wxxF6C+Q8cGmfMKo28Y48jO2T43XPh73uxMHEK/B32OvFq1VIa2Z3vGf9dHnzW7qPkrsIqafrBsnXOpqgxd/iLiQKnV2j9vdfZ80IqjXDAItWqne6oE4uHgZB04xvb2YuiGWon/QYLQkLPU9B3ghr5Xc3byd3oITQ/M6ssHAfqxW+YWxxrSOTtcfB+d02MiMxKjoYRU3r1zgB8wgbCYXRhUGFYm2XFkDx7kBWp9qhEkqHSccrVKlwnFU0e+9C6oBSLG01lfkdv//6VfkdV4t8Re49H6ygUXDXnZG0yNGbiLMZ4/VpWsMb0kMbGBddANIeCkUImeL+LqAVAQRwUJm090XBXfBO+MSaq+Lmb/D1W/BQu27cLxxMLqQdbjECZ8c68qw07P4x5TSXxOVNXp6OANh7IeJbOY//NfxcAP8u3IYmbANddhlvpUfbOJE073UMHs3MwWSnGyPPGxNRJTem0hBgVF8oYwf8w0GgEmrHuOPWZkA6gHwDT3N43hm8QNDmMz3FIrvI1X5THYJ2Rq5ymaomBrYCLUKEOUtLkav0Wyy5D+sDrksii1cshBq18tzFUFIUZxX4wOGzrqBp96TrUg/xXXSFgXrApsquko9ygmyvPTq4SDgxFEp3ntPqKmtvv3bPZGEDMK9C+gXN02U9p4F2uTKrrGMZENvR4EkfF8jfvEuvCV7sWj14h4rCTZ5rcUevs2eR1BgDQ1i/Bm6jaMU36u6oDdS7enXdeP+bEqrgMxfhy35kCQdhiFuR4qtx/C4c+zu1Des9ALT2YVvonRl/f2g9kFutW5DGPuep82Tb+HmTv5usCxWrJg1UsfgnxPpxSeWWzOdsOAopFj1UAU+4KWHes9Iw/GzK7CY9ZQABdE19eHegB51cHT70OGVHfjmsRVTtTFyDC0rRINzQ172EMO8HcYd64CE0Uru0vb0CHHaNHMPfuCTB3VccUx3bLnTsTc29WL1W3YoFMwjbj4Tf5BA1uTf8je4zfgVJkx4NjSHWqDu4E/5JsjeEbeXc0HcrnPQEtVOP/n2cNmrwHGJwL7xOE22GmrduwWctJt5OEnjOcr3FvHFZwOGEK3GGKv4KT5F2GwZ4Sa7fa8k/iuxMjoRGIwPNq46QUfUMYfG3/z4Z3c+pk4nzRfDmwnrjMilyoZPpIwtaqhZe+zvnRN5gYAIAYnBfXghaoXetBzCuqOWcRchEtoA35y9KNQdey9MV9Qc79ei+689OK8faYTxPfUrLNV6+gaaAldJ+04YjYFhql5CdgSVHe/t/s7ngDUG7Zj/8c5oqWtUx2b3hvfKPbwuKW/TuSjRrfHM2DFjnFJeylpEtpBXI3dicnpQuflsmQMq6/5zKBlkNVxe57EiyPx8H+bsj3AyXP+Nesvu2oZXDzwA+Ih++r8VnxFvXFj9umqWPZ/AqX0vyBO7qG818j8eGbqBNuCbdwH4X7m3/cqHpMMyFttftEJNA6m1yZOzRZsrgaFkRrcE96o9TUEpyq/w+gf9VMNPl9XG7Fn2j7/x7STF5hF3tm5qXJjsW7XhxiLs89OUnG6RkYNwF9VN9+RTQoZkm4YwK2SCfiWpNcHwkESeKR7iJMV1dIhe+WcWSxRpV7h8ZxfK43+CHeL4OCPqXBQUWRhqqsKONdchmEa5aa4klQQLbB4vEE2hygaoD4sZiHV0lkBosoFCfKOUn272PdCvx58U+CZfSHowWjMlxB8puYoe36S8G70o9JHYeQqwOzJBfYzSflgfRqBHOIv+2yej9NmQRwuy3aqZGShogRQ6/7ZTY0+w7sQhUKvRiwsnH0T3qvsY1018sQeNnf5aGDRg7CyBQb1qc2MI4gG9WvySgfxYzL5ASPtL2tPG1VsRzR5KkCRS+tHH9Xg89SUOdQQsTHIUOIm/nJp4LYSbQURoUUp1FyU7dSb5f9GY/1s/ePfM17b0AHgP/lkEs9fEgurukiKwpglV/3e0S8CDVnbu90GJzS90qKTRSj0NRV1fNPiUV89sXAdWKGOJKyxBnTE56hVLOX/lIL8d4mi2qaW54gEqlp4jWf8ge25DdZMofo143SnOVJiYJhXybZ0YPk9k7DO/ikcLHRWvHo+KWduUDmZoH/362PCzMR7sUV5NUoyRxfRv/cyWTvuz3u6Ji7sdn4jUyNYieKe8R6TtjtJjVQQAhw/EzXAmMngzRUip4Zy3x1Jm6j2jY9H2nHLHMH/TAvT4j6tSMSQOnguukPfWCu5fsx0HVsG/q76ueMzcf7gzHxhFlfHfB/8yNYPhbvjsW8LrUh1scCq5Di1N6kQLQRz8cJyUh1t8E9VUTeK5xSIIDvGzdPaUItVs88jZniuIJn7ZMDeRWyOnIh6Ck67di4WKfWnHQfOOf+GAU3HfkRwOpy4C2gcwZGbcpot99cgt4Q9S9i7MuM+VGOXZul2DHGVc45d7Lf8F64KFjTMX151ZtrtBCnkL4vyDP5fETsbGTUMBbx+J0KR9FYDuyAxUvoTLytsGHEYV5pJovNMR1XvjK7/9ldZU/7FE8t2s7ZVQ54SBAoqLmZk81Ct54LTU/ZDsB3cDLmU+GDERIuBwqbPj+hAAqPaXQD8nvQYl/al7xXrfrZ05TQ6ImkvusKY8MN4l/XfXrsf+CSkJCayRzj0C4CE9DPPHUYu1akrG/nIELbGCb6p5WvKGCDV4PmTk+D44O+An/Qq/i+4t0qJURRQ+HWcvRCk4BDKTGow1PydGN7rj7zX8ZC+I1ICO/BICgDr4vg5mh5imEPrBIAICeEOFpZC8CJ8XteGtMKQs2g03dPfKxncaeg2eFJG/kT5TZsGhRzvTP+gNfcCPL5vmb3GKFl5Nf24uriMzDGiq1XjGHMSqnM/EDTnOXINczCIWz3YUKFdrj9L/KfavZ5A5/50Ao4pir35ytWZ3Y0BKUfemMV1ua3KeWPcCZUA968zBCpXUCya4zWEJrjalRoAPDNok4QINwfMh9Dq1vId0bJYV9u/IhO00sxgcHn6S+PPjeOS7yPNXMOb+7sul+m1Q0WVZwUYsnsdA9wXBrZPRZjphts1WSWeLckTbEw6JX1b1rPjhRmL5E9Mv/OHn0rmoXhFdE2cNlxMMJaTjmHXf9M0aRjhJlL6pMCFb/ddYXBNySMRIemT6Np1EgN/cKdCuGDuDAvdiwwoKbU3a8/zrkZzU33bIcbKEMd9lTyZK7eq7MVQPo99p8ZagT2z2sotnbSHGWpggcTrMdSoqY9xM3E2wkpFZJPccr3eSd31d4pbvGi7e3R808AXkGiLx8Cxd+KiHjMQVzkj6rs+BqQGqnowiDMNkbgeJ4brdnnFMNkLMebudHX+Yf/TO274+jiM14kwmODYx2ZQY/5DHkxa+GXWA8wOmMpuGl63W4VzJyq9Dd6JhwukEozvIB0TtbUcKGg4jeLY/maUOrsBxz3tWmowigE4Wb3r3y7LJCeUWQUK/e7bxf7jdfMA9Exy8FQhp8mknT5bZGZm+N4Ls6cwhkG6t0OWtlkq59E59WgJJFtrtPQmVTuQfLu4Q4IJe+Jud7pH6B68dJKL/yM+YjScIec/hBglv4rt7S7CQwm1BhDv6njUnrqhmpyZKrlJeoi/wYz/MNzjmhobirFD1h4i2brUltmA01Z4agml4lA8WyBsh2VBLftqF/W3URmWxV2rB5mT5pIaCkDDGkkxv90x5ojFgpaUbKmG4LfA9g2AX8M2Y10ae+0SFSjN7DEMTR/E4oljMMIkeOtRcmT+tro+0S+QTgSm42zoIWc96Sl3h03mNL+eOWU4MsO+AWJbJ3ZzMfJSTqJNw1sA92REh5+hWIqaDyOSdE/B67VJZwSLxhCnIhRNc+a8mrdchsW0j/xQnzcYKTnGJkdESUnWXxI8REAUUhlOt3BSW4jsndjJNRGzbBebE3r45NDIEpvrDs0QleU5urkSeYBvzDNKKJFGGI3M7T9RWpjZfuTONRnsVYt4HY4N36gTu5sJ8TO74OFvH+Y/2x65XJl41kUnvtcD9bigA9TDdBuW9BUy3DfUB9QoJgSZ8CMh1EErqCGCyvujrdmBEJw2NCnWG0yNRYrFZHLkxpU6m2MKY2eavXCHrd/fLAusauwcibL1LFnzzjQAptJcldxiKHrmPo0UYxCbudNRTzwe8RoWg/ADDq+a+wV4PwIkpuDCFeok2TByLC4AhX5bJl33K/ANg31byxaIIkNbmDL/kreNVf1STekRS2CdACe2CbcXXLWXqN/V7Nit1fG3GNg3866RNlkQEw0mVdiznXKllrekfRQpK2MGJVczRxHEI9GW8nZSWs+3FkK8S/YTsA+d3nyB3uCWxTJa36+g==">
            <a:extLst>
              <a:ext uri="{FF2B5EF4-FFF2-40B4-BE49-F238E27FC236}">
                <a16:creationId xmlns:a16="http://schemas.microsoft.com/office/drawing/2014/main" id="{0A3AAEF2-9F8D-0BFF-3089-9B5E286794C2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 bwMode="gray">
          <a:xfrm>
            <a:off x="6366272" y="2230325"/>
            <a:ext cx="5495527" cy="4217549"/>
          </a:xfrm>
          <a:prstGeom prst="rect">
            <a:avLst/>
          </a:prstGeom>
          <a:blipFill>
            <a:blip r:embed="rId14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52" name="btfpRunningAgenda1Level896425">
            <a:extLst>
              <a:ext uri="{FF2B5EF4-FFF2-40B4-BE49-F238E27FC236}">
                <a16:creationId xmlns:a16="http://schemas.microsoft.com/office/drawing/2014/main" id="{57661B82-4AAB-490F-1375-C03E8E0D28AD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0" y="944429"/>
            <a:ext cx="2508728" cy="257442"/>
            <a:chOff x="0" y="876300"/>
            <a:chExt cx="2508728" cy="257442"/>
          </a:xfrm>
        </p:grpSpPr>
        <p:sp>
          <p:nvSpPr>
            <p:cNvPr id="53" name="btfpRunningAgenda1LevelBarLeft896425">
              <a:extLst>
                <a:ext uri="{FF2B5EF4-FFF2-40B4-BE49-F238E27FC236}">
                  <a16:creationId xmlns:a16="http://schemas.microsoft.com/office/drawing/2014/main" id="{543F5A24-C29D-941E-6F06-7833A72C2727}"/>
                </a:ext>
              </a:extLst>
            </p:cNvPr>
            <p:cNvSpPr/>
            <p:nvPr/>
          </p:nvSpPr>
          <p:spPr bwMode="gray">
            <a:xfrm>
              <a:off x="0" y="876300"/>
              <a:ext cx="2508728" cy="257442"/>
            </a:xfrm>
            <a:custGeom>
              <a:avLst/>
              <a:gdLst>
                <a:gd name="connsiteX0" fmla="*/ 942786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42786 w 1816204"/>
                <a:gd name="connsiteY0" fmla="*/ 0 h 257442"/>
                <a:gd name="connsiteX1" fmla="*/ 888066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103086 w 1103086"/>
                <a:gd name="connsiteY0" fmla="*/ 0 h 257442"/>
                <a:gd name="connsiteX1" fmla="*/ 8880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103086 w 1103086"/>
                <a:gd name="connsiteY0" fmla="*/ 0 h 257442"/>
                <a:gd name="connsiteX1" fmla="*/ 1048364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103087 w 1103087"/>
                <a:gd name="connsiteY0" fmla="*/ 0 h 257442"/>
                <a:gd name="connsiteX1" fmla="*/ 1048365 w 1103087"/>
                <a:gd name="connsiteY1" fmla="*/ 257442 h 257442"/>
                <a:gd name="connsiteX2" fmla="*/ 0 w 1103087"/>
                <a:gd name="connsiteY2" fmla="*/ 257442 h 257442"/>
                <a:gd name="connsiteX3" fmla="*/ 1 w 1103087"/>
                <a:gd name="connsiteY3" fmla="*/ 0 h 257442"/>
                <a:gd name="connsiteX0" fmla="*/ 1103087 w 1103087"/>
                <a:gd name="connsiteY0" fmla="*/ 0 h 257442"/>
                <a:gd name="connsiteX1" fmla="*/ 1048365 w 1103087"/>
                <a:gd name="connsiteY1" fmla="*/ 257442 h 257442"/>
                <a:gd name="connsiteX2" fmla="*/ 0 w 1103087"/>
                <a:gd name="connsiteY2" fmla="*/ 257442 h 257442"/>
                <a:gd name="connsiteX3" fmla="*/ 1 w 1103087"/>
                <a:gd name="connsiteY3" fmla="*/ 0 h 257442"/>
                <a:gd name="connsiteX0" fmla="*/ 1271403 w 1271403"/>
                <a:gd name="connsiteY0" fmla="*/ 0 h 257442"/>
                <a:gd name="connsiteX1" fmla="*/ 1048365 w 1271403"/>
                <a:gd name="connsiteY1" fmla="*/ 257442 h 257442"/>
                <a:gd name="connsiteX2" fmla="*/ 0 w 1271403"/>
                <a:gd name="connsiteY2" fmla="*/ 257442 h 257442"/>
                <a:gd name="connsiteX3" fmla="*/ 1 w 1271403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0 w 1271403"/>
                <a:gd name="connsiteY2" fmla="*/ 257442 h 257442"/>
                <a:gd name="connsiteX3" fmla="*/ 1 w 1271403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1 w 1271403"/>
                <a:gd name="connsiteY2" fmla="*/ 257442 h 257442"/>
                <a:gd name="connsiteX3" fmla="*/ 0 w 1271403"/>
                <a:gd name="connsiteY3" fmla="*/ 0 h 257442"/>
                <a:gd name="connsiteX0" fmla="*/ 1439718 w 1439718"/>
                <a:gd name="connsiteY0" fmla="*/ 0 h 257442"/>
                <a:gd name="connsiteX1" fmla="*/ 1216682 w 1439718"/>
                <a:gd name="connsiteY1" fmla="*/ 257442 h 257442"/>
                <a:gd name="connsiteX2" fmla="*/ 1 w 1439718"/>
                <a:gd name="connsiteY2" fmla="*/ 257442 h 257442"/>
                <a:gd name="connsiteX3" fmla="*/ 0 w 1439718"/>
                <a:gd name="connsiteY3" fmla="*/ 0 h 257442"/>
                <a:gd name="connsiteX0" fmla="*/ 1439718 w 1439718"/>
                <a:gd name="connsiteY0" fmla="*/ 0 h 257442"/>
                <a:gd name="connsiteX1" fmla="*/ 1384996 w 1439718"/>
                <a:gd name="connsiteY1" fmla="*/ 257442 h 257442"/>
                <a:gd name="connsiteX2" fmla="*/ 1 w 1439718"/>
                <a:gd name="connsiteY2" fmla="*/ 257442 h 257442"/>
                <a:gd name="connsiteX3" fmla="*/ 0 w 1439718"/>
                <a:gd name="connsiteY3" fmla="*/ 0 h 257442"/>
                <a:gd name="connsiteX0" fmla="*/ 1439718 w 1439718"/>
                <a:gd name="connsiteY0" fmla="*/ 0 h 257442"/>
                <a:gd name="connsiteX1" fmla="*/ 1384996 w 1439718"/>
                <a:gd name="connsiteY1" fmla="*/ 257442 h 257442"/>
                <a:gd name="connsiteX2" fmla="*/ 0 w 1439718"/>
                <a:gd name="connsiteY2" fmla="*/ 257442 h 257442"/>
                <a:gd name="connsiteX3" fmla="*/ 0 w 1439718"/>
                <a:gd name="connsiteY3" fmla="*/ 0 h 257442"/>
                <a:gd name="connsiteX0" fmla="*/ 1439718 w 1439718"/>
                <a:gd name="connsiteY0" fmla="*/ 0 h 257442"/>
                <a:gd name="connsiteX1" fmla="*/ 1384996 w 1439718"/>
                <a:gd name="connsiteY1" fmla="*/ 257442 h 257442"/>
                <a:gd name="connsiteX2" fmla="*/ 0 w 1439718"/>
                <a:gd name="connsiteY2" fmla="*/ 257442 h 257442"/>
                <a:gd name="connsiteX3" fmla="*/ 0 w 1439718"/>
                <a:gd name="connsiteY3" fmla="*/ 0 h 257442"/>
                <a:gd name="connsiteX0" fmla="*/ 1617650 w 1617650"/>
                <a:gd name="connsiteY0" fmla="*/ 0 h 257442"/>
                <a:gd name="connsiteX1" fmla="*/ 1384996 w 1617650"/>
                <a:gd name="connsiteY1" fmla="*/ 257442 h 257442"/>
                <a:gd name="connsiteX2" fmla="*/ 0 w 1617650"/>
                <a:gd name="connsiteY2" fmla="*/ 257442 h 257442"/>
                <a:gd name="connsiteX3" fmla="*/ 0 w 1617650"/>
                <a:gd name="connsiteY3" fmla="*/ 0 h 257442"/>
                <a:gd name="connsiteX0" fmla="*/ 1617650 w 1617650"/>
                <a:gd name="connsiteY0" fmla="*/ 0 h 257442"/>
                <a:gd name="connsiteX1" fmla="*/ 1562929 w 1617650"/>
                <a:gd name="connsiteY1" fmla="*/ 257442 h 257442"/>
                <a:gd name="connsiteX2" fmla="*/ 0 w 1617650"/>
                <a:gd name="connsiteY2" fmla="*/ 257442 h 257442"/>
                <a:gd name="connsiteX3" fmla="*/ 0 w 1617650"/>
                <a:gd name="connsiteY3" fmla="*/ 0 h 257442"/>
                <a:gd name="connsiteX0" fmla="*/ 1617650 w 1617650"/>
                <a:gd name="connsiteY0" fmla="*/ 0 h 257442"/>
                <a:gd name="connsiteX1" fmla="*/ 1562929 w 1617650"/>
                <a:gd name="connsiteY1" fmla="*/ 257442 h 257442"/>
                <a:gd name="connsiteX2" fmla="*/ 0 w 1617650"/>
                <a:gd name="connsiteY2" fmla="*/ 257442 h 257442"/>
                <a:gd name="connsiteX3" fmla="*/ 0 w 1617650"/>
                <a:gd name="connsiteY3" fmla="*/ 0 h 257442"/>
                <a:gd name="connsiteX0" fmla="*/ 1617650 w 1617650"/>
                <a:gd name="connsiteY0" fmla="*/ 0 h 257442"/>
                <a:gd name="connsiteX1" fmla="*/ 1562929 w 1617650"/>
                <a:gd name="connsiteY1" fmla="*/ 257442 h 257442"/>
                <a:gd name="connsiteX2" fmla="*/ 0 w 1617650"/>
                <a:gd name="connsiteY2" fmla="*/ 257442 h 257442"/>
                <a:gd name="connsiteX3" fmla="*/ 0 w 1617650"/>
                <a:gd name="connsiteY3" fmla="*/ 0 h 257442"/>
                <a:gd name="connsiteX0" fmla="*/ 1785965 w 1785965"/>
                <a:gd name="connsiteY0" fmla="*/ 0 h 257442"/>
                <a:gd name="connsiteX1" fmla="*/ 1562929 w 1785965"/>
                <a:gd name="connsiteY1" fmla="*/ 257442 h 257442"/>
                <a:gd name="connsiteX2" fmla="*/ 0 w 1785965"/>
                <a:gd name="connsiteY2" fmla="*/ 257442 h 257442"/>
                <a:gd name="connsiteX3" fmla="*/ 0 w 1785965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0 w 1785965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0 w 1785965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0 w 1785965"/>
                <a:gd name="connsiteY3" fmla="*/ 0 h 257442"/>
                <a:gd name="connsiteX0" fmla="*/ 2049563 w 2049563"/>
                <a:gd name="connsiteY0" fmla="*/ 0 h 257442"/>
                <a:gd name="connsiteX1" fmla="*/ 1731244 w 2049563"/>
                <a:gd name="connsiteY1" fmla="*/ 257442 h 257442"/>
                <a:gd name="connsiteX2" fmla="*/ 0 w 2049563"/>
                <a:gd name="connsiteY2" fmla="*/ 257442 h 257442"/>
                <a:gd name="connsiteX3" fmla="*/ 0 w 2049563"/>
                <a:gd name="connsiteY3" fmla="*/ 0 h 257442"/>
                <a:gd name="connsiteX0" fmla="*/ 2049563 w 2049563"/>
                <a:gd name="connsiteY0" fmla="*/ 0 h 257442"/>
                <a:gd name="connsiteX1" fmla="*/ 1994842 w 2049563"/>
                <a:gd name="connsiteY1" fmla="*/ 257442 h 257442"/>
                <a:gd name="connsiteX2" fmla="*/ 0 w 2049563"/>
                <a:gd name="connsiteY2" fmla="*/ 257442 h 257442"/>
                <a:gd name="connsiteX3" fmla="*/ 0 w 2049563"/>
                <a:gd name="connsiteY3" fmla="*/ 0 h 257442"/>
                <a:gd name="connsiteX0" fmla="*/ 2049563 w 2049563"/>
                <a:gd name="connsiteY0" fmla="*/ 0 h 257442"/>
                <a:gd name="connsiteX1" fmla="*/ 1994842 w 2049563"/>
                <a:gd name="connsiteY1" fmla="*/ 257442 h 257442"/>
                <a:gd name="connsiteX2" fmla="*/ 0 w 2049563"/>
                <a:gd name="connsiteY2" fmla="*/ 257442 h 257442"/>
                <a:gd name="connsiteX3" fmla="*/ 0 w 2049563"/>
                <a:gd name="connsiteY3" fmla="*/ 0 h 257442"/>
                <a:gd name="connsiteX0" fmla="*/ 2049563 w 2049563"/>
                <a:gd name="connsiteY0" fmla="*/ 0 h 257442"/>
                <a:gd name="connsiteX1" fmla="*/ 1994842 w 2049563"/>
                <a:gd name="connsiteY1" fmla="*/ 257442 h 257442"/>
                <a:gd name="connsiteX2" fmla="*/ 0 w 2049563"/>
                <a:gd name="connsiteY2" fmla="*/ 257442 h 257442"/>
                <a:gd name="connsiteX3" fmla="*/ 0 w 2049563"/>
                <a:gd name="connsiteY3" fmla="*/ 0 h 257442"/>
                <a:gd name="connsiteX0" fmla="*/ 2244680 w 2244680"/>
                <a:gd name="connsiteY0" fmla="*/ 0 h 257442"/>
                <a:gd name="connsiteX1" fmla="*/ 1994842 w 2244680"/>
                <a:gd name="connsiteY1" fmla="*/ 257442 h 257442"/>
                <a:gd name="connsiteX2" fmla="*/ 0 w 2244680"/>
                <a:gd name="connsiteY2" fmla="*/ 257442 h 257442"/>
                <a:gd name="connsiteX3" fmla="*/ 0 w 2244680"/>
                <a:gd name="connsiteY3" fmla="*/ 0 h 257442"/>
                <a:gd name="connsiteX0" fmla="*/ 2244680 w 2244680"/>
                <a:gd name="connsiteY0" fmla="*/ 0 h 257442"/>
                <a:gd name="connsiteX1" fmla="*/ 2189958 w 2244680"/>
                <a:gd name="connsiteY1" fmla="*/ 257442 h 257442"/>
                <a:gd name="connsiteX2" fmla="*/ 0 w 2244680"/>
                <a:gd name="connsiteY2" fmla="*/ 257442 h 257442"/>
                <a:gd name="connsiteX3" fmla="*/ 0 w 2244680"/>
                <a:gd name="connsiteY3" fmla="*/ 0 h 257442"/>
                <a:gd name="connsiteX0" fmla="*/ 2244681 w 2244681"/>
                <a:gd name="connsiteY0" fmla="*/ 0 h 257442"/>
                <a:gd name="connsiteX1" fmla="*/ 2189959 w 2244681"/>
                <a:gd name="connsiteY1" fmla="*/ 257442 h 257442"/>
                <a:gd name="connsiteX2" fmla="*/ 0 w 2244681"/>
                <a:gd name="connsiteY2" fmla="*/ 257442 h 257442"/>
                <a:gd name="connsiteX3" fmla="*/ 1 w 2244681"/>
                <a:gd name="connsiteY3" fmla="*/ 0 h 257442"/>
                <a:gd name="connsiteX0" fmla="*/ 2244681 w 2244681"/>
                <a:gd name="connsiteY0" fmla="*/ 0 h 257442"/>
                <a:gd name="connsiteX1" fmla="*/ 2189959 w 2244681"/>
                <a:gd name="connsiteY1" fmla="*/ 257442 h 257442"/>
                <a:gd name="connsiteX2" fmla="*/ 0 w 2244681"/>
                <a:gd name="connsiteY2" fmla="*/ 257442 h 257442"/>
                <a:gd name="connsiteX3" fmla="*/ 1 w 2244681"/>
                <a:gd name="connsiteY3" fmla="*/ 0 h 257442"/>
                <a:gd name="connsiteX0" fmla="*/ 2572848 w 2572848"/>
                <a:gd name="connsiteY0" fmla="*/ 0 h 257442"/>
                <a:gd name="connsiteX1" fmla="*/ 2189959 w 2572848"/>
                <a:gd name="connsiteY1" fmla="*/ 257442 h 257442"/>
                <a:gd name="connsiteX2" fmla="*/ 0 w 2572848"/>
                <a:gd name="connsiteY2" fmla="*/ 257442 h 257442"/>
                <a:gd name="connsiteX3" fmla="*/ 1 w 2572848"/>
                <a:gd name="connsiteY3" fmla="*/ 0 h 257442"/>
                <a:gd name="connsiteX0" fmla="*/ 2572848 w 2572848"/>
                <a:gd name="connsiteY0" fmla="*/ 0 h 257442"/>
                <a:gd name="connsiteX1" fmla="*/ 2518126 w 2572848"/>
                <a:gd name="connsiteY1" fmla="*/ 257442 h 257442"/>
                <a:gd name="connsiteX2" fmla="*/ 0 w 2572848"/>
                <a:gd name="connsiteY2" fmla="*/ 257442 h 257442"/>
                <a:gd name="connsiteX3" fmla="*/ 1 w 2572848"/>
                <a:gd name="connsiteY3" fmla="*/ 0 h 257442"/>
                <a:gd name="connsiteX0" fmla="*/ 2572848 w 2572848"/>
                <a:gd name="connsiteY0" fmla="*/ 0 h 257442"/>
                <a:gd name="connsiteX1" fmla="*/ 2518126 w 2572848"/>
                <a:gd name="connsiteY1" fmla="*/ 257442 h 257442"/>
                <a:gd name="connsiteX2" fmla="*/ 0 w 2572848"/>
                <a:gd name="connsiteY2" fmla="*/ 257442 h 257442"/>
                <a:gd name="connsiteX3" fmla="*/ 1 w 2572848"/>
                <a:gd name="connsiteY3" fmla="*/ 0 h 257442"/>
                <a:gd name="connsiteX0" fmla="*/ 2572848 w 2572848"/>
                <a:gd name="connsiteY0" fmla="*/ 0 h 257442"/>
                <a:gd name="connsiteX1" fmla="*/ 2518126 w 2572848"/>
                <a:gd name="connsiteY1" fmla="*/ 257442 h 257442"/>
                <a:gd name="connsiteX2" fmla="*/ 0 w 2572848"/>
                <a:gd name="connsiteY2" fmla="*/ 257442 h 257442"/>
                <a:gd name="connsiteX3" fmla="*/ 0 w 2572848"/>
                <a:gd name="connsiteY3" fmla="*/ 0 h 257442"/>
                <a:gd name="connsiteX0" fmla="*/ 2733148 w 2733148"/>
                <a:gd name="connsiteY0" fmla="*/ 0 h 257442"/>
                <a:gd name="connsiteX1" fmla="*/ 2518126 w 2733148"/>
                <a:gd name="connsiteY1" fmla="*/ 257442 h 257442"/>
                <a:gd name="connsiteX2" fmla="*/ 0 w 2733148"/>
                <a:gd name="connsiteY2" fmla="*/ 257442 h 257442"/>
                <a:gd name="connsiteX3" fmla="*/ 0 w 2733148"/>
                <a:gd name="connsiteY3" fmla="*/ 0 h 257442"/>
                <a:gd name="connsiteX0" fmla="*/ 2733148 w 2733148"/>
                <a:gd name="connsiteY0" fmla="*/ 0 h 257442"/>
                <a:gd name="connsiteX1" fmla="*/ 2678427 w 2733148"/>
                <a:gd name="connsiteY1" fmla="*/ 257442 h 257442"/>
                <a:gd name="connsiteX2" fmla="*/ 0 w 2733148"/>
                <a:gd name="connsiteY2" fmla="*/ 257442 h 257442"/>
                <a:gd name="connsiteX3" fmla="*/ 0 w 2733148"/>
                <a:gd name="connsiteY3" fmla="*/ 0 h 257442"/>
                <a:gd name="connsiteX0" fmla="*/ 2733148 w 2733148"/>
                <a:gd name="connsiteY0" fmla="*/ 0 h 257442"/>
                <a:gd name="connsiteX1" fmla="*/ 2678427 w 2733148"/>
                <a:gd name="connsiteY1" fmla="*/ 257442 h 257442"/>
                <a:gd name="connsiteX2" fmla="*/ 0 w 2733148"/>
                <a:gd name="connsiteY2" fmla="*/ 257442 h 257442"/>
                <a:gd name="connsiteX3" fmla="*/ 0 w 2733148"/>
                <a:gd name="connsiteY3" fmla="*/ 0 h 257442"/>
                <a:gd name="connsiteX0" fmla="*/ 2733148 w 2733148"/>
                <a:gd name="connsiteY0" fmla="*/ 0 h 257442"/>
                <a:gd name="connsiteX1" fmla="*/ 2678427 w 2733148"/>
                <a:gd name="connsiteY1" fmla="*/ 257442 h 257442"/>
                <a:gd name="connsiteX2" fmla="*/ 0 w 2733148"/>
                <a:gd name="connsiteY2" fmla="*/ 257442 h 257442"/>
                <a:gd name="connsiteX3" fmla="*/ 0 w 2733148"/>
                <a:gd name="connsiteY3" fmla="*/ 0 h 257442"/>
                <a:gd name="connsiteX0" fmla="*/ 2901463 w 2901463"/>
                <a:gd name="connsiteY0" fmla="*/ 0 h 257442"/>
                <a:gd name="connsiteX1" fmla="*/ 2678427 w 2901463"/>
                <a:gd name="connsiteY1" fmla="*/ 257442 h 257442"/>
                <a:gd name="connsiteX2" fmla="*/ 0 w 2901463"/>
                <a:gd name="connsiteY2" fmla="*/ 257442 h 257442"/>
                <a:gd name="connsiteX3" fmla="*/ 0 w 2901463"/>
                <a:gd name="connsiteY3" fmla="*/ 0 h 257442"/>
                <a:gd name="connsiteX0" fmla="*/ 2901463 w 2901463"/>
                <a:gd name="connsiteY0" fmla="*/ 0 h 257442"/>
                <a:gd name="connsiteX1" fmla="*/ 2846742 w 2901463"/>
                <a:gd name="connsiteY1" fmla="*/ 257442 h 257442"/>
                <a:gd name="connsiteX2" fmla="*/ 0 w 2901463"/>
                <a:gd name="connsiteY2" fmla="*/ 257442 h 257442"/>
                <a:gd name="connsiteX3" fmla="*/ 0 w 2901463"/>
                <a:gd name="connsiteY3" fmla="*/ 0 h 257442"/>
                <a:gd name="connsiteX0" fmla="*/ 2901463 w 2901463"/>
                <a:gd name="connsiteY0" fmla="*/ 0 h 257442"/>
                <a:gd name="connsiteX1" fmla="*/ 2846742 w 2901463"/>
                <a:gd name="connsiteY1" fmla="*/ 257442 h 257442"/>
                <a:gd name="connsiteX2" fmla="*/ 0 w 2901463"/>
                <a:gd name="connsiteY2" fmla="*/ 257442 h 257442"/>
                <a:gd name="connsiteX3" fmla="*/ 0 w 2901463"/>
                <a:gd name="connsiteY3" fmla="*/ 0 h 257442"/>
                <a:gd name="connsiteX0" fmla="*/ 2901463 w 2901463"/>
                <a:gd name="connsiteY0" fmla="*/ 0 h 257442"/>
                <a:gd name="connsiteX1" fmla="*/ 2846742 w 2901463"/>
                <a:gd name="connsiteY1" fmla="*/ 257442 h 257442"/>
                <a:gd name="connsiteX2" fmla="*/ 0 w 2901463"/>
                <a:gd name="connsiteY2" fmla="*/ 257442 h 257442"/>
                <a:gd name="connsiteX3" fmla="*/ 0 w 2901463"/>
                <a:gd name="connsiteY3" fmla="*/ 0 h 257442"/>
                <a:gd name="connsiteX0" fmla="*/ 3061764 w 3061764"/>
                <a:gd name="connsiteY0" fmla="*/ 0 h 257442"/>
                <a:gd name="connsiteX1" fmla="*/ 2846742 w 3061764"/>
                <a:gd name="connsiteY1" fmla="*/ 257442 h 257442"/>
                <a:gd name="connsiteX2" fmla="*/ 0 w 3061764"/>
                <a:gd name="connsiteY2" fmla="*/ 257442 h 257442"/>
                <a:gd name="connsiteX3" fmla="*/ 0 w 3061764"/>
                <a:gd name="connsiteY3" fmla="*/ 0 h 257442"/>
                <a:gd name="connsiteX0" fmla="*/ 3061764 w 3061764"/>
                <a:gd name="connsiteY0" fmla="*/ 0 h 257442"/>
                <a:gd name="connsiteX1" fmla="*/ 3007042 w 3061764"/>
                <a:gd name="connsiteY1" fmla="*/ 257442 h 257442"/>
                <a:gd name="connsiteX2" fmla="*/ 0 w 3061764"/>
                <a:gd name="connsiteY2" fmla="*/ 257442 h 257442"/>
                <a:gd name="connsiteX3" fmla="*/ 0 w 3061764"/>
                <a:gd name="connsiteY3" fmla="*/ 0 h 257442"/>
                <a:gd name="connsiteX0" fmla="*/ 3061765 w 3061765"/>
                <a:gd name="connsiteY0" fmla="*/ 0 h 257442"/>
                <a:gd name="connsiteX1" fmla="*/ 3007043 w 3061765"/>
                <a:gd name="connsiteY1" fmla="*/ 257442 h 257442"/>
                <a:gd name="connsiteX2" fmla="*/ 0 w 3061765"/>
                <a:gd name="connsiteY2" fmla="*/ 257442 h 257442"/>
                <a:gd name="connsiteX3" fmla="*/ 1 w 3061765"/>
                <a:gd name="connsiteY3" fmla="*/ 0 h 257442"/>
                <a:gd name="connsiteX0" fmla="*/ 3061765 w 3061765"/>
                <a:gd name="connsiteY0" fmla="*/ 0 h 257442"/>
                <a:gd name="connsiteX1" fmla="*/ 3007043 w 3061765"/>
                <a:gd name="connsiteY1" fmla="*/ 257442 h 257442"/>
                <a:gd name="connsiteX2" fmla="*/ 0 w 3061765"/>
                <a:gd name="connsiteY2" fmla="*/ 257442 h 257442"/>
                <a:gd name="connsiteX3" fmla="*/ 1 w 3061765"/>
                <a:gd name="connsiteY3" fmla="*/ 0 h 257442"/>
                <a:gd name="connsiteX0" fmla="*/ 3222065 w 3222065"/>
                <a:gd name="connsiteY0" fmla="*/ 0 h 257442"/>
                <a:gd name="connsiteX1" fmla="*/ 3007043 w 3222065"/>
                <a:gd name="connsiteY1" fmla="*/ 257442 h 257442"/>
                <a:gd name="connsiteX2" fmla="*/ 0 w 3222065"/>
                <a:gd name="connsiteY2" fmla="*/ 257442 h 257442"/>
                <a:gd name="connsiteX3" fmla="*/ 1 w 3222065"/>
                <a:gd name="connsiteY3" fmla="*/ 0 h 257442"/>
                <a:gd name="connsiteX0" fmla="*/ 3222065 w 3222065"/>
                <a:gd name="connsiteY0" fmla="*/ 0 h 257442"/>
                <a:gd name="connsiteX1" fmla="*/ 3167344 w 3222065"/>
                <a:gd name="connsiteY1" fmla="*/ 257442 h 257442"/>
                <a:gd name="connsiteX2" fmla="*/ 0 w 3222065"/>
                <a:gd name="connsiteY2" fmla="*/ 257442 h 257442"/>
                <a:gd name="connsiteX3" fmla="*/ 1 w 3222065"/>
                <a:gd name="connsiteY3" fmla="*/ 0 h 257442"/>
                <a:gd name="connsiteX0" fmla="*/ 3222064 w 3222064"/>
                <a:gd name="connsiteY0" fmla="*/ 0 h 257442"/>
                <a:gd name="connsiteX1" fmla="*/ 3167343 w 3222064"/>
                <a:gd name="connsiteY1" fmla="*/ 257442 h 257442"/>
                <a:gd name="connsiteX2" fmla="*/ 0 w 3222064"/>
                <a:gd name="connsiteY2" fmla="*/ 257442 h 257442"/>
                <a:gd name="connsiteX3" fmla="*/ 0 w 3222064"/>
                <a:gd name="connsiteY3" fmla="*/ 0 h 257442"/>
                <a:gd name="connsiteX0" fmla="*/ 3222065 w 3222065"/>
                <a:gd name="connsiteY0" fmla="*/ 0 h 257442"/>
                <a:gd name="connsiteX1" fmla="*/ 3167344 w 3222065"/>
                <a:gd name="connsiteY1" fmla="*/ 257442 h 257442"/>
                <a:gd name="connsiteX2" fmla="*/ 1 w 3222065"/>
                <a:gd name="connsiteY2" fmla="*/ 257442 h 257442"/>
                <a:gd name="connsiteX3" fmla="*/ 0 w 3222065"/>
                <a:gd name="connsiteY3" fmla="*/ 0 h 257442"/>
                <a:gd name="connsiteX0" fmla="*/ 3382365 w 3382365"/>
                <a:gd name="connsiteY0" fmla="*/ 0 h 257442"/>
                <a:gd name="connsiteX1" fmla="*/ 3167344 w 3382365"/>
                <a:gd name="connsiteY1" fmla="*/ 257442 h 257442"/>
                <a:gd name="connsiteX2" fmla="*/ 1 w 3382365"/>
                <a:gd name="connsiteY2" fmla="*/ 257442 h 257442"/>
                <a:gd name="connsiteX3" fmla="*/ 0 w 3382365"/>
                <a:gd name="connsiteY3" fmla="*/ 0 h 257442"/>
                <a:gd name="connsiteX0" fmla="*/ 3382365 w 3382365"/>
                <a:gd name="connsiteY0" fmla="*/ 0 h 257442"/>
                <a:gd name="connsiteX1" fmla="*/ 3327644 w 3382365"/>
                <a:gd name="connsiteY1" fmla="*/ 257442 h 257442"/>
                <a:gd name="connsiteX2" fmla="*/ 1 w 3382365"/>
                <a:gd name="connsiteY2" fmla="*/ 257442 h 257442"/>
                <a:gd name="connsiteX3" fmla="*/ 0 w 3382365"/>
                <a:gd name="connsiteY3" fmla="*/ 0 h 257442"/>
                <a:gd name="connsiteX0" fmla="*/ 3382365 w 3382365"/>
                <a:gd name="connsiteY0" fmla="*/ 0 h 257442"/>
                <a:gd name="connsiteX1" fmla="*/ 3327644 w 3382365"/>
                <a:gd name="connsiteY1" fmla="*/ 257442 h 257442"/>
                <a:gd name="connsiteX2" fmla="*/ 1 w 3382365"/>
                <a:gd name="connsiteY2" fmla="*/ 257442 h 257442"/>
                <a:gd name="connsiteX3" fmla="*/ 0 w 3382365"/>
                <a:gd name="connsiteY3" fmla="*/ 0 h 257442"/>
                <a:gd name="connsiteX0" fmla="*/ 3382364 w 3382364"/>
                <a:gd name="connsiteY0" fmla="*/ 0 h 257442"/>
                <a:gd name="connsiteX1" fmla="*/ 3327643 w 3382364"/>
                <a:gd name="connsiteY1" fmla="*/ 257442 h 257442"/>
                <a:gd name="connsiteX2" fmla="*/ 0 w 3382364"/>
                <a:gd name="connsiteY2" fmla="*/ 257442 h 257442"/>
                <a:gd name="connsiteX3" fmla="*/ 0 w 3382364"/>
                <a:gd name="connsiteY3" fmla="*/ 0 h 257442"/>
                <a:gd name="connsiteX0" fmla="*/ 950800 w 3327643"/>
                <a:gd name="connsiteY0" fmla="*/ 0 h 257442"/>
                <a:gd name="connsiteX1" fmla="*/ 3327643 w 3327643"/>
                <a:gd name="connsiteY1" fmla="*/ 257442 h 257442"/>
                <a:gd name="connsiteX2" fmla="*/ 0 w 3327643"/>
                <a:gd name="connsiteY2" fmla="*/ 257442 h 257442"/>
                <a:gd name="connsiteX3" fmla="*/ 0 w 3327643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71402 w 1271402"/>
                <a:gd name="connsiteY0" fmla="*/ 0 h 257442"/>
                <a:gd name="connsiteX1" fmla="*/ 1056380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2 w 1271402"/>
                <a:gd name="connsiteY0" fmla="*/ 0 h 257442"/>
                <a:gd name="connsiteX1" fmla="*/ 1216680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3 w 1271403"/>
                <a:gd name="connsiteY0" fmla="*/ 0 h 257442"/>
                <a:gd name="connsiteX1" fmla="*/ 1216681 w 1271403"/>
                <a:gd name="connsiteY1" fmla="*/ 257442 h 257442"/>
                <a:gd name="connsiteX2" fmla="*/ 0 w 1271403"/>
                <a:gd name="connsiteY2" fmla="*/ 257442 h 257442"/>
                <a:gd name="connsiteX3" fmla="*/ 1 w 1271403"/>
                <a:gd name="connsiteY3" fmla="*/ 0 h 257442"/>
                <a:gd name="connsiteX0" fmla="*/ 1271403 w 1271403"/>
                <a:gd name="connsiteY0" fmla="*/ 0 h 257442"/>
                <a:gd name="connsiteX1" fmla="*/ 1216681 w 1271403"/>
                <a:gd name="connsiteY1" fmla="*/ 257442 h 257442"/>
                <a:gd name="connsiteX2" fmla="*/ 0 w 1271403"/>
                <a:gd name="connsiteY2" fmla="*/ 257442 h 257442"/>
                <a:gd name="connsiteX3" fmla="*/ 1 w 1271403"/>
                <a:gd name="connsiteY3" fmla="*/ 0 h 257442"/>
                <a:gd name="connsiteX0" fmla="*/ 1439718 w 1439718"/>
                <a:gd name="connsiteY0" fmla="*/ 0 h 257442"/>
                <a:gd name="connsiteX1" fmla="*/ 1216681 w 1439718"/>
                <a:gd name="connsiteY1" fmla="*/ 257442 h 257442"/>
                <a:gd name="connsiteX2" fmla="*/ 0 w 1439718"/>
                <a:gd name="connsiteY2" fmla="*/ 257442 h 257442"/>
                <a:gd name="connsiteX3" fmla="*/ 1 w 1439718"/>
                <a:gd name="connsiteY3" fmla="*/ 0 h 257442"/>
                <a:gd name="connsiteX0" fmla="*/ 1439718 w 1439718"/>
                <a:gd name="connsiteY0" fmla="*/ 0 h 257442"/>
                <a:gd name="connsiteX1" fmla="*/ 1384996 w 1439718"/>
                <a:gd name="connsiteY1" fmla="*/ 257442 h 257442"/>
                <a:gd name="connsiteX2" fmla="*/ 0 w 1439718"/>
                <a:gd name="connsiteY2" fmla="*/ 257442 h 257442"/>
                <a:gd name="connsiteX3" fmla="*/ 1 w 1439718"/>
                <a:gd name="connsiteY3" fmla="*/ 0 h 257442"/>
                <a:gd name="connsiteX0" fmla="*/ 1439718 w 1439718"/>
                <a:gd name="connsiteY0" fmla="*/ 0 h 257442"/>
                <a:gd name="connsiteX1" fmla="*/ 1384996 w 1439718"/>
                <a:gd name="connsiteY1" fmla="*/ 257442 h 257442"/>
                <a:gd name="connsiteX2" fmla="*/ 0 w 1439718"/>
                <a:gd name="connsiteY2" fmla="*/ 257442 h 257442"/>
                <a:gd name="connsiteX3" fmla="*/ 1 w 1439718"/>
                <a:gd name="connsiteY3" fmla="*/ 0 h 257442"/>
                <a:gd name="connsiteX0" fmla="*/ 1439718 w 1439718"/>
                <a:gd name="connsiteY0" fmla="*/ 0 h 257442"/>
                <a:gd name="connsiteX1" fmla="*/ 1384996 w 1439718"/>
                <a:gd name="connsiteY1" fmla="*/ 257442 h 257442"/>
                <a:gd name="connsiteX2" fmla="*/ 0 w 1439718"/>
                <a:gd name="connsiteY2" fmla="*/ 257442 h 257442"/>
                <a:gd name="connsiteX3" fmla="*/ 0 w 1439718"/>
                <a:gd name="connsiteY3" fmla="*/ 0 h 257442"/>
                <a:gd name="connsiteX0" fmla="*/ 950801 w 1384996"/>
                <a:gd name="connsiteY0" fmla="*/ 0 h 257442"/>
                <a:gd name="connsiteX1" fmla="*/ 1384996 w 1384996"/>
                <a:gd name="connsiteY1" fmla="*/ 257442 h 257442"/>
                <a:gd name="connsiteX2" fmla="*/ 0 w 1384996"/>
                <a:gd name="connsiteY2" fmla="*/ 257442 h 257442"/>
                <a:gd name="connsiteX3" fmla="*/ 0 w 1384996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11100 w 1111100"/>
                <a:gd name="connsiteY0" fmla="*/ 0 h 257442"/>
                <a:gd name="connsiteX1" fmla="*/ 896079 w 1111100"/>
                <a:gd name="connsiteY1" fmla="*/ 257442 h 257442"/>
                <a:gd name="connsiteX2" fmla="*/ 0 w 1111100"/>
                <a:gd name="connsiteY2" fmla="*/ 257442 h 257442"/>
                <a:gd name="connsiteX3" fmla="*/ 0 w 1111100"/>
                <a:gd name="connsiteY3" fmla="*/ 0 h 257442"/>
                <a:gd name="connsiteX0" fmla="*/ 1111100 w 1111100"/>
                <a:gd name="connsiteY0" fmla="*/ 0 h 257442"/>
                <a:gd name="connsiteX1" fmla="*/ 1056379 w 1111100"/>
                <a:gd name="connsiteY1" fmla="*/ 257442 h 257442"/>
                <a:gd name="connsiteX2" fmla="*/ 0 w 1111100"/>
                <a:gd name="connsiteY2" fmla="*/ 257442 h 257442"/>
                <a:gd name="connsiteX3" fmla="*/ 0 w 1111100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271403 w 1271403"/>
                <a:gd name="connsiteY0" fmla="*/ 0 h 257442"/>
                <a:gd name="connsiteX1" fmla="*/ 1056380 w 1271403"/>
                <a:gd name="connsiteY1" fmla="*/ 257442 h 257442"/>
                <a:gd name="connsiteX2" fmla="*/ 0 w 1271403"/>
                <a:gd name="connsiteY2" fmla="*/ 257442 h 257442"/>
                <a:gd name="connsiteX3" fmla="*/ 1 w 1271403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0 w 1271403"/>
                <a:gd name="connsiteY2" fmla="*/ 257442 h 257442"/>
                <a:gd name="connsiteX3" fmla="*/ 1 w 1271403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1 w 1271403"/>
                <a:gd name="connsiteY2" fmla="*/ 257442 h 257442"/>
                <a:gd name="connsiteX3" fmla="*/ 0 w 1271403"/>
                <a:gd name="connsiteY3" fmla="*/ 0 h 257442"/>
                <a:gd name="connsiteX0" fmla="*/ 1439718 w 1439718"/>
                <a:gd name="connsiteY0" fmla="*/ 0 h 257442"/>
                <a:gd name="connsiteX1" fmla="*/ 1216682 w 1439718"/>
                <a:gd name="connsiteY1" fmla="*/ 257442 h 257442"/>
                <a:gd name="connsiteX2" fmla="*/ 1 w 1439718"/>
                <a:gd name="connsiteY2" fmla="*/ 257442 h 257442"/>
                <a:gd name="connsiteX3" fmla="*/ 0 w 1439718"/>
                <a:gd name="connsiteY3" fmla="*/ 0 h 257442"/>
                <a:gd name="connsiteX0" fmla="*/ 1439718 w 1439718"/>
                <a:gd name="connsiteY0" fmla="*/ 0 h 257442"/>
                <a:gd name="connsiteX1" fmla="*/ 1384996 w 1439718"/>
                <a:gd name="connsiteY1" fmla="*/ 257442 h 257442"/>
                <a:gd name="connsiteX2" fmla="*/ 1 w 1439718"/>
                <a:gd name="connsiteY2" fmla="*/ 257442 h 257442"/>
                <a:gd name="connsiteX3" fmla="*/ 0 w 1439718"/>
                <a:gd name="connsiteY3" fmla="*/ 0 h 257442"/>
                <a:gd name="connsiteX0" fmla="*/ 1439718 w 1439718"/>
                <a:gd name="connsiteY0" fmla="*/ 0 h 257442"/>
                <a:gd name="connsiteX1" fmla="*/ 1384996 w 1439718"/>
                <a:gd name="connsiteY1" fmla="*/ 257442 h 257442"/>
                <a:gd name="connsiteX2" fmla="*/ 0 w 1439718"/>
                <a:gd name="connsiteY2" fmla="*/ 257442 h 257442"/>
                <a:gd name="connsiteX3" fmla="*/ 0 w 1439718"/>
                <a:gd name="connsiteY3" fmla="*/ 0 h 257442"/>
                <a:gd name="connsiteX0" fmla="*/ 1439718 w 1439718"/>
                <a:gd name="connsiteY0" fmla="*/ 0 h 257442"/>
                <a:gd name="connsiteX1" fmla="*/ 1384996 w 1439718"/>
                <a:gd name="connsiteY1" fmla="*/ 257442 h 257442"/>
                <a:gd name="connsiteX2" fmla="*/ 0 w 1439718"/>
                <a:gd name="connsiteY2" fmla="*/ 257442 h 257442"/>
                <a:gd name="connsiteX3" fmla="*/ 0 w 1439718"/>
                <a:gd name="connsiteY3" fmla="*/ 0 h 257442"/>
                <a:gd name="connsiteX0" fmla="*/ 942786 w 1384996"/>
                <a:gd name="connsiteY0" fmla="*/ 0 h 257442"/>
                <a:gd name="connsiteX1" fmla="*/ 1384996 w 1384996"/>
                <a:gd name="connsiteY1" fmla="*/ 257442 h 257442"/>
                <a:gd name="connsiteX2" fmla="*/ 0 w 1384996"/>
                <a:gd name="connsiteY2" fmla="*/ 257442 h 257442"/>
                <a:gd name="connsiteX3" fmla="*/ 0 w 138499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1103086 w 1103086"/>
                <a:gd name="connsiteY0" fmla="*/ 0 h 257442"/>
                <a:gd name="connsiteX1" fmla="*/ 8880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271402 w 1271402"/>
                <a:gd name="connsiteY0" fmla="*/ 0 h 257442"/>
                <a:gd name="connsiteX1" fmla="*/ 1048365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431702 w 1431702"/>
                <a:gd name="connsiteY0" fmla="*/ 0 h 257442"/>
                <a:gd name="connsiteX1" fmla="*/ 1216681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752303 w 1752303"/>
                <a:gd name="connsiteY0" fmla="*/ 0 h 257442"/>
                <a:gd name="connsiteX1" fmla="*/ 1376981 w 1752303"/>
                <a:gd name="connsiteY1" fmla="*/ 257442 h 257442"/>
                <a:gd name="connsiteX2" fmla="*/ 0 w 1752303"/>
                <a:gd name="connsiteY2" fmla="*/ 257442 h 257442"/>
                <a:gd name="connsiteX3" fmla="*/ 0 w 1752303"/>
                <a:gd name="connsiteY3" fmla="*/ 0 h 257442"/>
                <a:gd name="connsiteX0" fmla="*/ 1752303 w 1752303"/>
                <a:gd name="connsiteY0" fmla="*/ 0 h 257442"/>
                <a:gd name="connsiteX1" fmla="*/ 1697582 w 1752303"/>
                <a:gd name="connsiteY1" fmla="*/ 257442 h 257442"/>
                <a:gd name="connsiteX2" fmla="*/ 0 w 1752303"/>
                <a:gd name="connsiteY2" fmla="*/ 257442 h 257442"/>
                <a:gd name="connsiteX3" fmla="*/ 0 w 1752303"/>
                <a:gd name="connsiteY3" fmla="*/ 0 h 257442"/>
                <a:gd name="connsiteX0" fmla="*/ 1752303 w 1752303"/>
                <a:gd name="connsiteY0" fmla="*/ 0 h 257442"/>
                <a:gd name="connsiteX1" fmla="*/ 1697582 w 1752303"/>
                <a:gd name="connsiteY1" fmla="*/ 257442 h 257442"/>
                <a:gd name="connsiteX2" fmla="*/ 0 w 1752303"/>
                <a:gd name="connsiteY2" fmla="*/ 257442 h 257442"/>
                <a:gd name="connsiteX3" fmla="*/ 0 w 1752303"/>
                <a:gd name="connsiteY3" fmla="*/ 0 h 257442"/>
                <a:gd name="connsiteX0" fmla="*/ 1752303 w 1752303"/>
                <a:gd name="connsiteY0" fmla="*/ 0 h 257442"/>
                <a:gd name="connsiteX1" fmla="*/ 1697582 w 1752303"/>
                <a:gd name="connsiteY1" fmla="*/ 257442 h 257442"/>
                <a:gd name="connsiteX2" fmla="*/ 0 w 1752303"/>
                <a:gd name="connsiteY2" fmla="*/ 257442 h 257442"/>
                <a:gd name="connsiteX3" fmla="*/ 0 w 1752303"/>
                <a:gd name="connsiteY3" fmla="*/ 0 h 257442"/>
                <a:gd name="connsiteX0" fmla="*/ 1920617 w 1920617"/>
                <a:gd name="connsiteY0" fmla="*/ 0 h 257442"/>
                <a:gd name="connsiteX1" fmla="*/ 1697582 w 1920617"/>
                <a:gd name="connsiteY1" fmla="*/ 257442 h 257442"/>
                <a:gd name="connsiteX2" fmla="*/ 0 w 1920617"/>
                <a:gd name="connsiteY2" fmla="*/ 257442 h 257442"/>
                <a:gd name="connsiteX3" fmla="*/ 0 w 1920617"/>
                <a:gd name="connsiteY3" fmla="*/ 0 h 257442"/>
                <a:gd name="connsiteX0" fmla="*/ 1920617 w 1920617"/>
                <a:gd name="connsiteY0" fmla="*/ 0 h 257442"/>
                <a:gd name="connsiteX1" fmla="*/ 1865896 w 1920617"/>
                <a:gd name="connsiteY1" fmla="*/ 257442 h 257442"/>
                <a:gd name="connsiteX2" fmla="*/ 0 w 1920617"/>
                <a:gd name="connsiteY2" fmla="*/ 257442 h 257442"/>
                <a:gd name="connsiteX3" fmla="*/ 0 w 1920617"/>
                <a:gd name="connsiteY3" fmla="*/ 0 h 257442"/>
                <a:gd name="connsiteX0" fmla="*/ 1920617 w 1920617"/>
                <a:gd name="connsiteY0" fmla="*/ 0 h 257442"/>
                <a:gd name="connsiteX1" fmla="*/ 1865896 w 1920617"/>
                <a:gd name="connsiteY1" fmla="*/ 257442 h 257442"/>
                <a:gd name="connsiteX2" fmla="*/ 0 w 1920617"/>
                <a:gd name="connsiteY2" fmla="*/ 257442 h 257442"/>
                <a:gd name="connsiteX3" fmla="*/ 0 w 1920617"/>
                <a:gd name="connsiteY3" fmla="*/ 0 h 257442"/>
                <a:gd name="connsiteX0" fmla="*/ 1920617 w 1920617"/>
                <a:gd name="connsiteY0" fmla="*/ 0 h 257442"/>
                <a:gd name="connsiteX1" fmla="*/ 1865896 w 1920617"/>
                <a:gd name="connsiteY1" fmla="*/ 257442 h 257442"/>
                <a:gd name="connsiteX2" fmla="*/ 0 w 1920617"/>
                <a:gd name="connsiteY2" fmla="*/ 257442 h 257442"/>
                <a:gd name="connsiteX3" fmla="*/ 0 w 1920617"/>
                <a:gd name="connsiteY3" fmla="*/ 0 h 257442"/>
                <a:gd name="connsiteX0" fmla="*/ 2162479 w 2162479"/>
                <a:gd name="connsiteY0" fmla="*/ 0 h 257442"/>
                <a:gd name="connsiteX1" fmla="*/ 1865896 w 2162479"/>
                <a:gd name="connsiteY1" fmla="*/ 257442 h 257442"/>
                <a:gd name="connsiteX2" fmla="*/ 0 w 2162479"/>
                <a:gd name="connsiteY2" fmla="*/ 257442 h 257442"/>
                <a:gd name="connsiteX3" fmla="*/ 0 w 2162479"/>
                <a:gd name="connsiteY3" fmla="*/ 0 h 257442"/>
                <a:gd name="connsiteX0" fmla="*/ 2162479 w 2162479"/>
                <a:gd name="connsiteY0" fmla="*/ 0 h 257442"/>
                <a:gd name="connsiteX1" fmla="*/ 2107758 w 2162479"/>
                <a:gd name="connsiteY1" fmla="*/ 257442 h 257442"/>
                <a:gd name="connsiteX2" fmla="*/ 0 w 2162479"/>
                <a:gd name="connsiteY2" fmla="*/ 257442 h 257442"/>
                <a:gd name="connsiteX3" fmla="*/ 0 w 2162479"/>
                <a:gd name="connsiteY3" fmla="*/ 0 h 257442"/>
                <a:gd name="connsiteX0" fmla="*/ 2162479 w 2162479"/>
                <a:gd name="connsiteY0" fmla="*/ 0 h 257442"/>
                <a:gd name="connsiteX1" fmla="*/ 2107758 w 2162479"/>
                <a:gd name="connsiteY1" fmla="*/ 257442 h 257442"/>
                <a:gd name="connsiteX2" fmla="*/ 0 w 2162479"/>
                <a:gd name="connsiteY2" fmla="*/ 257442 h 257442"/>
                <a:gd name="connsiteX3" fmla="*/ 0 w 2162479"/>
                <a:gd name="connsiteY3" fmla="*/ 0 h 257442"/>
                <a:gd name="connsiteX0" fmla="*/ 2162479 w 2162479"/>
                <a:gd name="connsiteY0" fmla="*/ 0 h 257442"/>
                <a:gd name="connsiteX1" fmla="*/ 2107758 w 2162479"/>
                <a:gd name="connsiteY1" fmla="*/ 257442 h 257442"/>
                <a:gd name="connsiteX2" fmla="*/ 0 w 2162479"/>
                <a:gd name="connsiteY2" fmla="*/ 257442 h 257442"/>
                <a:gd name="connsiteX3" fmla="*/ 0 w 2162479"/>
                <a:gd name="connsiteY3" fmla="*/ 0 h 257442"/>
                <a:gd name="connsiteX0" fmla="*/ 2340412 w 2340412"/>
                <a:gd name="connsiteY0" fmla="*/ 0 h 257442"/>
                <a:gd name="connsiteX1" fmla="*/ 2107758 w 2340412"/>
                <a:gd name="connsiteY1" fmla="*/ 257442 h 257442"/>
                <a:gd name="connsiteX2" fmla="*/ 0 w 2340412"/>
                <a:gd name="connsiteY2" fmla="*/ 257442 h 257442"/>
                <a:gd name="connsiteX3" fmla="*/ 0 w 2340412"/>
                <a:gd name="connsiteY3" fmla="*/ 0 h 257442"/>
                <a:gd name="connsiteX0" fmla="*/ 2340412 w 2340412"/>
                <a:gd name="connsiteY0" fmla="*/ 0 h 257442"/>
                <a:gd name="connsiteX1" fmla="*/ 2285690 w 2340412"/>
                <a:gd name="connsiteY1" fmla="*/ 257442 h 257442"/>
                <a:gd name="connsiteX2" fmla="*/ 0 w 2340412"/>
                <a:gd name="connsiteY2" fmla="*/ 257442 h 257442"/>
                <a:gd name="connsiteX3" fmla="*/ 0 w 2340412"/>
                <a:gd name="connsiteY3" fmla="*/ 0 h 257442"/>
                <a:gd name="connsiteX0" fmla="*/ 2340413 w 2340413"/>
                <a:gd name="connsiteY0" fmla="*/ 0 h 257442"/>
                <a:gd name="connsiteX1" fmla="*/ 2285691 w 2340413"/>
                <a:gd name="connsiteY1" fmla="*/ 257442 h 257442"/>
                <a:gd name="connsiteX2" fmla="*/ 0 w 2340413"/>
                <a:gd name="connsiteY2" fmla="*/ 257442 h 257442"/>
                <a:gd name="connsiteX3" fmla="*/ 1 w 2340413"/>
                <a:gd name="connsiteY3" fmla="*/ 0 h 257442"/>
                <a:gd name="connsiteX0" fmla="*/ 2340413 w 2340413"/>
                <a:gd name="connsiteY0" fmla="*/ 0 h 257442"/>
                <a:gd name="connsiteX1" fmla="*/ 2285691 w 2340413"/>
                <a:gd name="connsiteY1" fmla="*/ 257442 h 257442"/>
                <a:gd name="connsiteX2" fmla="*/ 0 w 2340413"/>
                <a:gd name="connsiteY2" fmla="*/ 257442 h 257442"/>
                <a:gd name="connsiteX3" fmla="*/ 1 w 2340413"/>
                <a:gd name="connsiteY3" fmla="*/ 0 h 257442"/>
                <a:gd name="connsiteX0" fmla="*/ 2508728 w 2508728"/>
                <a:gd name="connsiteY0" fmla="*/ 0 h 257442"/>
                <a:gd name="connsiteX1" fmla="*/ 2285691 w 2508728"/>
                <a:gd name="connsiteY1" fmla="*/ 257442 h 257442"/>
                <a:gd name="connsiteX2" fmla="*/ 0 w 2508728"/>
                <a:gd name="connsiteY2" fmla="*/ 257442 h 257442"/>
                <a:gd name="connsiteX3" fmla="*/ 1 w 2508728"/>
                <a:gd name="connsiteY3" fmla="*/ 0 h 257442"/>
                <a:gd name="connsiteX0" fmla="*/ 2508728 w 2508728"/>
                <a:gd name="connsiteY0" fmla="*/ 0 h 257442"/>
                <a:gd name="connsiteX1" fmla="*/ 2454006 w 2508728"/>
                <a:gd name="connsiteY1" fmla="*/ 257442 h 257442"/>
                <a:gd name="connsiteX2" fmla="*/ 0 w 2508728"/>
                <a:gd name="connsiteY2" fmla="*/ 257442 h 257442"/>
                <a:gd name="connsiteX3" fmla="*/ 1 w 2508728"/>
                <a:gd name="connsiteY3" fmla="*/ 0 h 257442"/>
                <a:gd name="connsiteX0" fmla="*/ 2508728 w 2508728"/>
                <a:gd name="connsiteY0" fmla="*/ 0 h 257442"/>
                <a:gd name="connsiteX1" fmla="*/ 2454006 w 2508728"/>
                <a:gd name="connsiteY1" fmla="*/ 257442 h 257442"/>
                <a:gd name="connsiteX2" fmla="*/ 0 w 2508728"/>
                <a:gd name="connsiteY2" fmla="*/ 257442 h 257442"/>
                <a:gd name="connsiteX3" fmla="*/ 1 w 2508728"/>
                <a:gd name="connsiteY3" fmla="*/ 0 h 257442"/>
                <a:gd name="connsiteX0" fmla="*/ 2508728 w 2508728"/>
                <a:gd name="connsiteY0" fmla="*/ 0 h 257442"/>
                <a:gd name="connsiteX1" fmla="*/ 2454006 w 2508728"/>
                <a:gd name="connsiteY1" fmla="*/ 257442 h 257442"/>
                <a:gd name="connsiteX2" fmla="*/ 0 w 2508728"/>
                <a:gd name="connsiteY2" fmla="*/ 257442 h 257442"/>
                <a:gd name="connsiteX3" fmla="*/ 0 w 2508728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8728" h="257442">
                  <a:moveTo>
                    <a:pt x="2508728" y="0"/>
                  </a:moveTo>
                  <a:lnTo>
                    <a:pt x="2454006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54" name="btfpRunningAgenda1LevelTextLeft896425">
              <a:extLst>
                <a:ext uri="{FF2B5EF4-FFF2-40B4-BE49-F238E27FC236}">
                  <a16:creationId xmlns:a16="http://schemas.microsoft.com/office/drawing/2014/main" id="{B0464B4D-97B4-AAB0-A9FC-123C8FA9E34D}"/>
                </a:ext>
              </a:extLst>
            </p:cNvPr>
            <p:cNvSpPr txBox="1"/>
            <p:nvPr/>
          </p:nvSpPr>
          <p:spPr bwMode="gray">
            <a:xfrm>
              <a:off x="0" y="876300"/>
              <a:ext cx="2454006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Penetration</a:t>
              </a:r>
            </a:p>
          </p:txBody>
        </p:sp>
      </p:grpSp>
      <p:grpSp>
        <p:nvGrpSpPr>
          <p:cNvPr id="55" name="btfpStatusSticker577716">
            <a:extLst>
              <a:ext uri="{FF2B5EF4-FFF2-40B4-BE49-F238E27FC236}">
                <a16:creationId xmlns:a16="http://schemas.microsoft.com/office/drawing/2014/main" id="{F3ADAB70-CEAB-89E1-D3AB-BE2A89EA7532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10100356" y="955344"/>
            <a:ext cx="1761444" cy="235611"/>
            <a:chOff x="-1630959" y="876300"/>
            <a:chExt cx="1761444" cy="235611"/>
          </a:xfrm>
        </p:grpSpPr>
        <p:sp>
          <p:nvSpPr>
            <p:cNvPr id="56" name="btfpStatusStickerText577716">
              <a:extLst>
                <a:ext uri="{FF2B5EF4-FFF2-40B4-BE49-F238E27FC236}">
                  <a16:creationId xmlns:a16="http://schemas.microsoft.com/office/drawing/2014/main" id="{9845D8FF-5DD0-C26A-5C2A-C040A3CFC0C4}"/>
                </a:ext>
              </a:extLst>
            </p:cNvPr>
            <p:cNvSpPr txBox="1"/>
            <p:nvPr/>
          </p:nvSpPr>
          <p:spPr bwMode="gray">
            <a:xfrm>
              <a:off x="-1630959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Preliminary</a:t>
              </a:r>
            </a:p>
          </p:txBody>
        </p:sp>
        <p:cxnSp>
          <p:nvCxnSpPr>
            <p:cNvPr id="57" name="btfpStatusStickerLine577716">
              <a:extLst>
                <a:ext uri="{FF2B5EF4-FFF2-40B4-BE49-F238E27FC236}">
                  <a16:creationId xmlns:a16="http://schemas.microsoft.com/office/drawing/2014/main" id="{D4B894B5-94C0-EEFC-ABB0-15B7B5E061A9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630959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1" name="btfpNotesBox491930">
            <a:extLst>
              <a:ext uri="{FF2B5EF4-FFF2-40B4-BE49-F238E27FC236}">
                <a16:creationId xmlns:a16="http://schemas.microsoft.com/office/drawing/2014/main" id="{E20202B5-8A0B-282F-BEB4-C381C1610D9E}"/>
              </a:ext>
            </a:extLst>
          </p:cNvPr>
          <p:cNvSpPr txBox="1"/>
          <p:nvPr>
            <p:custDataLst>
              <p:tags r:id="rId9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</a:t>
            </a:r>
            <a:r>
              <a:rPr lang="fr-FR" sz="800" dirty="0">
                <a:solidFill>
                  <a:srgbClr val="000000"/>
                </a:solidFill>
              </a:rPr>
              <a:t>xxx questionnaire (N=425)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4C78FC37-335D-8DA3-5555-4BE0E81DC8F7}"/>
              </a:ext>
            </a:extLst>
          </p:cNvPr>
          <p:cNvSpPr/>
          <p:nvPr/>
        </p:nvSpPr>
        <p:spPr bwMode="gray">
          <a:xfrm>
            <a:off x="324023" y="1324884"/>
            <a:ext cx="11526838" cy="36713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 i="1">
                <a:solidFill>
                  <a:srgbClr val="000000"/>
                </a:solidFill>
              </a:rPr>
              <a:t>Q:</a:t>
            </a:r>
            <a:r>
              <a:rPr lang="en-US" sz="1000" i="1">
                <a:solidFill>
                  <a:srgbClr val="000000"/>
                </a:solidFill>
              </a:rPr>
              <a:t> Does your organization </a:t>
            </a:r>
            <a:r>
              <a:rPr lang="en-US" sz="1000" b="1" i="1">
                <a:solidFill>
                  <a:srgbClr val="000000"/>
                </a:solidFill>
              </a:rPr>
              <a:t>use a software solution </a:t>
            </a:r>
            <a:r>
              <a:rPr lang="en-US" sz="1000" i="1">
                <a:solidFill>
                  <a:srgbClr val="000000"/>
                </a:solidFill>
              </a:rPr>
              <a:t>for business management? </a:t>
            </a:r>
            <a:br>
              <a:rPr lang="en-US" sz="1000" i="1">
                <a:solidFill>
                  <a:srgbClr val="000000"/>
                </a:solidFill>
              </a:rPr>
            </a:br>
            <a:r>
              <a:rPr lang="en-US" sz="1000" b="1" i="1">
                <a:solidFill>
                  <a:srgbClr val="000000"/>
                </a:solidFill>
              </a:rPr>
              <a:t>Q: </a:t>
            </a:r>
            <a:r>
              <a:rPr lang="en-US" sz="1000" i="1">
                <a:solidFill>
                  <a:srgbClr val="000000"/>
                </a:solidFill>
              </a:rPr>
              <a:t>Did your organization </a:t>
            </a:r>
            <a:r>
              <a:rPr lang="en-US" sz="1000" b="1" i="1">
                <a:solidFill>
                  <a:srgbClr val="000000"/>
                </a:solidFill>
              </a:rPr>
              <a:t>previously use a software solution </a:t>
            </a:r>
            <a:r>
              <a:rPr lang="en-US" sz="1000" i="1">
                <a:solidFill>
                  <a:srgbClr val="000000"/>
                </a:solidFill>
              </a:rPr>
              <a:t>for business management?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9A258CB-7941-1F6B-53B3-B0611D767A79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3574" y="2690647"/>
            <a:ext cx="281540" cy="28074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E8E3A5A-75E1-40F7-C378-9F7E0910E840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21999" y="2690647"/>
            <a:ext cx="281540" cy="28074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4A6ED15-AF4C-361D-DF80-A7718F7A76FD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21035" y="2690646"/>
            <a:ext cx="281541" cy="280746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9E35015C-32E2-CB20-8DF3-71DFF235B3D1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1305" y="936034"/>
            <a:ext cx="281540" cy="280744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09573223-F2FD-054A-BE3D-26F5A64E200F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2504" y="936033"/>
            <a:ext cx="281541" cy="280746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44B0FF9D-08B3-97DF-26A6-C2D38E8BFDFE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3468" y="936034"/>
            <a:ext cx="281540" cy="280744"/>
          </a:xfrm>
          <a:prstGeom prst="rect">
            <a:avLst/>
          </a:prstGeom>
        </p:spPr>
      </p:pic>
      <p:sp>
        <p:nvSpPr>
          <p:cNvPr id="8" name="btfpCallout803709">
            <a:extLst>
              <a:ext uri="{FF2B5EF4-FFF2-40B4-BE49-F238E27FC236}">
                <a16:creationId xmlns:a16="http://schemas.microsoft.com/office/drawing/2014/main" id="{86324AE8-5F3E-CF15-3005-60E426022A6D}"/>
              </a:ext>
            </a:extLst>
          </p:cNvPr>
          <p:cNvSpPr/>
          <p:nvPr/>
        </p:nvSpPr>
        <p:spPr bwMode="gray">
          <a:xfrm>
            <a:off x="4739915" y="3611386"/>
            <a:ext cx="1584325" cy="446830"/>
          </a:xfrm>
          <a:prstGeom prst="wedgeRectCallout">
            <a:avLst>
              <a:gd name="adj1" fmla="val -34059"/>
              <a:gd name="adj2" fmla="val -99508"/>
            </a:avLst>
          </a:prstGeom>
          <a:solidFill>
            <a:srgbClr val="FFFFFF"/>
          </a:solidFill>
          <a:ln w="19050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800" i="1" dirty="0">
                <a:solidFill>
                  <a:srgbClr val="5C5C5C"/>
                </a:solidFill>
              </a:rPr>
              <a:t>Large/Enterprise non-users cite use of in-house software solutions as alternative to BMS</a:t>
            </a:r>
          </a:p>
        </p:txBody>
      </p:sp>
      <p:sp>
        <p:nvSpPr>
          <p:cNvPr id="3" name="btfpCallout803709">
            <a:extLst>
              <a:ext uri="{FF2B5EF4-FFF2-40B4-BE49-F238E27FC236}">
                <a16:creationId xmlns:a16="http://schemas.microsoft.com/office/drawing/2014/main" id="{879FB7F9-2BDE-5675-19B9-CAA8461EE901}"/>
              </a:ext>
            </a:extLst>
          </p:cNvPr>
          <p:cNvSpPr/>
          <p:nvPr/>
        </p:nvSpPr>
        <p:spPr bwMode="gray">
          <a:xfrm>
            <a:off x="1974018" y="3195933"/>
            <a:ext cx="1584326" cy="665119"/>
          </a:xfrm>
          <a:prstGeom prst="wedgeRectCallout">
            <a:avLst>
              <a:gd name="adj1" fmla="val -26691"/>
              <a:gd name="adj2" fmla="val 64417"/>
            </a:avLst>
          </a:prstGeom>
          <a:solidFill>
            <a:srgbClr val="FFFFFF"/>
          </a:solidFill>
          <a:ln w="19050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800" i="1">
                <a:solidFill>
                  <a:srgbClr val="5C5C5C"/>
                </a:solidFill>
              </a:rPr>
              <a:t>SMB non-users cite usage of manual solutions (google calendar, pen &amp; paper) and “drop-in” based business models as alternatives to BMS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E5382DC3-9642-DBF3-FC45-1BA83F0D6D70}"/>
              </a:ext>
            </a:extLst>
          </p:cNvPr>
          <p:cNvSpPr/>
          <p:nvPr/>
        </p:nvSpPr>
        <p:spPr bwMode="gray">
          <a:xfrm>
            <a:off x="10750454" y="6388577"/>
            <a:ext cx="1087034" cy="203839"/>
          </a:xfrm>
          <a:prstGeom prst="roundRect">
            <a:avLst/>
          </a:prstGeom>
          <a:solidFill>
            <a:srgbClr val="FAEEC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i="1">
                <a:solidFill>
                  <a:srgbClr val="000000"/>
                </a:solidFill>
              </a:rPr>
              <a:t>Unbiased samp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115033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CB4B0205-835E-A30E-EF27-C25777058A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6295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606" imgH="608" progId="TCLayout.ActiveDocument.1">
                  <p:embed/>
                </p:oleObj>
              </mc:Choice>
              <mc:Fallback>
                <p:oleObj name="think-cell Slide" r:id="rId12" imgW="606" imgH="608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4B0205-835E-A30E-EF27-C25777058A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6" name="btfpColumnIndicatorGroup2">
            <a:extLst>
              <a:ext uri="{FF2B5EF4-FFF2-40B4-BE49-F238E27FC236}">
                <a16:creationId xmlns:a16="http://schemas.microsoft.com/office/drawing/2014/main" id="{7EEAC7CF-AA55-7153-802A-C8D4AD335607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3" name="btfpColumnGapBlocker624580">
              <a:extLst>
                <a:ext uri="{FF2B5EF4-FFF2-40B4-BE49-F238E27FC236}">
                  <a16:creationId xmlns:a16="http://schemas.microsoft.com/office/drawing/2014/main" id="{E4A64BE1-2E1B-EA4B-1FEB-C0EC3DABCAF1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0" name="btfpColumnGapBlocker164079">
              <a:extLst>
                <a:ext uri="{FF2B5EF4-FFF2-40B4-BE49-F238E27FC236}">
                  <a16:creationId xmlns:a16="http://schemas.microsoft.com/office/drawing/2014/main" id="{A61741CE-66ED-8CF8-40E9-5C85FD11FDEA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8" name="btfpColumnIndicator216432">
              <a:extLst>
                <a:ext uri="{FF2B5EF4-FFF2-40B4-BE49-F238E27FC236}">
                  <a16:creationId xmlns:a16="http://schemas.microsoft.com/office/drawing/2014/main" id="{D9711E92-B3A7-60D8-F9C7-A626CD751C3F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btfpColumnIndicator811410">
              <a:extLst>
                <a:ext uri="{FF2B5EF4-FFF2-40B4-BE49-F238E27FC236}">
                  <a16:creationId xmlns:a16="http://schemas.microsoft.com/office/drawing/2014/main" id="{5E6B75F7-0F79-ACDA-1DF5-305101FD5AA2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btfpColumnGapBlocker474212">
              <a:extLst>
                <a:ext uri="{FF2B5EF4-FFF2-40B4-BE49-F238E27FC236}">
                  <a16:creationId xmlns:a16="http://schemas.microsoft.com/office/drawing/2014/main" id="{0A859932-7C42-E5DE-542E-7AE4A536ECA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8" name="btfpColumnIndicator479238">
              <a:extLst>
                <a:ext uri="{FF2B5EF4-FFF2-40B4-BE49-F238E27FC236}">
                  <a16:creationId xmlns:a16="http://schemas.microsoft.com/office/drawing/2014/main" id="{7A64D91E-14C4-3ACE-3FF4-46B6E5FC2513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690078">
              <a:extLst>
                <a:ext uri="{FF2B5EF4-FFF2-40B4-BE49-F238E27FC236}">
                  <a16:creationId xmlns:a16="http://schemas.microsoft.com/office/drawing/2014/main" id="{C88AAB91-DB68-6B3B-C36B-C62DC404E50F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btfpColumnIndicatorGroup1">
            <a:extLst>
              <a:ext uri="{FF2B5EF4-FFF2-40B4-BE49-F238E27FC236}">
                <a16:creationId xmlns:a16="http://schemas.microsoft.com/office/drawing/2014/main" id="{DB9A942A-5C39-F653-7EF2-14466A05DC77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2" name="btfpColumnGapBlocker749743">
              <a:extLst>
                <a:ext uri="{FF2B5EF4-FFF2-40B4-BE49-F238E27FC236}">
                  <a16:creationId xmlns:a16="http://schemas.microsoft.com/office/drawing/2014/main" id="{9F2A6688-AD85-84E8-9436-54F8915D6486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9" name="btfpColumnGapBlocker390460">
              <a:extLst>
                <a:ext uri="{FF2B5EF4-FFF2-40B4-BE49-F238E27FC236}">
                  <a16:creationId xmlns:a16="http://schemas.microsoft.com/office/drawing/2014/main" id="{922DFA0F-7865-B51E-C717-59AF90B940BA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6" name="btfpColumnIndicator376881">
              <a:extLst>
                <a:ext uri="{FF2B5EF4-FFF2-40B4-BE49-F238E27FC236}">
                  <a16:creationId xmlns:a16="http://schemas.microsoft.com/office/drawing/2014/main" id="{0DBB8301-DC1F-18D3-E350-BACB47C3D23C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846793">
              <a:extLst>
                <a:ext uri="{FF2B5EF4-FFF2-40B4-BE49-F238E27FC236}">
                  <a16:creationId xmlns:a16="http://schemas.microsoft.com/office/drawing/2014/main" id="{5119859D-4C09-EFDB-4608-D91C9928B8EA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btfpColumnGapBlocker946003">
              <a:extLst>
                <a:ext uri="{FF2B5EF4-FFF2-40B4-BE49-F238E27FC236}">
                  <a16:creationId xmlns:a16="http://schemas.microsoft.com/office/drawing/2014/main" id="{287C5E3E-10B3-2370-F8B3-55E04793630B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645784">
              <a:extLst>
                <a:ext uri="{FF2B5EF4-FFF2-40B4-BE49-F238E27FC236}">
                  <a16:creationId xmlns:a16="http://schemas.microsoft.com/office/drawing/2014/main" id="{FB2875C7-88A0-811E-4884-6DE32E5411C7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" name="btfpColumnIndicator928280">
              <a:extLst>
                <a:ext uri="{FF2B5EF4-FFF2-40B4-BE49-F238E27FC236}">
                  <a16:creationId xmlns:a16="http://schemas.microsoft.com/office/drawing/2014/main" id="{502B63E2-2740-E364-EA58-EED39F90813F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822483C3-7EF4-8395-2769-2FDAED908AD8}"/>
              </a:ext>
            </a:extLst>
          </p:cNvPr>
          <p:cNvSpPr/>
          <p:nvPr/>
        </p:nvSpPr>
        <p:spPr bwMode="gray">
          <a:xfrm>
            <a:off x="330200" y="1326742"/>
            <a:ext cx="11526838" cy="57341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 i="1">
                <a:solidFill>
                  <a:srgbClr val="000000"/>
                </a:solidFill>
              </a:rPr>
              <a:t>Q:</a:t>
            </a:r>
            <a:r>
              <a:rPr lang="en-US" sz="1000" i="1">
                <a:solidFill>
                  <a:srgbClr val="000000"/>
                </a:solidFill>
              </a:rPr>
              <a:t> Which other business management software vendors are you </a:t>
            </a:r>
            <a:r>
              <a:rPr lang="en-US" sz="1000" b="1" i="1">
                <a:solidFill>
                  <a:srgbClr val="000000"/>
                </a:solidFill>
              </a:rPr>
              <a:t>aware of</a:t>
            </a:r>
            <a:r>
              <a:rPr lang="en-US" sz="1000" i="1">
                <a:solidFill>
                  <a:srgbClr val="000000"/>
                </a:solidFill>
              </a:rPr>
              <a:t>?</a:t>
            </a:r>
            <a:br>
              <a:rPr lang="en-US" sz="1000" i="1">
                <a:solidFill>
                  <a:srgbClr val="000000"/>
                </a:solidFill>
              </a:rPr>
            </a:br>
            <a:r>
              <a:rPr lang="en-US" sz="1000" b="1" i="1">
                <a:solidFill>
                  <a:srgbClr val="000000"/>
                </a:solidFill>
              </a:rPr>
              <a:t>Q: </a:t>
            </a:r>
            <a:r>
              <a:rPr lang="en-US" sz="1000" i="1">
                <a:solidFill>
                  <a:srgbClr val="000000"/>
                </a:solidFill>
              </a:rPr>
              <a:t>[If previously using a software vendor] Which software vendor did you </a:t>
            </a:r>
            <a:r>
              <a:rPr lang="en-US" sz="1000" b="1" i="1">
                <a:solidFill>
                  <a:srgbClr val="000000"/>
                </a:solidFill>
              </a:rPr>
              <a:t>use previously</a:t>
            </a:r>
            <a:r>
              <a:rPr lang="en-US" sz="1000" i="1">
                <a:solidFill>
                  <a:srgbClr val="000000"/>
                </a:solidFill>
              </a:rPr>
              <a:t>? </a:t>
            </a:r>
            <a:br>
              <a:rPr lang="en-US" sz="1000" i="1">
                <a:solidFill>
                  <a:srgbClr val="000000"/>
                </a:solidFill>
              </a:rPr>
            </a:br>
            <a:r>
              <a:rPr lang="en-US" sz="1000" b="1" i="1">
                <a:solidFill>
                  <a:srgbClr val="000000"/>
                </a:solidFill>
              </a:rPr>
              <a:t>Q: </a:t>
            </a:r>
            <a:r>
              <a:rPr lang="en-US" sz="1000" i="1">
                <a:solidFill>
                  <a:srgbClr val="000000"/>
                </a:solidFill>
              </a:rPr>
              <a:t>What software does your business </a:t>
            </a:r>
            <a:r>
              <a:rPr lang="en-US" sz="1000" b="1" i="1">
                <a:solidFill>
                  <a:srgbClr val="000000"/>
                </a:solidFill>
              </a:rPr>
              <a:t>use for &lt;function&gt;</a:t>
            </a:r>
            <a:r>
              <a:rPr lang="en-US" sz="1000" i="1">
                <a:solidFill>
                  <a:srgbClr val="000000"/>
                </a:solidFill>
              </a:rPr>
              <a:t>?</a:t>
            </a:r>
          </a:p>
        </p:txBody>
      </p:sp>
      <p:sp>
        <p:nvSpPr>
          <p:cNvPr id="14" name="btfpNotesBox491930">
            <a:extLst>
              <a:ext uri="{FF2B5EF4-FFF2-40B4-BE49-F238E27FC236}">
                <a16:creationId xmlns:a16="http://schemas.microsoft.com/office/drawing/2014/main" id="{E4B72FE3-E99A-D4DE-C48C-B58BF7D16F4F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</a:t>
            </a:r>
            <a:r>
              <a:rPr lang="fr-FR" sz="800" dirty="0">
                <a:solidFill>
                  <a:srgbClr val="000000"/>
                </a:solidFill>
              </a:rPr>
              <a:t>xxx questionnaire (N=425)</a:t>
            </a:r>
            <a:endParaRPr lang="en-US" sz="800" dirty="0">
              <a:solidFill>
                <a:srgbClr val="000000"/>
              </a:solidFill>
            </a:endParaRPr>
          </a:p>
        </p:txBody>
      </p:sp>
      <p:grpSp>
        <p:nvGrpSpPr>
          <p:cNvPr id="37" name="btfpRunningAgenda1Level896425">
            <a:extLst>
              <a:ext uri="{FF2B5EF4-FFF2-40B4-BE49-F238E27FC236}">
                <a16:creationId xmlns:a16="http://schemas.microsoft.com/office/drawing/2014/main" id="{3C287D8B-2C79-4059-E02B-AD74C694D2F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0" y="944429"/>
            <a:ext cx="3382365" cy="257442"/>
            <a:chOff x="0" y="876300"/>
            <a:chExt cx="3382365" cy="257442"/>
          </a:xfrm>
        </p:grpSpPr>
        <p:sp>
          <p:nvSpPr>
            <p:cNvPr id="33" name="btfpRunningAgenda1LevelBarLeft896425">
              <a:extLst>
                <a:ext uri="{FF2B5EF4-FFF2-40B4-BE49-F238E27FC236}">
                  <a16:creationId xmlns:a16="http://schemas.microsoft.com/office/drawing/2014/main" id="{2B6ACE1F-ECCD-CE11-1102-1662346DB2F6}"/>
                </a:ext>
              </a:extLst>
            </p:cNvPr>
            <p:cNvSpPr/>
            <p:nvPr/>
          </p:nvSpPr>
          <p:spPr bwMode="gray">
            <a:xfrm>
              <a:off x="1" y="876300"/>
              <a:ext cx="3382364" cy="257442"/>
            </a:xfrm>
            <a:custGeom>
              <a:avLst/>
              <a:gdLst>
                <a:gd name="connsiteX0" fmla="*/ 942786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42786 w 1816204"/>
                <a:gd name="connsiteY0" fmla="*/ 0 h 257442"/>
                <a:gd name="connsiteX1" fmla="*/ 888066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103086 w 1103086"/>
                <a:gd name="connsiteY0" fmla="*/ 0 h 257442"/>
                <a:gd name="connsiteX1" fmla="*/ 8880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103086 w 1103086"/>
                <a:gd name="connsiteY0" fmla="*/ 0 h 257442"/>
                <a:gd name="connsiteX1" fmla="*/ 1048364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103087 w 1103087"/>
                <a:gd name="connsiteY0" fmla="*/ 0 h 257442"/>
                <a:gd name="connsiteX1" fmla="*/ 1048365 w 1103087"/>
                <a:gd name="connsiteY1" fmla="*/ 257442 h 257442"/>
                <a:gd name="connsiteX2" fmla="*/ 0 w 1103087"/>
                <a:gd name="connsiteY2" fmla="*/ 257442 h 257442"/>
                <a:gd name="connsiteX3" fmla="*/ 1 w 1103087"/>
                <a:gd name="connsiteY3" fmla="*/ 0 h 257442"/>
                <a:gd name="connsiteX0" fmla="*/ 1103087 w 1103087"/>
                <a:gd name="connsiteY0" fmla="*/ 0 h 257442"/>
                <a:gd name="connsiteX1" fmla="*/ 1048365 w 1103087"/>
                <a:gd name="connsiteY1" fmla="*/ 257442 h 257442"/>
                <a:gd name="connsiteX2" fmla="*/ 0 w 1103087"/>
                <a:gd name="connsiteY2" fmla="*/ 257442 h 257442"/>
                <a:gd name="connsiteX3" fmla="*/ 1 w 1103087"/>
                <a:gd name="connsiteY3" fmla="*/ 0 h 257442"/>
                <a:gd name="connsiteX0" fmla="*/ 1271403 w 1271403"/>
                <a:gd name="connsiteY0" fmla="*/ 0 h 257442"/>
                <a:gd name="connsiteX1" fmla="*/ 1048365 w 1271403"/>
                <a:gd name="connsiteY1" fmla="*/ 257442 h 257442"/>
                <a:gd name="connsiteX2" fmla="*/ 0 w 1271403"/>
                <a:gd name="connsiteY2" fmla="*/ 257442 h 257442"/>
                <a:gd name="connsiteX3" fmla="*/ 1 w 1271403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0 w 1271403"/>
                <a:gd name="connsiteY2" fmla="*/ 257442 h 257442"/>
                <a:gd name="connsiteX3" fmla="*/ 1 w 1271403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1 w 1271403"/>
                <a:gd name="connsiteY2" fmla="*/ 257442 h 257442"/>
                <a:gd name="connsiteX3" fmla="*/ 0 w 1271403"/>
                <a:gd name="connsiteY3" fmla="*/ 0 h 257442"/>
                <a:gd name="connsiteX0" fmla="*/ 1439718 w 1439718"/>
                <a:gd name="connsiteY0" fmla="*/ 0 h 257442"/>
                <a:gd name="connsiteX1" fmla="*/ 1216682 w 1439718"/>
                <a:gd name="connsiteY1" fmla="*/ 257442 h 257442"/>
                <a:gd name="connsiteX2" fmla="*/ 1 w 1439718"/>
                <a:gd name="connsiteY2" fmla="*/ 257442 h 257442"/>
                <a:gd name="connsiteX3" fmla="*/ 0 w 1439718"/>
                <a:gd name="connsiteY3" fmla="*/ 0 h 257442"/>
                <a:gd name="connsiteX0" fmla="*/ 1439718 w 1439718"/>
                <a:gd name="connsiteY0" fmla="*/ 0 h 257442"/>
                <a:gd name="connsiteX1" fmla="*/ 1384996 w 1439718"/>
                <a:gd name="connsiteY1" fmla="*/ 257442 h 257442"/>
                <a:gd name="connsiteX2" fmla="*/ 1 w 1439718"/>
                <a:gd name="connsiteY2" fmla="*/ 257442 h 257442"/>
                <a:gd name="connsiteX3" fmla="*/ 0 w 1439718"/>
                <a:gd name="connsiteY3" fmla="*/ 0 h 257442"/>
                <a:gd name="connsiteX0" fmla="*/ 1439718 w 1439718"/>
                <a:gd name="connsiteY0" fmla="*/ 0 h 257442"/>
                <a:gd name="connsiteX1" fmla="*/ 1384996 w 1439718"/>
                <a:gd name="connsiteY1" fmla="*/ 257442 h 257442"/>
                <a:gd name="connsiteX2" fmla="*/ 0 w 1439718"/>
                <a:gd name="connsiteY2" fmla="*/ 257442 h 257442"/>
                <a:gd name="connsiteX3" fmla="*/ 0 w 1439718"/>
                <a:gd name="connsiteY3" fmla="*/ 0 h 257442"/>
                <a:gd name="connsiteX0" fmla="*/ 1439718 w 1439718"/>
                <a:gd name="connsiteY0" fmla="*/ 0 h 257442"/>
                <a:gd name="connsiteX1" fmla="*/ 1384996 w 1439718"/>
                <a:gd name="connsiteY1" fmla="*/ 257442 h 257442"/>
                <a:gd name="connsiteX2" fmla="*/ 0 w 1439718"/>
                <a:gd name="connsiteY2" fmla="*/ 257442 h 257442"/>
                <a:gd name="connsiteX3" fmla="*/ 0 w 1439718"/>
                <a:gd name="connsiteY3" fmla="*/ 0 h 257442"/>
                <a:gd name="connsiteX0" fmla="*/ 1617650 w 1617650"/>
                <a:gd name="connsiteY0" fmla="*/ 0 h 257442"/>
                <a:gd name="connsiteX1" fmla="*/ 1384996 w 1617650"/>
                <a:gd name="connsiteY1" fmla="*/ 257442 h 257442"/>
                <a:gd name="connsiteX2" fmla="*/ 0 w 1617650"/>
                <a:gd name="connsiteY2" fmla="*/ 257442 h 257442"/>
                <a:gd name="connsiteX3" fmla="*/ 0 w 1617650"/>
                <a:gd name="connsiteY3" fmla="*/ 0 h 257442"/>
                <a:gd name="connsiteX0" fmla="*/ 1617650 w 1617650"/>
                <a:gd name="connsiteY0" fmla="*/ 0 h 257442"/>
                <a:gd name="connsiteX1" fmla="*/ 1562929 w 1617650"/>
                <a:gd name="connsiteY1" fmla="*/ 257442 h 257442"/>
                <a:gd name="connsiteX2" fmla="*/ 0 w 1617650"/>
                <a:gd name="connsiteY2" fmla="*/ 257442 h 257442"/>
                <a:gd name="connsiteX3" fmla="*/ 0 w 1617650"/>
                <a:gd name="connsiteY3" fmla="*/ 0 h 257442"/>
                <a:gd name="connsiteX0" fmla="*/ 1617650 w 1617650"/>
                <a:gd name="connsiteY0" fmla="*/ 0 h 257442"/>
                <a:gd name="connsiteX1" fmla="*/ 1562929 w 1617650"/>
                <a:gd name="connsiteY1" fmla="*/ 257442 h 257442"/>
                <a:gd name="connsiteX2" fmla="*/ 0 w 1617650"/>
                <a:gd name="connsiteY2" fmla="*/ 257442 h 257442"/>
                <a:gd name="connsiteX3" fmla="*/ 0 w 1617650"/>
                <a:gd name="connsiteY3" fmla="*/ 0 h 257442"/>
                <a:gd name="connsiteX0" fmla="*/ 1617650 w 1617650"/>
                <a:gd name="connsiteY0" fmla="*/ 0 h 257442"/>
                <a:gd name="connsiteX1" fmla="*/ 1562929 w 1617650"/>
                <a:gd name="connsiteY1" fmla="*/ 257442 h 257442"/>
                <a:gd name="connsiteX2" fmla="*/ 0 w 1617650"/>
                <a:gd name="connsiteY2" fmla="*/ 257442 h 257442"/>
                <a:gd name="connsiteX3" fmla="*/ 0 w 1617650"/>
                <a:gd name="connsiteY3" fmla="*/ 0 h 257442"/>
                <a:gd name="connsiteX0" fmla="*/ 1785965 w 1785965"/>
                <a:gd name="connsiteY0" fmla="*/ 0 h 257442"/>
                <a:gd name="connsiteX1" fmla="*/ 1562929 w 1785965"/>
                <a:gd name="connsiteY1" fmla="*/ 257442 h 257442"/>
                <a:gd name="connsiteX2" fmla="*/ 0 w 1785965"/>
                <a:gd name="connsiteY2" fmla="*/ 257442 h 257442"/>
                <a:gd name="connsiteX3" fmla="*/ 0 w 1785965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0 w 1785965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0 w 1785965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0 w 1785965"/>
                <a:gd name="connsiteY3" fmla="*/ 0 h 257442"/>
                <a:gd name="connsiteX0" fmla="*/ 2049563 w 2049563"/>
                <a:gd name="connsiteY0" fmla="*/ 0 h 257442"/>
                <a:gd name="connsiteX1" fmla="*/ 1731244 w 2049563"/>
                <a:gd name="connsiteY1" fmla="*/ 257442 h 257442"/>
                <a:gd name="connsiteX2" fmla="*/ 0 w 2049563"/>
                <a:gd name="connsiteY2" fmla="*/ 257442 h 257442"/>
                <a:gd name="connsiteX3" fmla="*/ 0 w 2049563"/>
                <a:gd name="connsiteY3" fmla="*/ 0 h 257442"/>
                <a:gd name="connsiteX0" fmla="*/ 2049563 w 2049563"/>
                <a:gd name="connsiteY0" fmla="*/ 0 h 257442"/>
                <a:gd name="connsiteX1" fmla="*/ 1994842 w 2049563"/>
                <a:gd name="connsiteY1" fmla="*/ 257442 h 257442"/>
                <a:gd name="connsiteX2" fmla="*/ 0 w 2049563"/>
                <a:gd name="connsiteY2" fmla="*/ 257442 h 257442"/>
                <a:gd name="connsiteX3" fmla="*/ 0 w 2049563"/>
                <a:gd name="connsiteY3" fmla="*/ 0 h 257442"/>
                <a:gd name="connsiteX0" fmla="*/ 2049563 w 2049563"/>
                <a:gd name="connsiteY0" fmla="*/ 0 h 257442"/>
                <a:gd name="connsiteX1" fmla="*/ 1994842 w 2049563"/>
                <a:gd name="connsiteY1" fmla="*/ 257442 h 257442"/>
                <a:gd name="connsiteX2" fmla="*/ 0 w 2049563"/>
                <a:gd name="connsiteY2" fmla="*/ 257442 h 257442"/>
                <a:gd name="connsiteX3" fmla="*/ 0 w 2049563"/>
                <a:gd name="connsiteY3" fmla="*/ 0 h 257442"/>
                <a:gd name="connsiteX0" fmla="*/ 2049563 w 2049563"/>
                <a:gd name="connsiteY0" fmla="*/ 0 h 257442"/>
                <a:gd name="connsiteX1" fmla="*/ 1994842 w 2049563"/>
                <a:gd name="connsiteY1" fmla="*/ 257442 h 257442"/>
                <a:gd name="connsiteX2" fmla="*/ 0 w 2049563"/>
                <a:gd name="connsiteY2" fmla="*/ 257442 h 257442"/>
                <a:gd name="connsiteX3" fmla="*/ 0 w 2049563"/>
                <a:gd name="connsiteY3" fmla="*/ 0 h 257442"/>
                <a:gd name="connsiteX0" fmla="*/ 2244680 w 2244680"/>
                <a:gd name="connsiteY0" fmla="*/ 0 h 257442"/>
                <a:gd name="connsiteX1" fmla="*/ 1994842 w 2244680"/>
                <a:gd name="connsiteY1" fmla="*/ 257442 h 257442"/>
                <a:gd name="connsiteX2" fmla="*/ 0 w 2244680"/>
                <a:gd name="connsiteY2" fmla="*/ 257442 h 257442"/>
                <a:gd name="connsiteX3" fmla="*/ 0 w 2244680"/>
                <a:gd name="connsiteY3" fmla="*/ 0 h 257442"/>
                <a:gd name="connsiteX0" fmla="*/ 2244680 w 2244680"/>
                <a:gd name="connsiteY0" fmla="*/ 0 h 257442"/>
                <a:gd name="connsiteX1" fmla="*/ 2189958 w 2244680"/>
                <a:gd name="connsiteY1" fmla="*/ 257442 h 257442"/>
                <a:gd name="connsiteX2" fmla="*/ 0 w 2244680"/>
                <a:gd name="connsiteY2" fmla="*/ 257442 h 257442"/>
                <a:gd name="connsiteX3" fmla="*/ 0 w 2244680"/>
                <a:gd name="connsiteY3" fmla="*/ 0 h 257442"/>
                <a:gd name="connsiteX0" fmla="*/ 2244681 w 2244681"/>
                <a:gd name="connsiteY0" fmla="*/ 0 h 257442"/>
                <a:gd name="connsiteX1" fmla="*/ 2189959 w 2244681"/>
                <a:gd name="connsiteY1" fmla="*/ 257442 h 257442"/>
                <a:gd name="connsiteX2" fmla="*/ 0 w 2244681"/>
                <a:gd name="connsiteY2" fmla="*/ 257442 h 257442"/>
                <a:gd name="connsiteX3" fmla="*/ 1 w 2244681"/>
                <a:gd name="connsiteY3" fmla="*/ 0 h 257442"/>
                <a:gd name="connsiteX0" fmla="*/ 2244681 w 2244681"/>
                <a:gd name="connsiteY0" fmla="*/ 0 h 257442"/>
                <a:gd name="connsiteX1" fmla="*/ 2189959 w 2244681"/>
                <a:gd name="connsiteY1" fmla="*/ 257442 h 257442"/>
                <a:gd name="connsiteX2" fmla="*/ 0 w 2244681"/>
                <a:gd name="connsiteY2" fmla="*/ 257442 h 257442"/>
                <a:gd name="connsiteX3" fmla="*/ 1 w 2244681"/>
                <a:gd name="connsiteY3" fmla="*/ 0 h 257442"/>
                <a:gd name="connsiteX0" fmla="*/ 2572848 w 2572848"/>
                <a:gd name="connsiteY0" fmla="*/ 0 h 257442"/>
                <a:gd name="connsiteX1" fmla="*/ 2189959 w 2572848"/>
                <a:gd name="connsiteY1" fmla="*/ 257442 h 257442"/>
                <a:gd name="connsiteX2" fmla="*/ 0 w 2572848"/>
                <a:gd name="connsiteY2" fmla="*/ 257442 h 257442"/>
                <a:gd name="connsiteX3" fmla="*/ 1 w 2572848"/>
                <a:gd name="connsiteY3" fmla="*/ 0 h 257442"/>
                <a:gd name="connsiteX0" fmla="*/ 2572848 w 2572848"/>
                <a:gd name="connsiteY0" fmla="*/ 0 h 257442"/>
                <a:gd name="connsiteX1" fmla="*/ 2518126 w 2572848"/>
                <a:gd name="connsiteY1" fmla="*/ 257442 h 257442"/>
                <a:gd name="connsiteX2" fmla="*/ 0 w 2572848"/>
                <a:gd name="connsiteY2" fmla="*/ 257442 h 257442"/>
                <a:gd name="connsiteX3" fmla="*/ 1 w 2572848"/>
                <a:gd name="connsiteY3" fmla="*/ 0 h 257442"/>
                <a:gd name="connsiteX0" fmla="*/ 2572848 w 2572848"/>
                <a:gd name="connsiteY0" fmla="*/ 0 h 257442"/>
                <a:gd name="connsiteX1" fmla="*/ 2518126 w 2572848"/>
                <a:gd name="connsiteY1" fmla="*/ 257442 h 257442"/>
                <a:gd name="connsiteX2" fmla="*/ 0 w 2572848"/>
                <a:gd name="connsiteY2" fmla="*/ 257442 h 257442"/>
                <a:gd name="connsiteX3" fmla="*/ 1 w 2572848"/>
                <a:gd name="connsiteY3" fmla="*/ 0 h 257442"/>
                <a:gd name="connsiteX0" fmla="*/ 2572848 w 2572848"/>
                <a:gd name="connsiteY0" fmla="*/ 0 h 257442"/>
                <a:gd name="connsiteX1" fmla="*/ 2518126 w 2572848"/>
                <a:gd name="connsiteY1" fmla="*/ 257442 h 257442"/>
                <a:gd name="connsiteX2" fmla="*/ 0 w 2572848"/>
                <a:gd name="connsiteY2" fmla="*/ 257442 h 257442"/>
                <a:gd name="connsiteX3" fmla="*/ 0 w 2572848"/>
                <a:gd name="connsiteY3" fmla="*/ 0 h 257442"/>
                <a:gd name="connsiteX0" fmla="*/ 2733148 w 2733148"/>
                <a:gd name="connsiteY0" fmla="*/ 0 h 257442"/>
                <a:gd name="connsiteX1" fmla="*/ 2518126 w 2733148"/>
                <a:gd name="connsiteY1" fmla="*/ 257442 h 257442"/>
                <a:gd name="connsiteX2" fmla="*/ 0 w 2733148"/>
                <a:gd name="connsiteY2" fmla="*/ 257442 h 257442"/>
                <a:gd name="connsiteX3" fmla="*/ 0 w 2733148"/>
                <a:gd name="connsiteY3" fmla="*/ 0 h 257442"/>
                <a:gd name="connsiteX0" fmla="*/ 2733148 w 2733148"/>
                <a:gd name="connsiteY0" fmla="*/ 0 h 257442"/>
                <a:gd name="connsiteX1" fmla="*/ 2678427 w 2733148"/>
                <a:gd name="connsiteY1" fmla="*/ 257442 h 257442"/>
                <a:gd name="connsiteX2" fmla="*/ 0 w 2733148"/>
                <a:gd name="connsiteY2" fmla="*/ 257442 h 257442"/>
                <a:gd name="connsiteX3" fmla="*/ 0 w 2733148"/>
                <a:gd name="connsiteY3" fmla="*/ 0 h 257442"/>
                <a:gd name="connsiteX0" fmla="*/ 2733148 w 2733148"/>
                <a:gd name="connsiteY0" fmla="*/ 0 h 257442"/>
                <a:gd name="connsiteX1" fmla="*/ 2678427 w 2733148"/>
                <a:gd name="connsiteY1" fmla="*/ 257442 h 257442"/>
                <a:gd name="connsiteX2" fmla="*/ 0 w 2733148"/>
                <a:gd name="connsiteY2" fmla="*/ 257442 h 257442"/>
                <a:gd name="connsiteX3" fmla="*/ 0 w 2733148"/>
                <a:gd name="connsiteY3" fmla="*/ 0 h 257442"/>
                <a:gd name="connsiteX0" fmla="*/ 2733148 w 2733148"/>
                <a:gd name="connsiteY0" fmla="*/ 0 h 257442"/>
                <a:gd name="connsiteX1" fmla="*/ 2678427 w 2733148"/>
                <a:gd name="connsiteY1" fmla="*/ 257442 h 257442"/>
                <a:gd name="connsiteX2" fmla="*/ 0 w 2733148"/>
                <a:gd name="connsiteY2" fmla="*/ 257442 h 257442"/>
                <a:gd name="connsiteX3" fmla="*/ 0 w 2733148"/>
                <a:gd name="connsiteY3" fmla="*/ 0 h 257442"/>
                <a:gd name="connsiteX0" fmla="*/ 2901463 w 2901463"/>
                <a:gd name="connsiteY0" fmla="*/ 0 h 257442"/>
                <a:gd name="connsiteX1" fmla="*/ 2678427 w 2901463"/>
                <a:gd name="connsiteY1" fmla="*/ 257442 h 257442"/>
                <a:gd name="connsiteX2" fmla="*/ 0 w 2901463"/>
                <a:gd name="connsiteY2" fmla="*/ 257442 h 257442"/>
                <a:gd name="connsiteX3" fmla="*/ 0 w 2901463"/>
                <a:gd name="connsiteY3" fmla="*/ 0 h 257442"/>
                <a:gd name="connsiteX0" fmla="*/ 2901463 w 2901463"/>
                <a:gd name="connsiteY0" fmla="*/ 0 h 257442"/>
                <a:gd name="connsiteX1" fmla="*/ 2846742 w 2901463"/>
                <a:gd name="connsiteY1" fmla="*/ 257442 h 257442"/>
                <a:gd name="connsiteX2" fmla="*/ 0 w 2901463"/>
                <a:gd name="connsiteY2" fmla="*/ 257442 h 257442"/>
                <a:gd name="connsiteX3" fmla="*/ 0 w 2901463"/>
                <a:gd name="connsiteY3" fmla="*/ 0 h 257442"/>
                <a:gd name="connsiteX0" fmla="*/ 2901463 w 2901463"/>
                <a:gd name="connsiteY0" fmla="*/ 0 h 257442"/>
                <a:gd name="connsiteX1" fmla="*/ 2846742 w 2901463"/>
                <a:gd name="connsiteY1" fmla="*/ 257442 h 257442"/>
                <a:gd name="connsiteX2" fmla="*/ 0 w 2901463"/>
                <a:gd name="connsiteY2" fmla="*/ 257442 h 257442"/>
                <a:gd name="connsiteX3" fmla="*/ 0 w 2901463"/>
                <a:gd name="connsiteY3" fmla="*/ 0 h 257442"/>
                <a:gd name="connsiteX0" fmla="*/ 2901463 w 2901463"/>
                <a:gd name="connsiteY0" fmla="*/ 0 h 257442"/>
                <a:gd name="connsiteX1" fmla="*/ 2846742 w 2901463"/>
                <a:gd name="connsiteY1" fmla="*/ 257442 h 257442"/>
                <a:gd name="connsiteX2" fmla="*/ 0 w 2901463"/>
                <a:gd name="connsiteY2" fmla="*/ 257442 h 257442"/>
                <a:gd name="connsiteX3" fmla="*/ 0 w 2901463"/>
                <a:gd name="connsiteY3" fmla="*/ 0 h 257442"/>
                <a:gd name="connsiteX0" fmla="*/ 3061764 w 3061764"/>
                <a:gd name="connsiteY0" fmla="*/ 0 h 257442"/>
                <a:gd name="connsiteX1" fmla="*/ 2846742 w 3061764"/>
                <a:gd name="connsiteY1" fmla="*/ 257442 h 257442"/>
                <a:gd name="connsiteX2" fmla="*/ 0 w 3061764"/>
                <a:gd name="connsiteY2" fmla="*/ 257442 h 257442"/>
                <a:gd name="connsiteX3" fmla="*/ 0 w 3061764"/>
                <a:gd name="connsiteY3" fmla="*/ 0 h 257442"/>
                <a:gd name="connsiteX0" fmla="*/ 3061764 w 3061764"/>
                <a:gd name="connsiteY0" fmla="*/ 0 h 257442"/>
                <a:gd name="connsiteX1" fmla="*/ 3007042 w 3061764"/>
                <a:gd name="connsiteY1" fmla="*/ 257442 h 257442"/>
                <a:gd name="connsiteX2" fmla="*/ 0 w 3061764"/>
                <a:gd name="connsiteY2" fmla="*/ 257442 h 257442"/>
                <a:gd name="connsiteX3" fmla="*/ 0 w 3061764"/>
                <a:gd name="connsiteY3" fmla="*/ 0 h 257442"/>
                <a:gd name="connsiteX0" fmla="*/ 3061765 w 3061765"/>
                <a:gd name="connsiteY0" fmla="*/ 0 h 257442"/>
                <a:gd name="connsiteX1" fmla="*/ 3007043 w 3061765"/>
                <a:gd name="connsiteY1" fmla="*/ 257442 h 257442"/>
                <a:gd name="connsiteX2" fmla="*/ 0 w 3061765"/>
                <a:gd name="connsiteY2" fmla="*/ 257442 h 257442"/>
                <a:gd name="connsiteX3" fmla="*/ 1 w 3061765"/>
                <a:gd name="connsiteY3" fmla="*/ 0 h 257442"/>
                <a:gd name="connsiteX0" fmla="*/ 3061765 w 3061765"/>
                <a:gd name="connsiteY0" fmla="*/ 0 h 257442"/>
                <a:gd name="connsiteX1" fmla="*/ 3007043 w 3061765"/>
                <a:gd name="connsiteY1" fmla="*/ 257442 h 257442"/>
                <a:gd name="connsiteX2" fmla="*/ 0 w 3061765"/>
                <a:gd name="connsiteY2" fmla="*/ 257442 h 257442"/>
                <a:gd name="connsiteX3" fmla="*/ 1 w 3061765"/>
                <a:gd name="connsiteY3" fmla="*/ 0 h 257442"/>
                <a:gd name="connsiteX0" fmla="*/ 3222065 w 3222065"/>
                <a:gd name="connsiteY0" fmla="*/ 0 h 257442"/>
                <a:gd name="connsiteX1" fmla="*/ 3007043 w 3222065"/>
                <a:gd name="connsiteY1" fmla="*/ 257442 h 257442"/>
                <a:gd name="connsiteX2" fmla="*/ 0 w 3222065"/>
                <a:gd name="connsiteY2" fmla="*/ 257442 h 257442"/>
                <a:gd name="connsiteX3" fmla="*/ 1 w 3222065"/>
                <a:gd name="connsiteY3" fmla="*/ 0 h 257442"/>
                <a:gd name="connsiteX0" fmla="*/ 3222065 w 3222065"/>
                <a:gd name="connsiteY0" fmla="*/ 0 h 257442"/>
                <a:gd name="connsiteX1" fmla="*/ 3167344 w 3222065"/>
                <a:gd name="connsiteY1" fmla="*/ 257442 h 257442"/>
                <a:gd name="connsiteX2" fmla="*/ 0 w 3222065"/>
                <a:gd name="connsiteY2" fmla="*/ 257442 h 257442"/>
                <a:gd name="connsiteX3" fmla="*/ 1 w 3222065"/>
                <a:gd name="connsiteY3" fmla="*/ 0 h 257442"/>
                <a:gd name="connsiteX0" fmla="*/ 3222064 w 3222064"/>
                <a:gd name="connsiteY0" fmla="*/ 0 h 257442"/>
                <a:gd name="connsiteX1" fmla="*/ 3167343 w 3222064"/>
                <a:gd name="connsiteY1" fmla="*/ 257442 h 257442"/>
                <a:gd name="connsiteX2" fmla="*/ 0 w 3222064"/>
                <a:gd name="connsiteY2" fmla="*/ 257442 h 257442"/>
                <a:gd name="connsiteX3" fmla="*/ 0 w 3222064"/>
                <a:gd name="connsiteY3" fmla="*/ 0 h 257442"/>
                <a:gd name="connsiteX0" fmla="*/ 3222065 w 3222065"/>
                <a:gd name="connsiteY0" fmla="*/ 0 h 257442"/>
                <a:gd name="connsiteX1" fmla="*/ 3167344 w 3222065"/>
                <a:gd name="connsiteY1" fmla="*/ 257442 h 257442"/>
                <a:gd name="connsiteX2" fmla="*/ 1 w 3222065"/>
                <a:gd name="connsiteY2" fmla="*/ 257442 h 257442"/>
                <a:gd name="connsiteX3" fmla="*/ 0 w 3222065"/>
                <a:gd name="connsiteY3" fmla="*/ 0 h 257442"/>
                <a:gd name="connsiteX0" fmla="*/ 3382365 w 3382365"/>
                <a:gd name="connsiteY0" fmla="*/ 0 h 257442"/>
                <a:gd name="connsiteX1" fmla="*/ 3167344 w 3382365"/>
                <a:gd name="connsiteY1" fmla="*/ 257442 h 257442"/>
                <a:gd name="connsiteX2" fmla="*/ 1 w 3382365"/>
                <a:gd name="connsiteY2" fmla="*/ 257442 h 257442"/>
                <a:gd name="connsiteX3" fmla="*/ 0 w 3382365"/>
                <a:gd name="connsiteY3" fmla="*/ 0 h 257442"/>
                <a:gd name="connsiteX0" fmla="*/ 3382365 w 3382365"/>
                <a:gd name="connsiteY0" fmla="*/ 0 h 257442"/>
                <a:gd name="connsiteX1" fmla="*/ 3327644 w 3382365"/>
                <a:gd name="connsiteY1" fmla="*/ 257442 h 257442"/>
                <a:gd name="connsiteX2" fmla="*/ 1 w 3382365"/>
                <a:gd name="connsiteY2" fmla="*/ 257442 h 257442"/>
                <a:gd name="connsiteX3" fmla="*/ 0 w 3382365"/>
                <a:gd name="connsiteY3" fmla="*/ 0 h 257442"/>
                <a:gd name="connsiteX0" fmla="*/ 3382365 w 3382365"/>
                <a:gd name="connsiteY0" fmla="*/ 0 h 257442"/>
                <a:gd name="connsiteX1" fmla="*/ 3327644 w 3382365"/>
                <a:gd name="connsiteY1" fmla="*/ 257442 h 257442"/>
                <a:gd name="connsiteX2" fmla="*/ 1 w 3382365"/>
                <a:gd name="connsiteY2" fmla="*/ 257442 h 257442"/>
                <a:gd name="connsiteX3" fmla="*/ 0 w 3382365"/>
                <a:gd name="connsiteY3" fmla="*/ 0 h 257442"/>
                <a:gd name="connsiteX0" fmla="*/ 3382364 w 3382364"/>
                <a:gd name="connsiteY0" fmla="*/ 0 h 257442"/>
                <a:gd name="connsiteX1" fmla="*/ 3327643 w 3382364"/>
                <a:gd name="connsiteY1" fmla="*/ 257442 h 257442"/>
                <a:gd name="connsiteX2" fmla="*/ 0 w 3382364"/>
                <a:gd name="connsiteY2" fmla="*/ 257442 h 257442"/>
                <a:gd name="connsiteX3" fmla="*/ 0 w 3382364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82364" h="257442">
                  <a:moveTo>
                    <a:pt x="3382364" y="0"/>
                  </a:moveTo>
                  <a:lnTo>
                    <a:pt x="3327643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32" name="btfpRunningAgenda1LevelTextLeft896425">
              <a:extLst>
                <a:ext uri="{FF2B5EF4-FFF2-40B4-BE49-F238E27FC236}">
                  <a16:creationId xmlns:a16="http://schemas.microsoft.com/office/drawing/2014/main" id="{AAE0FFE2-6CC0-F017-25D7-CB61A051AAE7}"/>
                </a:ext>
              </a:extLst>
            </p:cNvPr>
            <p:cNvSpPr txBox="1"/>
            <p:nvPr/>
          </p:nvSpPr>
          <p:spPr bwMode="gray">
            <a:xfrm>
              <a:off x="0" y="876300"/>
              <a:ext cx="3327643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vendor awareness</a:t>
              </a:r>
            </a:p>
          </p:txBody>
        </p:sp>
      </p:grpSp>
      <p:sp>
        <p:nvSpPr>
          <p:cNvPr id="77" name="btfpMGChart387827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uzsY1X4RJYLFnuFttNWTiech32vNhQbS3mM9Tt5yY/lt1dg21b/l7RJMH60i2rbvKukI9cxEdZRFwVe8HxlFl0LEb/guczDsHDXAhexu4g+nf0mcJcV25fMar8ifNG3m8ivROihGyONSUzFaNBHTwWniyAALawW94SXeCoXzvr4tK5HzuByME2GgHxpXQ8o5VOJ6isvu14tM8flKWpgfV5e5SL3lLOG7HtpSkRrQUy2PceWsWeIMPFaO0LBu7m3q3vUp2sfBpb737+7vyGrfeuOSUxqUUZ2gZW9buy00QSL9M59im9Poe8qY0i3lrmsHUsoQxuOIY/smvmZcsH/WxFGRyJiiAmYA++vRvjdbUP0PP45Ygl8UNhgOqcTCCXouSMYBxsOuT/cWVaixXCctWuKcsboUfFfn7C+6Ks1VHj0Af3NulWjmCgtslJcUcS3GjMEa5r82BdA1k5dYy7PuOERh++IDiM3pd34Q+73NfsYMhlMoU9ki7mWpDioiYV6aA+KlPvLJQZnTlxM7Vt1moBzSQNeUyfGaOh+SfCEryJx7sc0t8hRuVMuv2Ncpk3qj8ZYx5Xz4t2NNyt/Oolhrh9MJnlqbdJOKzBzPB+ZcKsBhTmblo6yQ/hj2QGylqgmvgW6QlEI5UWGuk6MgFcRxRJy3cY99sHtBUEqDuhydkO7J02kammFI5SL2WH6EeYTT9Va1TbyRnK5CboKAGGR5husYNu54nd83OUFTjfL3xltSe4YcCmb3Yu6TM0BM3yDjok0YZ9KJzRlSVPRSiFn92uNT3dM++lrPK30daFvtMeH0DoNXTpgoSaPnkL6qKJOngoGqDFOBF/GmJ0SydT2ylC3nGU5lBu3XJccqFqPOSsD0BkMI2C7MXoWMgkQpN/5afy2Ov6WmA4zE7+Z8eo/UP7TUxThSVuecE/CdZPShD7q72kLU1SKvmfdH5/D3g9DhwbzF0MwXwca4uapenhBRO06KRVF/RgIntLP4yU4HUgmcDBNxcdv5Y1nQHCHeG6LdtovphTXlc8Xxxms6hOpDGqEghp4qfRu8kFcXfzVbpRqhymzx8tZcxKWky5vJFNWsOoH6MpfdxBvyFegJoh1tzVesoOCVHTPl7nv18HKIL+JweBTTL/laQT64p2h03Gf0q0JGb7Un0kMhHTTidFSV9y6PqFJrG91mT8PW7HoArB4hZjxtWSl3GD1RmEc/DMXxhNdH2or6tfXKJmfdnLtvE8XrHn3WAyGak11MciNNbZzdOHPneZB5nDlPEMAbILJE5EWYJBpwUCtOsr45AdGYuWYULvNiyWrLO+qZPKpdarVQnUOjMH7M1UkjzbilezFSfOblkGBkYifiVu/bK7f55OlUtnIuooFFaAG1r1bIm34KdVTDGcTmgtHebgO1b2agNjpVvd2a2+vhm9R0Qm07MgYUtrPtf1PiruwvPDf0VUBrJHjrglhiXpNf14sK+n/pW0zzhhgBsWO0gxijBX4A2H1G3N6bm8cRhgSOLsQS/s04GVvsv9iiWzjSnqQcqg2Z4uuthUDueI8evkLBHt9U+/mSlmxeTjSTYjqDQimTS6u/xiIysvrx70n+H8skywtYZu15Uw5KWMPiPqMlNP7KX80Q8fDZMtum/+EEHMaeSjj0qHUjWyDNXzkOYEQAQjXARz3oX2FRlcP+YtaushaSSDewqvrFdsa62vCdCqgzmqD4lcscrhGXHEasbNkmJnU3pkk4qmTXTJ10Mds21rNTdYw8QemQhpegOoKFLzVy/86ZB3c9vam0wdHYZrXZr4KT3U7xF1b7H8igiU4Hhn3bzdo42sEdJVdWcK2JpxntM9yQtQNo2NMOSSnReB44zOdVZhNv3ci6/cy2e+yWUTQIL0DsGtS3BtsJHPmxSK7+o95EExd3K13ubc7VLOI4kkJ8GxWWXcIy0rUyI6Mc37AwnyHgfDg8mzkizlhOppRFZvuRDWRYSmojB1ggZ3YWx77CwVHlaDL1wOncPReR+1kIL0Y0fDSzNQmCZgzJ3cMh7biXzwYq2gzSa8y9ka/N+pCjgM984e5uHIXXQ4Cg6bJ3YB93bwm1fxusjAMb5k2tNTlndSJd1334EM/NMGccOUhfct4W8N4HfT/UaBZuaYR1+b4u0bMU2Dkpml+bxTBInZSZ+wTfgBix5GjJDnte6Q+XsYyWjAF0TK2cDZ6VjImwEgxYGAeRlkuEBapgZVkLxstA6yqKOAtZFwAoGRIbIGdflxjHOiKfMuLbp9h1+1sr/1O21u2t14CntGNSA5AEliobgte9gRccWaMLzaY0yvtO0CQ3RC9zH2+M+sWOn2moIOHAsRJM2hutwwljk8HDgKfNoRyu4ijM5SgsFvzZKWlCiT3SjbuKEObTU289C1IE902Uix3TRVo4MBUqUFGFmzO68Jbim7RJa+V/o7c6R7ZCXN5L/oNqqqmChYloW3pO9xxc/rPowsy6f3kaXGMEafO1Qj9qff/UVW5vqg4DxJBwLDqTthLoAs8nli+2lOWzZeMGb+Lo+grza+Ch33oeC5joBabSO88rreK9d+y7ujnZJ5aBrhqgrZzcMAJG4/IJSNL2b4CrUTYbQIbfJL/MIfivTBGnfe884/dhFOTwwFI8nFU6XcRJ99By1NN7rewGiQ+88UF4OhsAGHjw4tnEgjV/KSV6P43rF/NXQmKbnJmv5dBb1anFspxAeZAq8gyX1jbnGq3xGPq4H4Y2CgHC0gPOtzKtp5cppulXROpkkcbff6tYcBeFZ1THN3SiFJeEKMeHLcg7pKph0iev/8qUfM3pUAB3b0Hsi/ddIW0cik0T/dOO6vgVVHYqCRKN8vjr3WEZRodz0a5EUxcM7LX6q0PaS8Ik3eyR860eQCKVAlmAsOwiHGovjHKXsyKkvSw3Ti7xvduJWeiQOr+6cjjOQyc9o84bq0O1EhC30LNtoi0lRIbzyLiZm0uWneuFsIHMunhmMT/xhrubJ5x0pqrhAk+UQBYYk7g09kT/R25ZVABqEGvf7KVA5v9+JvCqvgWrA/TZ1VCKG0A02+aDZbAmuTrjLDodNKCTH2YyfvhGC9DeuTGYq1xOBmsjRznJiMnWcB6QaGmDw6euMfVyvOjluXAYM9BsdrYJmNtHxWzsck6h1I1TbmXKLI1mi9bxo8R5tfMmQ2On95G1mlq5+Kx7e4o7osp2VA1ONoaWFLxkcnPIaZAt+cE3QSpdMCTcKbp/Il6fIjDIysq4P9Xv3hCZUOt4YuFiUbPseCQ4pJnsXWobsQ4+63ukCzW5striEaQVIdZTITMi5wkb8ul1qU2erfR+FpJt3iAdKV90qTmDR+xASzj6z9Kr32qqEKvYhwAykqO+1ZPtxxrSTZ9O2V1CSw9KZBG+FRM7gLwSSQWSAD/oJZEYmXsiDr7RiXq+aMtm/TeNFMOStWwqMxy7tSEhRUl42UYAx8aqgv0FmFRl6pZvCL5CDKZKLg3IVR/kvULB/buJzvdJ8k834Y8C6u9crTnbnX6VgUPP5zXkdMe51ciPST+qdm+inE9efvnOa9WZmtXCp06ie4l1gS+6DmCV6oh0eL0Xg7ieNqAn6lBAdRb0VIB77yyVW+DdMvGRrOYYbk8X59lJoH0Z8xYrLqVtPqRHObDTQMbA8wWfvtrxkfvfSiKxkz65ZcwerCVXupcEtKOJhfCl/S5dfHTvcKNJ95azDhH1WKjzUZHN60Jx5qeI8Bjb8ou1rmyVN2VBsD5VMtX8/AJWMqP/q7sb2buYhLnu5KVbk6aMd4m6crRn5t4IFaBIrA7Wp9lYzXlWuNRdDdkxDNaC6GbwjIqL598rFVjeX944i0M8yqbpLocIAALH5KfeHru5xNABCDLmhr2gLxajlsxPE49/SGUBXnQsy9Q+o2YNxeuOmCQTMdqXL+1EvSv5CTACXOCa/Qa8gTzzZFV1Cz83ot9x+cwD3sKftA/uv5GdqlzW4+QCOgjTWEFaXj649W9Lr5QEzh9qFChTvBYyPNoByQgoXlS/ywM91UCVqbVhWqt6y0P0KXigWjh+23n9z/2DAaP0NgdwnfMTV45vUUxMN2hZkVh+nVou5RxN5Hzkd0RDuLGahr3ZXb3zL9onN+QMjODyWwuvmLO0yBHaNYP7iFjmjrLJxkJp4k3c0VWtezMZizDK6XIMjKuLI79hNGmU/2yjOelP0ZhUbZJD+bw+mDlJRg9P1HSRUDYWupHgopbJZRfNRRmCOAq1Ydt0OtB9TLs4uutHBu5qB4IWXQzxSJQwsksTeijc5y+y0qoCZKuAsgwbu1Szq1atEN0BjzUYCq2ERBpFTSK+TYMN79nIuHRanTKu08UmSpngJ3iKDeb7LatNjbzUOJc6U+2NefGCApfss3A2zNcruTmLacXcLhRx7IX1PGYTIqaoABE7Lxh6txxOvO0F1ZycntDCDu07jayGj25GZP4WYhJI2I5oy2r95E6ynzBYNSH/XY1x/SoJZ8tQjRja/R29WdzY7po0oO4fgq/DLfc+TuvRt80Ue66pJjP4J3UhKxe35kph6PuqU/yaOmMEQDluS2TT/3MH69dB3pRp+fnD7nIWBlas83dTV5Ospd8UK063ZHoz6DkqwdwqfKtldgHLlAXV2EwvC+/qBDZrjncRwtV692fHiJXGXDKBiqzn5wSZWxtj68g0D4DUA/+83i/mpO4TVW8j2y1sZfTvujMoBXbA66wksZtBHOKijCdrhhxw3uLeBkMlr/Sk35MLPHwOI/1fMBZR5PmKqbUv5wZYIAgkY8HOB3xIn7Er5P17xxC/hsSUt7SGZyCnSrzP5xLoCScnFpXlMR732EbckxPhFkzcdpAq3yGTXIG88T4z8wikzVbw60JQovpf8CRmouoi6OiI+73SoW5/7E7meehCi2uxq8MAYbQ7jxdcJCVpW81F9taJk3/+ziPISHyTz5BLjVWuTQ+7hEYfAgSgi0t5rTe+gmZ7HIsssYt2TAFSBeN3gKNcNYLr/ufOYd/srKhrHtREDSAjvywd+oOoRnDG/xyA4MJ+mbm4veHILX9OiqQ7hL7A7nhXjVg0woFQ4qb3JyOnOOt+MMkzZYj/pc71QZocc4liHkGFTAK1NBnoLm/8BLnO33x6j0aLUetLagAq+8QdBge2DdwnkNlzNO7XX+fVNa4/K8OCz4sIZLCehh0pCr4Z0/JUCWA+sXF/6wQP+G9iS8S2aK2cnRUu+xeXDpH/383wBWMFvru/FjndzXR6aPmPtIJY479gCm9/kYVh29XC2v9pOl5CCzL7AvBVaUjao9OEzcLpp1+/zzOYgDtOgYmbb3s77OgsaVSLkClkhQ1p8xNNCLS1g3qfXu85mkpGdn6b/YnrATUc7pO40O0j/akj0b1uHt0TSWaya9V638z4/PFtDFZTxSZuHDiGHMQCgQthQcaJIlWfG2Mc+vApitJM6JntvIIapZnv3tclMwrbC4PYKl2+6GaJwPSJXw81NjBORZcIhvT4Rqi5MiH/U09vb6j7wRh8tTGVdf8H0K4PEk8CIh9Z2bijDT0xrb6NtKXZHAh4ElxPqtKvsOZJ5U2ebUCM0If9jp4aG2zjC8zGKk9cojgmLnckPNTxXnpKZUnk25JeLXCR8PcqiarAgjsAMRtCkLDpvQ85jN2mtgL6tEbm2wj8g++O/Kimem10Hf06jzuz3TycqjOIrldsraRvCxpG/EwWtQaf5nGooI/Nl6CcMcuFWLKnBYN6J5ouNcLX12lUV4MhsWSshFWTxNl2NWEzlRnAzrcMJ3SifnpIwZSrkSfhXTSwNt0irvw41OlfEgyYIbSBI/8LumkHI2R5cEV08zylnTdU7ck8BkZ9qdFxMupqvLLPRvmul5jRhzwKINAevyhPb5H2eWmE1QVBnxUsGvZNA5/sRFD7HH7CFrYMHsk8x9x7k6zFFYbfq/An9il7crlecy/MlbTJhlbdffvyDps5s1/6xa5FvmS+oCMtM/djjC6eEbhOdioabupPtd5W3SfmUX426CfnIdNzimx4BFgaD34IiKC5cOa2alA96iC9wLmLw3mQCYIKHnizSXfTqQmfDqDCc6E5rBx5nR1l3xLuH9IrTbnse/v5NwHZYkohe24T5bhy1+1A+6AaB0j4T9p40jylGCp0PRVbNun+GllPOBCeuLMKZ4GEuAF7PVkU3R3S+yf0ITYT81vRLzG2Nj33JXSdlVS8eSxaErA4w4eKgkArNzULLE9Qo1xgSYaGKg+fML3X3xwnydAm/mxHOa+/l9tRHcH547yXfJihATA8XV8Yhaxjtk1bGqT15jf/4PpwOcSN26hZDJr7R2Vrkl2OnIjdGAWwCXnIaMFd5eEIe8QyZxHdSpdnNp1wY75F9qp8Adjy8pc4r2nnIMS5grDe91y6k41YturxqC2Mn4IceUB9h0hsrOjsmtKgTHq02JlQpDErZW3x8R4X+NmxJI34My46EiIFYPEJSGqjM3nw53l8JRaVbgvirWX1mRMDfHOdyBAQ+EHw6W26hsTopI0y5mH/GmtFfrtthykmFm+/OSzTOxX/En6AqauH9aYL+K5b6uagT79pvcdxIxTScOHdnLaxaw5XFdx4ADLyppYxHShSDBw4iFzxCZP6bQw2H8eu0JOCZRN5/yJIQM8YdqNZU4OSKpfQJyOnOyaswDWU07DJAerLMdCpnkWlKvODUetJTC+uD7sRqKgmx87/7ecunD71R9YrlfY7YXkzCuiGZi84nJp3938MRSeNUDEBMNeMXVECIj0GdLdJfkZBJQLLjTbBa4Ls0i99/VIOFYB4Z8ArP4P2mMwkmSQfsvoYUMzC3tqeevQ3UXbOvZ/MrphGkRU7spLEbUNTZdEM1zvBo/9szXGwQu5b9E7R1wyaLTFjvBEeoAd5plcV3D58XpXxJ05U7YMJQJrlgZ83W2LAXX+YY4sdB9O9GbdurDWH5+KcJMG8zJqcd1XkWfGrEfxLU8t0Tpwvm24xpJYMFz0nJrq0gMxaOgmct8Txuns8gtT+TbDim4jZYWOiaG0xERLQcaGT81GXV1c1GFJKOfd2GAcbDS+rmwbS2LP0my9OaTQc1cPVqri2VBZLJ7Xp34kQOOyeL9DKGPU5DPk8pnY7oVPb+Gj+p/vg7cdsv20+ikVh5AHntfbGmc4XLbew8zzv3/HjZLD0O4KRv/Ss1IOiSIUTn8LNosFVPkLMjWSifGS0hetMgeAwCUkTfnCVQ6lcL9C2AQmcM2LTJrClU59i2DQe8kyqxzJpQvy24vMs7gEIPk6PmPsKTHHmmQ2UtIZILiHi0a6iswcEfmRsX90EZo0GOCdhjtKvRXtuqAuAnt94bTP11+uyc69VVLhZtzdPopGBA2igI066sgm2Gm8BBtGC1IqUTMe71IjAOYLV0PeF3swGAnllDBSGXtUqlgCXnbtGKdFDuMGNms7x8Xyx33N32Maunb/gqgjaZmSyTq3p0FSgW/NhkH0hiTgAUcc0ObCakfopoM2BQDzl1B3SGCT6KtBV8t8hJrpNkz6lkMsUF+T+679DesBE95OVDs2qvsKehp1GFchdDcvSa3ZWtJfd1Khky2jwzH0kxH3StmZBdUbtEkoZU8bSx1EB9nZDPEAZ5lhVCJKsXb8Bhdb4hJ4c9WLnOU3Elp2QlSgUA11XYvaQ5xmk3O8u3AsiOD19fbnx567X3ugS0qcJudUAyAPqkbDELl4DPfsWIXSvOqGbY2ck9w3hv2RI+HRJs+v1c60NC+u53moyotyS8KvKluB+t7m9UCcVp1zzLRjNUCHNyU9VY+6R/rYryjOGSB6Qb5jijW/qZ/t+rADQ4R706FadDs0QZbALR4ErtuMjAfnMNSlToMP6M5o4juZbw58lbyCiYfVMT0lVB5vUl1KPLh9iHa07Zd7J79sNFNE+OOa5VPJ4AnUkIZpyN2QUBAHlRwo4e993WKgnlhcL2eJ97l6MpyGXGbASeIzpFjO1EZxM2OCy77GjNBXhu8dPm3chkrwIVrkowapvDFEaDu6kGFKU42lygk0nf1mcCOwAWx2A0AvYvhR6EazOW/6yiWc8CZJHruD57DhF7R7FNd4/X7sxWgLKBtwLYGkXaUHf2b3+Va5QRru35GiSXSAse2jsdSMwGQ+cNDIAoEsYFyFRVWVCu+rwIA/R7S2N0Odezr/NX7J75oxDZImkEwzG6OS+kKM4nzq8mkQgaYw8FpGxnnXlbARhJrgMDVxaFlBqjDJBJ8gDrVmbYucKMzefzu5bn/ehFD2jfyh5Fg5nL4LTVzel5Y2hkyiIYI0xWdqWgS1KUiNe3tyV5BFEBkbckWDhkjngj2yVJ9XpW/QMvfPmH9zKcUlmixcz/AowWTchgA8rsLYUjCJ91y8cu9gcaZ+EexbPBApu/ICgwFrlLC5N9Rl7iveqcmui05jnRrqDjYUiM6q5gffnnPE7g8+wCWzJmBfxSPFeZLnfNGUa//psFQpN9d3MkZ2r/02GoiKyRU6uosCdBiNZgRIwi3FBOKHMBWV6tOb9hEDByArvFm6KmBj/aMoGQx0UOZw4jrDsppLOiZqbkl9GOhdqhNdHeb7YZHiVNooUgs3SLiR9ElaZoS2YArsyYPYtPWUbhkwuFonMGDFvuv7hAEXXtmljQXtmXGz1AZ8k1lnl0Z8elTyDd5BTtG4m/SPkcVj4pPORGi+w/X1Q6aGhWQIOzpBI6hv4D6AvY/aeSmhX5xrWDWPhjtRR/1eFX8mr3AmipX1U+7wWq272O+vltbNwBxQvqvk0KxvBvavaoe3fjHc5qEOFEdX7DjWkPHGtABzPvlgbOtoT3S/RCJ3jYkakltQ51jJAyYcKcQilKOovxqHh76v/QYtmOehwUOCVgXCt1cXlcMkbqs7lak/hk9t+MmiwstIt56ygwHSPTKjCqlVQ3S8oSYmXHKycPTAtPMPkk0m5bK5AYI5TgzQTzi9uPlyNE4BYhRPtSp9+2chV4XwHQXZLBAhRikM+lb0+iL7x5GKwAqZvXBTysIOkaovkFv1UWabPP4TWsJ8lCYlZEUXUbR41J6CfqFGzZNLccQ7Zlhw9oQHFIUIJ0eMSrDwpvfuTK3+zV0Wp+7nFfVwZqREN3VpiEOlLeuzriYGG2zIJZy8ymtrnvZXm4wRWq6WcnoNOzfDJgg/t9wrzSewxAbwmhUs0scAyMrUQGnCvxq8Om0a5dWCI8Y0TSBFs/Yhi5AIvV8nm4uRR8kZKLGP1ebRRfDXWVDE6Qe/qHBg3K21JDnoxlRsmuqd2reasZ7WUR+qZTdE5cKTdQDmGSd4dlf1D/uqB8IKYvgBZZRN82/IQgH6k3hTpyN7J+9ngCTFTTgaTIaYojjzGs6NiYcxURWuV9bXYtLepAzgVr1m0ElYA6s6DJo6omfFXJfOJAMUXkVvIMxZJbw3vB4oOzXp2bFHxywVQXbf+yi8X6T3AqRRni/KBXak+FpLGOx0/F6V122LO8SllsEExs24m/kPvZWm5LGK4Yj2+5ZIw/J8bgrPvmWVrC6xvXg6X3OMEmvstO2kEE+JQiJzhirT6E7MSbAhbQTjRlczqsxEYpcXMXciD/3jDlfueP68e6giDF0lk1ZgVLjSS7BTswtVyxM1qU4kxcuga+v60SjX08z6qqNIPStx/QlSTkPIgV4lCTzsKPzs/4YBDvXETWLVuQgBBNlGHo06oEhJrOIjF08ZJjc2ysL4mv8C1Un2cbF8uE8wF26+bcctMZOAEPDdO5PclJ18apHyRVwMhGdNcAXe3wsSv+vUXwR0QjIxi4mX/ApRXY9c70K704GMqSevGCrPHX+FuArLH11tVX/R45K2msE2FPho/z4BCr40/lmJ/q/R5lrZ2wDJT1FGAfabR7MdnNp3OKuXIewWQGU1edZjf0QcqZNwpiGI0IyD6oF9eQWKF9EVlOWzZ/ASewnb1mjIf2MhMHbkxQwpYovZPSK3nbaW8uKtpnquabnmM3Xpm8t7/6i8jj4a3LBDj8vcrbjahsn3ht2Pxt/O9OmSRaTOcwGfdsHogtdr48psr2A2XIH5u+cR3qe5q59QL6QyLk7AJ0cG76jyVbYfwbMq01I6+4MG2rcZSmsayx5HW7XHAfeVylflaxrW4Ouv+MJXJRu7h7YbCSV1FRbLTXa5ejq+B867Wf4iS9ubBmXilS8pxgXVJMRhAC61mcDzt1jHRS1y9vD7yp9qaQ1ViRJKOW5hhHx6R+dxCnE2yRan0LvZBdeBl4I55XuBWQI+5y6Sl1CLgYu6KJ+lQFTD6F0SV/9JqsEwV0B3DGE1VJNznSBHg7K/NvPQgWWSq1yWBCJojApU+NK4RDZebBQ0gKKdBWNU3QQCRblFY7O5IbpQC2fr8nvcnbNDLE8l272axBNhushFXPc7lxCkoCMTPq5SeMQGGAo23g4bIj8xdBbTCQEMrry1R8EmbGolu5SyMnfFchVWk603HoFKnTDiVoK7PUmZdNFZeVJm3vS+lunCzkX9nq5B2tyVIymxAr5ilGMM9gduHNwT0Am0IRXcxEjhn6+JEpW9sKQXzAjQmY8o5vunw2wJImwMMxk9Os0r4fcgG8olcMeLCucnr+tsU5v8wyRopEVG80pv95Mw9w/hpQXcnpwiUXpRgDPZWD79aRCqfZn/V4soL90grJ0YxCby3e1tA/Og3+1GpRGUK/1gZIJ3UAt7Z4JHsJ2QQH7/lrSm5D3OdXoJC5hOOOOgF+M+HsFkRMcKsmOC9w+Jd9O6ca1KP9/t6A9yuNmMGmyB/2sO7xb+urhE3MpuJsQ815JyvvbGYGEuYET4HeaJrpKCWnT66Hx8oiIyD8XO2ReKmprdK6LNhACe2phjgDdKGUS4LMAQl0SlSuoIpVpD2/+82LT0k1xRFEpUxUl6es92jfAlBp/o8eQRPzJDyAPNIUDmuLBI4UcybFKuSeG33p24qMdogz9Zy81JOPz1Tvj3g6WUYAwFgT5aHwiQpVYm/wFmm9MVfiY8HV611yEHRPgxl/3TLaiNLPClsdhqL8Xx2sVzkG3RMv24ZhzmsYvnWixqMfCtJz364U/F8kfnzoMgfUwOjcIxDn7c8TlVYsU5ZG0iloIblGWETeoDSZYOzWIELcPkLSLtBf1B7VIF7uGrR+rfLfuqnN0hj3GHIJngztAP624iBHOqfrCrMp9wlOlQzEChS1nVHPrmYKEjI2jRSToQG/qX6d8VkFGSdZvyHk38kdOdGz5XURw3dByW5r++Q1rLIKk3ua5VBBiIsNicEoc/BwF3GgwlxgY7ELpcbFMc3g57+gXL9SYd9O9Lx7VtQX1VagygDh2lCcWCsHNHRi+IIWKFgX3D5Z4lS6eoTNQa1kPZbqeeMNmtindNPDGAvqZaUgfMztI1MJAkJgHRc/wTGNmsZfKhTZXRpKcmOIaxQO/M13fQVFGU4DYkNwfWZTNIgo3Gvlhui6hoWdkZPX0UhLZdPmn+Ze2QlPurYncW6KCeJDavYxlL61rjzSV15wYtMYNM/TXsj6zMjfwYKFg8OyQ/iRPAG5fvBcFC+6RZkQANZ9/wBHCX7Juwd8+em5IuD51ADxVumalZfb3+FNr0xoI21XbfugR59HoP+vow23e3RxpQ3BXrJKKT9sl5ucUQP2Ic9vF/p3XqSEkFy42zF3+0LsXiCAXq4lp/azkfpLSy4plKLoCzxcGbK2lNsPstNB2b+99S+b/mwOyVCq92IlB7o+fE1IhqJPN8xUFTaOJ6wsytFJHxGxTBoNS24DtgsnFCdUX0zAyHs6fPZZk9ixze1isHgY+lMBIYoFBso6/i0UkQRSA4/idJV2j7/+SiFZhO5ry75ej7/IWn0rpkFVHoLOCK9lZIHpiXu0JA+0CpvQypzAqlkils/K12iWDLgkFrQ7oKcVbePJoYKEjwUYHvyZD68ln0ZFVJ3oT90vn+vXZLYHMIbeKhH0T0pU0p2rjNbas8ZGvd7znnpIteX8Opo0+pRS/nLT5yJXP7SPL/Krko2J00liA0RkVJXX9RixQ3qyDIj4rWw/1rYmc8AJsWsOR/hddW42KO1rRL2S+U32eZ3OLv2C3/72469H5K3la4r76salP+ZW7BFFN2IeanZD1Ros6BE63dGTb0IyM4OkoNlRJpYF8VB2Eb6zZggDnVYO8zoBqvt9IPw17vCxpckk13BI1VlXiIuTRuX0ccQ5Oie0RDWfvk7MscPXs26M668NN8j+qSvtMGG2YYquh67x6Sf1AQHQN2SVfF7uHasyYRTnk2v/ni/URJ3NI2Y73z1g4vgjROLLaj4+t60BQu/VhkH95mGoPS0LKxFIJGNBqm+bY8ZL3Jkv4sJzmFo3vVnGl3UTXdKjpzcI6Rll07+9PFHyOanKndgUU6va960l5NI3ejubRMpf9EslJ+E7snGX5EG4fhsNxi37tffxLL5gx/c8ofBinJJGz+c6fIVc+4MMIV0EPyncH++gbrinIUfPWhWUQgLG2GGvuYDaeHZHy4E07pBE+UrmxAyI/hN1P/Nz5xwa8IyOCJ3oagmtpnSzot2187jNDn9+/UmyAk7D1ppqcrKRp4QVOricg1LG0TuBe5tvZ8VHHqXz+h/114KXurSRgmqdl+GTVEDB37SSiGzgJcLBuztGQB8RKgqqmI9G656OfXxCuLlDnfmc0q1GScz5SBKL+yWZt5ndPmJPtQ5bVfwYVXxs8HXedCZPtUmYOBDykbTDAp5eC992FJTgbb7gHtIOUjeFmCRyKqtXIg696Nggc0utI1nXKpzc012Ye9YlvMmoR410P4J4MlEQDu7GQNMmzMfDKxXkgT+bP4E0rnDdpC1TCF7Ifb8QXEp42Pwc9n48GGCduwSILFau2vqVQrQX+NoX4nXIAGaOwNOyqSQLp07oi8h7qjoKK5t7QLUjjQxFxDTtBUG9jrtJCwneEe70AKvMjRxb22YoygQVy4SA111ycif8zMYRrjlIgYzhHmSR84ahR631gOnm1kGYUgQl5aztD6NpDY7gAvsePa1vT+wfRZxydrYf+iByQ1tjY2N9gb1XfgDRDaSDPazN873lHCxgSDfT6DwOOr/ChuKZYY0oM00xeXz/Tin7X+bdx3kdqBEbTUIbUl7Y4lKosYPonS6P5VKdPbJaDD+Z8U2zPoO6mm1JRvyOAi8tjREVngqWOFBevKPPTFHWNB7w1/2JYn9Fcv7P3D7t548SVejoIKTZrS5zgtttB45Mv4IRxOCGctrlvl/nbEozARlomPp4B6tv1lZoxtoe4sd/lg3eFjcGbkgsDMpcZbLC+ii9RW5q6wu9yG7Bg2qTPPiArHhOYl1C3T48tYDJNDegOgSFXjrlpbZbJnFSUII6VxAjXw+ilDBOgzf/dAWGaoH5wuI2ENZUFYoJHWHJv3279zNTN/lG08kYxnsqZqiTRrm91V7ni5IvDpEGfVUPNGMYerA/4QYf/AMChvX0Gbh5FgQBvxgfdfzliD47FGb3bXx1QWtrXqPXkMPq9lzx+nMLmtQag+NI+nQ08eop/mhykE6C2qp7Go25ZdqTr5glRtAxYAZLKcrEsCsCRICV8qO9F2gaW8j03NfzrPg5oAGnyPY5pvBxB9bZq7vnAzoF+vv+D3YwRwswI7NhtihtcgAcxt8SFnghbYWVRxPLzheShkc3/XA2hfyMMHKTaZmcZCwXCbEeLJOvdnDvol+aWRfD0vw1JfrgUYLRgF153o0vKVJxTPe4UMozNOcsig6Mz3bei1jjfzmgE8IE4nnjgHhUsj+fQLpazH7alxsBn1JIANB0kYSA1qdf7EJU0PAxdMJcGGHwiTGPU2xEhu2+o1bvawIUbtZif6HaaQq8s8J825aIkjSXTrpYSjC9K788YhGN1w58olR8c5HI8CtwG1xDfu+QDtaEvn50Yf6xnOIQCTF6vqjWAwRvnFAQA1CMYYHHzp8fXg6DAVuPTSmVjxvl99nVsaWzPoG+jeq7XhUuvbWxPa3Le4RbRZB+b6HgxJCRi11tbSDOUnyVSCusP+C/QdK+uhZxyiqMmr/F4CFduBqemR/jMYdznh/KQTxlAOmMWmntlkHEsXrrOb2ATOFaljWwU2oVedz3mEsf3V+IktWUh+fswp+lN+6oUudyaw/ccBEQ3oyuVWeMhBWIgaMmvd2KLCV1UfbA6sKQmCKrnCG0iyo2lG8gwFAx2Q0LqgonqWxrd2+EcUtpYZIkGk8LeXXkYplBuxkOWWi3OYoxj5Dlh/Y7AsOlV14vyMMPkelL2d+X+lsGNByxIovUdQ/GgupZVuZYmBT3eYk5XSQdgkIwuMvH2Hsf7oWwG63zBYBitN2idc1jC0FF7xJPwqkNaPczNOpJcKsawpZlyKUXGcefQljz3XLiylMBfIcAdb1ZlLr1GC8MFIwvXT/6RwbGvo0oE6z+EOxgUSSZCF3UarN9aliWvGT5D6ne6JetSZ/zlXAt8oQ29VM2OyOsj2PkfrYXE302NikmxRIxBEzpcAgr5wOweT/Aj3sdcuBjEmyUwjMNKHeOB4wAZpY1PMBfgWOO9LIU5Hn4hXLdmUNqwaHLlwPRJ7hbPGpp9imyUvLa+KCUHMpgGP5fKTN1keC/ozjDlLCUvSLT6lQIt//L6Ey++G6e45/3RzKysDkghjyCrlug7uNfBnKWbq90sLINn2iezkN62l6zRbeFZCIRtbqTpNdATVyMT3DE9nTw1MYSmScpJHM51Iw8KAKpfDKPlwCcjKv8gP6cr7TivgCbkKFpQ9v51R9K+MHf2dEyYwgVqKOcAMQb+mtCSNBoHurQ5lIYtGJ4IbXQICOHPASXbzVz1rJDlChMj610KJXmWS6rHz2ODIsGEDWxLTYIZ9ZoIPmDJ0ofBmSIvohx64wzKK7nVNGHn9cAB93tcs7/20kaZaW/FotQJUcTKAEMF40Wsv3v6/BMgCP+jVo1nIWvkewkh0MyQwJgOHNkLyzagyP0QKv4BUg2ZZfdpIjSF+f23/8bGXyoNFkm0cyIsBc90y5XkZu90gQeY2ZiKzusan02+Q6mkGahuTT3pYCmYeMpXcErrA6r6REwyXFwZa/m87yb8f2G4DxUnBGWleBrDbY4PJVFlHQfByAJhYW7aVF2RjFTRJ50pgGCxB55/Y902W51OTZMRHhIW9H0T1DhzKJeFyDdm/whkWSSqRdiQ2JgN8RKlheQ1uCM/Zt652T8KwYxn6N4/h8o8GWIA9xlOySZH1VuoL8YagbOgpLiYDYCz11IxHGKrWvzgk7MTm7tiot/B2oMMMSuoaaq/81MfSCReLQlCgZWdZ5ApJvJ4d35MbMcg8ihmSQgF1coZpxGR3ybIH/qmcUxt0b9/XVAHU4rMmuCZONbNCDoBqm7De/Z+mqFeEF2wcuFPKqyh3huyIXvSwsLVOv96g+Q+OpmRftS60O2e5xjplAsHQORGKLnTsUXv1Xq17v3Qe5Czu6enOl4WIIbPIavTgCNDFZ9vXrugyg31ndRPvvqAJef7ZhQxkPTm5E+DY7ikVFNYuX9Pn6+XSEd3hanWkx+nAZ+CfpOtsaRwvqBGGXpnWmx+VutWCeCEyagumTfaBXJUp7ZNeEWoDKnK2vQzRDb9LptlD3qHEV9uPIexVdpY3HSfM8otSXsoVphGTYF0M7RQnXJdQ78yR4HhD0gj9lD2P0ZbWpOslXAnNEwTfUl8yLsllvan2x/Kgj6RD0l6zIMMPggTk9oMaYGvT4nYL38QJmrHtUCWXyP/ad9zT9K4BR2s+gROfB96c1K/MUqHZQJ4GSFJVrVWtWZFOYkQdTz7Xyp9nE6KUc0WGBERhK6Q26QxW+Z+cHHKVSu+xPL0uLxisvxi82oQMNbfJoMvXHg24yKYsVl6EcwgYIYssLjXnR+IKNrhM5/SvCId1qFBFr7T0lqowP9+2VeL8/uVYn/xEtqNPN/XvFrIbNODsAza1r+eTpU7RjeO/3G3mV8vUX9t0LhDdCfAmM6mlIFA03KDnjNr7yWOtT99xAEOtg2Hn8mxtjh1/e+n/gT0ukDLMGQSzMMTHj3pJ5gHC5BQu9mot/WstJPb0gZ3a82gxKezzYBSPgz3TOEo6KakDqhCwYXZcFG5dvaX5Tzk7rX2xZxOuACRNqWue39MWP3UX2IUYJTQuUcgiZ8Y3zaCrrzcbTqn8HxlB7r+t3XPsp36n0Xm6o/X4B9e9BG6xk/Zbh/j1EF5eY2gRu1h5WM4bKmLFHJeOYjHKASpvrBEARN9kdPguWjTfbFAx19Lgv4ku8+5GtzhnDQUEcBrkJUznzPB5I4IMFYGZbuVfndUhKaZbBLy3XKIyUMLhTGsEe09t6RnzYeU6DS49j1wyBQhhV9Dmsm6AaAzQQEqtVHoTBO71s9tw/1Cdzzu5a9bABqrRpmQDpUXfQf9rBpCqvokJ3MhblEsNf7VjIhe595rQpPqP4hcAVuYz56e+ZXiIgbDjaVXjxnCnGfSlvqZmCTwxa6YtwiqQe7pQZ4UxwAnJICFqbFoK6NlhII/o3Fn05i+aX2k45RoKUy4TzoXGPixrdqqfU28FOWSLKlHqMwxvEIzgobmx3sGZ3u3SzxztlDb5zmR6J5DK/9WYyTI+BpKrD1BVGb6sVP1SpiXQaqmCRzBzlNTW95/7boupjofAhu+kDtUtpVDZtfWafw5/2v1zFYoyFnlDVbt9GxbfhHZzqfEkyt8mrBP0wx0NIgAWd9ivsxtfpqB2QteC480x6bDonxg6qvm2wkGYr37kgvJvmrkbPRM3NQqYcv8UMxryfT3avfCO8LTQnrpPkfzrWvBZ5wfWWiDJivDEYluxaOpNmOftQhrFWteMhJYKdK/vg8aZo8U5Semue6Ss22s52gD9i4LcfYN16dqbDu/20bZ2k50soQEo2remVIkGwmWL31ap8UtWA+yddTEhsucilrWkIJVEdOhGOgZojG5MxQM8oIb+BNI4iba3STx8IOHVIYis/0bHLKLIyfVAhZGvVnxZc0Cq19/4/yAC7a5R/zd3sg0BuUohGNKNhQALT1qjYC7bNZM/23bStosBWM9utKtDIO3dg6zVLaa79yTJWdD+BF9uwlXOo2O5twn63Chv+s51Vw8m5yNZ4QKciACn9NgNcFpavHnD2cFneGPnMvAy2cX/ZhCzduH8e6VBPgFIdk//sBQ8hpLXRbWNcKDsDBh/rnZQ1dLifRsRAJxBBVCgeIPSddEi6dVVqcE8k2d3eDt3VYzuTdgDXmPqY3eOSR/zyhjSF5mJ8BmgO+LQR0uY0foC4YCKgvHqXIimnr+c/PU0cvTWsh3WOHD7Ohd32IDqwT/ldkJ485WTJdtSZtrVOaUmce/B+oSkARefi+xsXHAEEyJ/LIoSAhX1zcnwQsBo5PYgKpEO0mJsZfQ4X2iRBP8KO6khFvji0uoI2v+eGiqA2UaIv9laVurC6Bb5+JKCd9bft1wEALki0Vk20AlN+qqCmI7rNwFPA3OBtu9ZU6Ad0GCSkYTLnH7RGlMMsQi4DmdVrTwzJRI76qj2VN6fZSrDG10nzJnRhkFjwYmXx9vWKlXneq805stR1JeaIaeLNo1Ux+mRtbE7u5Z3nCEURXnI/o1GK2qAmfXsr4Jks79nJI6rt+rfyM03uiWgKwcCSiSzyxAtCmqRXaJrsd9rPiEf4EeVZxNrDpeSl9jJlHb9S6OLop0OYoKAP6JvfyVyga9hNYeWcFNtdwtoHzDDt1SO5eP470qzIoaZFUwvv9hNlq0TxQTTDQcGFlK76DaCtjmZa7YlCsd9fpGA0bEt/q2X/kydAY6SV/FCcyT/qDJnrP/2k+ORqzhaCzcuKAAai0WahbwrY0VIs103GAFPiYD/J8XHrmDINpke/iGgkLXQ0+CykmPMYS54Yqs3mCETauiMzwjSFPnfaO7f7Wg1y4yNakjLo/UlmtEkp60UGX6ggTEQOmVNhqmYitX2QqyEiQ6Cmio9nYofUsHsqZ5ZqF+uvY/AZZa53S1uiQ9AdbenEqBi2dO4ahRGsblVSWlbBRZMDDEzs/sydiBco21l5jvwIT5Es5K7n/oAIdbYpnhtEWHR/DFUinp6WHPmznP+RjRB+LaTYiDul+apeMBhJfIqSwsXeHeJXMt972ChXkxR7wH/5eqovOEl+D+V5uvSWclxY9Qf84tmC3Lk6KGJXLR7xJoVFhh5UNjoMvnNRJDREfzEgIguD2MTb4olY5JC1qlGx/fsR5RJ5oySHB40ZEr+wnzeaQotxu0v+BispRTFww1A409TgAXGOGZgA1zX3K1A17OSH+6zqOC7kbRZ541l3BhsqAGil0w76+WvK58txx2ekPMu709CXPONwTjRerSN2cWS1CrG/b9Jp8tR6ipDCgcKBSyT6NgJBpJpX/wwRtWwmFMal/xBtSVCdDrpyLoTbRaDFjrFa7D1GDqQRmAilBRC4woWTsdYcv8Rjx9aOPOoP5wwn8O6+MCNA5q48kQLNdUiGSGBjWXRrXUOKiNomqXZ4KQz0Wakk6M6IlRnHPqZjS4YKSL0tbnbxhOErdpd5JRAPj/A1qpSvYnIPchPCh3GGGlwQLCG71HUn13MFdtfUn3olDQLWUa+LypJrnkDmM2qmOVRYnsHtz3dW6NMJ3JFpgWvOGcytzaym7Z1omRpQydmwXvk3VB5dGZNKfPj71mB24wAfvCrFKYDfTLFH5qP8hASo07Mxm2AqzTt2Z28bhYhPrC11sEXSa9jYKzEOxXqklz1zSa8aAX2Q3WhFwieEfylq0XQE6zKWAWMSzhpK3ZsVi4TO5ztR0qUCzvRfYUVAhynBS1YVAQDy/6oJvi4WlMOHlTgImlZ1RG4iMjTQjhE9YDc6R0EYUdj8vP2m6EMtqHH4Yp6YUHGmrfH1V1pR7C7GcuDZq1550ayq0KVJpR8dEF6+cVOly/BN4GU6RmoPKF6hzePWfNnWEh5BK78DwdcKif9xm5uCeCsquXiWDD/KNpqQ0Fg7xPA2csR2IvrQkLMM8p6M5FCDgocZFnJ/QuKEsx1iUhiOK84iVRlIXXzZyIEaIOPQi4NdTMYtSPOZONRUs53O7I5bnI8E3UwHWXGTeDe3Wa45D4lr8PgJZSWWFlcJzKgPMNYwa5QMZ4CA6U0TysfVhU72wyToJxfVlZvbLdsdIihlMVtkiSqMjLQojogBsyDTEfSbpNdYeLdryAHRyDUywKy8ZjRYFaMkNxPWgAYVmbk6HtPBIUN/zzujCiE5gpVhaLf6z/WdLtOPyugRR4XuoDZSPLEwnG7Eed95QLc3GkUFdq+ReBxbIsrqn2wBxjjRxZG3kI+ivjHpBMFI48W+BOQ9wFKfQqfFW5Q7O0coLHblzu7sp2NrcRtBnfKnbqofVRt1cvplVM9mhYA5q33KCBPgwJdbVy36lIYULgst8HC+xBWsBgvErRPFDCjOFQ4TSo4SiodvJWgBpCWn08hGm2Azve0dFkcsPRMzd5ldokewFPe3uAqaVvXnGOH+oL9FuH0J4yEFfkfPCYBS4pbtF1KFkQEzKDcCGtP4dUuiZ2osWnlaeG+Yxev1/OT7OFIT1wzGgL7ksI+1J84x2GjypdZ57IsGpBWpnm5hfd4dSG5eNpbdEEWyk1zdGGubUQx8Hj+S3LKfN/RLFAB4JgayIS8XkS5icnC1ubA/bDAeTHK6xRz5WRgrKpGOmRCY19/rDF47XaIe3lzxOo0+6bW+skIFVE4U4CKe/bjmPRuSQlo3GXoC9EknxjrdRJDwovZkhley8c68nEPWNYqH4XdFLZhKM5bHjHqo9JgYOwzT9kx/7q1p5WNpMFHaJE4HX/eYd+Qbf8MU3ax7oYc48r0J6js/aNPNtbZYviHK3svVX8pmGzqDAlnRrhQCEBuWzLx1KmDQ1UJsS6wjSmEU1y2+qMLEh6xUK+K6JJQBWRpKVXiUgENZBqbofTjySROBopQZ9RtiQ1NN4tunZi/NY5yW4hVUNwEcOgOrySiPGgCJZucFiuoNwaFqUaieR6y4mO9FHlJYTuAX2uxy7eygpexWJHs/esN7k8819s5797X955Bz3u+rizMGVnz5XuIbyGE9AiAiIY/l5GwgwHakSKwoU7F1zSitV4Zs31GP2hyuNkmAc4sRT97OfL1lrxmf1uoF0OcE8thXzmlleSl3v0YSu9h1BjQGW2MSlu5Cc9aFKWqZ6/o+zKFCsvuc6WzdZpMTSi1g+I58axIuT8muyJJESWPic0HXubsLeRbo7XGY5LfD4QWFoyfGI8GYWYgi/4StGp6pF6QHGFNeUAgPAgupY0Ch7R2i012Q9flAGc33+L75vrs/dOBZaCBejRcApMRjeLpNfi9PmrRQLwdqJ10Xa/4LFTNA4t57euUsX6xSqU7MOZCfcaqLo8D5+MQVQZKbTOjeFQMSmzO26EOyBiDXWlRzpO9+2VmltB2wDnUuWjXppgHd6KfinT/3UoBiu2KsElHvXoCYWsDAjaFG3qaF4eA1tRB4OO27pbXnttVut49oP0miDbtIRNc0ZfKPq+wxjlQrokG2sfm6nf66yo9Ls9Bole7olghsXn6ORZpeE+s090/ZK0JNhPCNXC2SqUUvnsdppu74jt8UtGJ9YhR7PAI9li3lcYBvUPPobSmmcP6nivaCOh96886w4ujoE/cfMO/INifDEZ2PfV4xXYpLIb3g1K9u6oYHBnakZaT+oSm4CDEuzCbKsnjtMSmyQrzCE4xs4mvFgxGzifr97ObyMAjIlcEwv/tm6DC/lCYToKuFMxE0Vx7dlW3znYxOkdU5pl79yUuTX5zQDX6DGFXA+O+AzWv6FmewMHQyHc3bIMagx0sWPHNa3OntdmvUeNQJHJ/q9EU0SZspFMXrbDkenxLBKNwtbU12SmKJaiQH6tuOXAHiIWvpZ1Dn6JjOD7j3zNtaLEYnr8smBhUoO0fyvHvJIh7M1asgl6MhzfThTR39VMCKJRsGz+u8wPotZYv6ob0E0ZysdzJyuG0xNyNwc0l2mqXiP/7eIjCHWoWslwoE3FGBzUW0MTznlDS6o/+fXE2JKVRrNO5cmRxmKtHqsyO0aLOfaC7fZDRxUC6/1azXx3afkL9nO/OK6p1EVCueRrGqO4BWpfpFVC26f0xLGy/VIfQ7tKaMdVtc/r3xuGHCj3CiPgpmj+VEiKGbL1aVmgkq14olJvThN9YdFXJOWycnF30dTMOqyD++JtZGBmg9FyQrpHEIkS5U2WOFoi2Hk37h8I47plajzQ/A2kmQWGDznrFrImPahwls9gr7ZR570nl30y9rzbvXEvE1zbPp5fDUut8Oii8qsIj2DwsfQfMZG82ckuHs+3U4UJdAQrJSnZaCsh0u7Ze0SN8oh5UDoy+nQ4Uboovfg8sXR0KBtO2UK3S837bVuCUklBTU+D8kXDfWwMTzl2c8tCjGgItpzwCogugudd6+7WDvWFV9G30sRBX5/3v1TWgXBdVvY/AZ9Ikr9oM3W1W+eEAlSRha+Qwq3U12kOfaCFxtPXx+kTZZ/RtzBW6y591rCmB0c2yFcNjzqaFGZ9nc4vmgGVi/QRO3E6srDHdXHC4BHO5LlqAgfrTZSIuktDBUKco5AetEbt5/nOy21P7jtHdcChfmdnBLrUM/8O1ROCbm6wuzi83ycvL43y9MA1jrRIhVA1LrqWHX3L8afWdE5nkUEar2JnPPIGNg5njP6eH2wnYTHhDs7MrzpVhPXyskN+rK0IZ48SSxMFN2Z1PyUEWsnbP9SZ7D1CHbwhG9BTKooQHbWyu/MoyVadF4sc7F0yUN0llkdFwMp6jCMCKJ3iV2hyHhiHixF/ZLxFZi2hbHQPsrvbzcdgKn1ylHeYcZRKqSuWYRp5nhRTfsrqGhw3EqvC0Gd8FJcKEwDs1Sbdh6HmVm+ML6c6VFeMEpVwTtVgwOCQSmVP9MMwvk3//bPwY5mhB0e5l3Hgkq7hvlI6cZ4FeBMxzD/NjENZLNkHfUdq/RJAbkUgHuqK880bUtixQOkN2YKOsr8tXNyudtXgAXFfyaep1nkVYpekmtGtpLpT0YCGyuFLRzEB9j+kRbUtghtp/K91XQ96CpgEvfcw+UYRT0MKsgOlakcdx8jjRg+vOzQyPkowsmApkhgZMKifG8X85S3YRLzFKiVYGGqdAfjLuCrBIobCly1B/YGI2NLZoYKkgwHErSkE4gpLsw4dUrTmxAJjW9iPaQbtrN+AEeXAqJpZTIqMnbhBx8NiY1ippE5oKODqzszC5lrgeHRkPGqZiqns1tZRpaQybd7+rNlpf+xRev3JtYh2Bjzn8VMqOD0w9iVeHMpe+n4+PGQMmkM7W3Tb6TfA3X4wXuwQxaRThwVkUoGtSitjXIpC3GD9aPpR6gB1VJzbdYrd0TOIb6AYuBNoABSduNcnrg9uCdMeThWmXV3UYyQ3c3laaGoGXemSOzGZthqCBqpwmOtA9pwZbNAdJFNDsUNNWla3KStkryqXQOBSYF+l8rNRAxMhX73j3v71tgGyRWJvcVj783CpB/N9NbSkjlanAF3O2J3cWQ3zqElVwIdY4FKED7L8ZAN7EL+ZhbqwWyUHZqv2zNJwtMUnpXhZnRkUWPUp7KDccdkbmpHJTdJdJKCRo7ptjV9cdd9pHFYj2x3NCIk8rdM0J16oAi5uMMkmBzPYDPshvQgu9QGPxuvBRCRgNfT7WJ6qOl976kwRHZxGaQKVp06WfUhX/YE+qs+HSClXVDZW1mile+qDt3p5aHvEYkubLoMzfOthCU4zfCp275+ACEsdKIMRrAFYuqmPoUx8/HSrtbI4sn6ogYuHD34Hp7SxUqzNlhsPwo5IJVij5O1+gv64RmA0H0qvXU+cxGmpMZ3Bqo06tRx3mLDrEakPUWI+eI5iBRILsfD6Phz/zHGMn8KINVp3YHWQ/H87VzusPkyW4rW4o47SJWPO4ao92GiB/2fAe2IRpGdgBbWSlwaozQeipcwx2nWCY7Nh8Om0eHW6xy6Y5VSBrfy/wXTg1DOSDXj8zHbn1FBEST257JBiCcFVWfU5y5maxA/MIYwi3+fq4qGuMNM9bLBU06YqjZa1i8AlK87XQAWz7UGSE733wWUqeTqubtX388I58oXvlPwQbGPb48ZVJLQdiOH/fvkJC7VaN1HrFMnjHygjR4HHfwgWVt5c4gbLQHnl06azGMeLSKJClEsnL95s416JManiHIj/Qn69JCxdTz8Tff5omjFCKUph/IUkxz10YOqu2lL2uQXr83WRH6E1TXZ2C9VGr+32aspCpNYb8F67T+jKEYFw9dLYyYvhWthLoNXmPHLtvNZQXJ+FFR7yDasTRqBBug/n4LGukDaqQPanKdr9pNqxcLojP5aR5pfG7qo4GJ0J9i+At+ocuqcKLe+3b+6Ty2RqbGUHfdZJyH/s4C6PTesg+OFh5U/+e782j2hg0+27egcjis1xIu+VixhcXKX8tMf0Mu91To6uvEGbxvTCbJDJdJ9MlwmyCuTU/Of+mQlSXVx1dAlYyI1/x5farSZgRcf7GPJ7rS6wMdRiNtrRV4UEKxNNQQsNRy0UsmaYkxiEF9OeRQnKxl0za7cHaxb1cjbcdQvUcKgKAL6A/y13oapthp2tDhggTIxJZTHMTs/TmJc8FO0VVSUJVxV5vw8r7w9dLDTrENexkEP4bBZKP0t4XVpu1FdoPGqIPF5Y53TZuyCcvBb08+UdvyeOrAxo76UUVk3fTBQNQBdzCuB15m68YlaCXZY1iEpst93ltlwER//qrtPj3WAmIcR+CKR9ul9evjp7E+aFUFLRd/a4BnyBlU93EtIxBpX4AA3RRYOkuzFvOlEjgwq1YZvD441cqw6tAdZzmv6JgkfbG/veCG25aQ6hKqsZgKTo3SB4XSj/fRVACdcQw56KiueCCQ4TjY6kuaVi/sHxuWW9HfwvYjN2cSosBMNla5tOjyOK583V+QJiCPI3sXiFeQQqiahKPQc08RN76FH6XpUT5vhlrlaDZlbT0WbnmLYFRODhEoFdjnh5Ku3NXcJFEDqP0G1zfdbD2+1pgfqvvT3/L+1z/2CcyvVqLN1iM3F57T4Tb7IM5ra2XeavJ+mOTteBUUGxeHQQQKayo8rVes14y8gAJxvAmK4G7RvupLmugPN2TmPW3YjWuZhbZjzpEDO87TgKfPJ9uxo/P4weJrmjwKDDeGTGuauUoBFA9cwmCLK9y7Wvf0jaHCLUVJIfq+o7RLkHdf3YfN7a6MtAk17GtP2gpuMduvUkIMuE6uSROpKVXPQftvaWKIk/Hl3B+EdpA2fEWIJiToGT9zPz2bxQhLWvT5xVV+X/+gZi60239pMoCq4x/7M40i1/Sk+joQ/KTcP3GhkOMXk1NSP+Lag/qZn7HMUTGZSkWCisj2fyOTsBVY/wgNrTRUyPHeI0fpVwuD6a5T5Dn5jlTnlzYhbkyAg42P3OTjwTJS/rHyNb+41gWkpndCkwwmxXitPUbDePO3gaLeZ1xlUFOi3QzhCw2aPLTkQrjX9NKZxGx2UKaqkmpOP87GhoLHTUILTCiEnbmlHOkenFHUVttWQc/rlD1F8zXa2hIUzFHBCrbBU3+TFsxHet5xMlkVUJWEeM5m722V3Owu9WKZFa4fOqaUyyd+xic/dFIsPQ+Rorend1bYJANuCUWfcGy6qDwpsqJdnkhmWvxuyl1to0GVKIIPrsZotmb9WeM4D9JL59madLMbjtmj9Gclh26d8wHTCb5ssOpXPSoHvHw3wF6UZqkHSxhuUohtAGjZ1MPmyC7fshGUxBNcwH0bKaEEOGh+da8qXM9jufsDJYG1YnOk+m16qhV5k7Fs9WyeyaOSdILfaxjH0kXxX9Tvq2HDR5FrBv7dcSFI20fReZF3F1bkhfrDxtY/qi7rtFT+KLNdALYKWSepvP8ijexyHAbvjK4hsUiC32H0kdVrlgTBs7ha7jmfb+op75edfD2zf9KF0tYymaD8L5LVMMAwzusEkwOLN5ht3rmqGSnynWfo5puZQr72R8eUQAPzT0JN+7F7rPzJDaXfwJOeP3PkmZxJ7+jD3YQPVAJeDtl6Z8XNTj7OCRxxM2QHekvXdjpP8yILB/MRPg5/egqfVtLlAiyQzpCcPOjIyyToUP95A67SaGxnZRL9+9MCE446lcC6lv/UsBZvG/QVK1ajK1mzktAuwu+2WTF/IEj3gz7SJOPlgC1DxO22+6AcYrilLoyEhrfwlGKY0j+AqsnM7+KPHEDdRxX1EkX57eaaPzn5KL74OTM+/C0qokXunRBq2U5uFNKO8JusW6KduFpBfVw/JaUqnKBzFjL+u6XytYLJKpFERI88+ZgBtru2cDtYAp7Cv/CsFegcvigTbTJRaI08nzBazQbea2NTOup00ix2BHZI5yqcZrfTQfInySdMz5iA6LYObEedWcvCr5rV9DsVgG0vElpdFTk0vrADU7Enxw2y8dkC+41zlPLKco46DwE819Ok1ZQgRQ3WgtT70Jbmh9UgvRvUo7BrKrCGoEkQOeriCv3kWI9beLy4oPomW22LRkBbTodSDMLhOMi5+RqxrP8V4DsxHGF4mfOLTE8oZVGgx/Fj7LMWI/7l1+ptJpSNi1XjnS4s72mIh7Bjw/AqPynE3HLdi1KI7V7H7TT3NgJffKlRY2r3m8hTt513wN23a6qthk0+mso3hz2ysnz2YlEdBHkwgqWS3+cuUJMJ2gk2Aml8eE0CdqIga9jpCPb4uLT/qRlp9cB7DpZIOSkia1F0WTjZtR+bj4BAIApLQN3VRKQxDT8INGKKZyITvs41kjMk7mpkINlAW39DLCJHy5mgRJQMJji9mtbjD4d0E3ul6S+CZzrNrS9NSK4ZvdSEv0QPseIrlnS1ar2GGP+ok0R6MT/KsbGbKj6Gy7Hvz4LVZA7gVDGDYfrUlJ8EVBqDAOcFzs19Z0ozHFm7PMwQECxiFqFHZTy5LHFDdIzNFG+5/7rVBmAe0HbThH5pEFl/LTdvt6YWDMQjXbsSsdBKc5rYz7V1xAClR4DOhrIB6ts2fwFX2BTcInLYVRKTqk/fCUFD7wbjL97K0FwiUCs/vOd53YbmZXx7Vd5mVphKrlOnvsZ0rJB9NwehgbKsTFKcRgIR/zV08TUjP76pSbkAsMVrgYlGuB4vWPj8P1xTX0HuuGRJ4yfR5phW0qjrBOVFEQLNKYhug8RueTwtsQnsrH6rz6aJSj4DlVkHvYu/oGEY61zlrrRzJKB1lFAABlI5FRaAF1akoUrz4gZRkjBUoKNVbtQaYOlG8eDkTQA8J7MpF00bJJvnwDWjEP7k0MRULnOtAaieKraojDJDfGnTfnUvVMIvAZxEcwwCOWQbcQG9Cb1QcvqwLyLrQd/dMTbVOVSPnUumzAvNg03WT0+crjamCG75O+VeqoIdqXYGNdbF/ujaLCfC0tp6hrGSHdlrbwe+cldhfazxFOoNFItcVPmavRwL1eb7yqVHFyKLLzZUVa4Vf+Cs7oC+EO9RCnoR7nWbXY75YihmJp5SZ590pFLH4RXYDgMVIkArUR0kAmBd5fcoswiKkRtjyCWshzdpa4YIOPO9va88YyZIWHKU7YASSZabWDQRCz/+RXN/zBy1C1cPD67ussG9zCBzSpfPm7pF4Ks4P5EOidnDiNPDE76o6jMkYJO0U8Lj3GCRAYJlLbOa/OmYxGvI+uooJ07a9ZC2BGtzBs7NNAt8DD+20A+/nhP6+odAZHs0IEOk21xItnnZf5wfi7Udui4SntVAWITJNPo685lqX0Jtql4ADEV6lP7Sxl0hWVrFV7LPUvpKjHT5F3SWI+mCcDPUiOoU3A/tWTOn/tVI4FxCOs77ooOY8rzqVZEDc4Ruyjd97xN9neSU0sKPyf+i8jtZaYoeA0ika563wD4Ags9vPaQJhmZnMHmLTQ3IwFpeBf9kkhS4jGFkRxZTYTUmoXqZCKjvCDjE/2msFiTr1GG1VPkMM5+MRGZacbwzq7dCR1mKFdvz6TbBHP00qpnXxbDzRLiRgSHgXO6LULbJWb0hrd4xssKDsQBMw1QX8BMTijTSMHqULp21zl5MR1/vACGCTNzV270pLSztw6I+DJVb8Nqpb4EcTxgwRnU6pxqHA+fwnQuYD2QgiWuZDvNQppxSwfAWRkj4kz0fdspMBo+frWb64TTSxrRaGm77hqPkVXkT/GuUoev/UpH8h9GC6kJvYBw6dEqmDHtWi6ycEVc/TPBQLj7rD1kMKftF7MVEPtljICB2xm7HEoNXShVXkBLUXFLEIhabUT2MRg0Wq+L15um2iCrjVxPm43uEi+SaVIbmHyWxpBg1Ta4EB2TTll0YAmr5wDxGv+PSRdrNufMZqcqB2c4ndRCUZOdqIhodmJI1rmgqjv7yYcAW/6S6cMxRrBTjb04C0nUudl5G/bZ5xOBD2AoCzT4GJqBXyZgxO7LwHlSQq7edBCSw3wxN9echG/4xR5gaRpHPrtsJ2uXErqTQQvZz+qC21hBDpVt320hApwfPYradywF6isoJzjnk5tL7xACiFP0EmaH4w+VUOX1JOHZhtrI0gtbbJITMTlItdEIL3FVrpgquehFp8I3NQUm4cFfHOrvxBgBIqcUXVBvPyWkU6UeSAN4YZzk9w2knxQYXeU2MWcizc4d8E8JTZcBq7WFACk5vgQw47MqOJ/L8gGBM51ddzyjQAt3sJZPAtz9kxA+GgfutHExq5d+BgMyNwRnQP7zqsMDsxx2FBjwHTD4cikTtvkJzrN6wajPvUx0v8G+QOxcz0sz/UZ9UST7LoWEC1DlkDftl2qH+E0/NJL+yanQJuGPtQ/yF75PmndMCPnt4PxA4dAG8JD3MnNfVwph+kN2bhIO3iNOTWCGAn/JfjwRDysv0UG4lvs3xeqN4UpmlyXzLClBgdA7rT8hYfTuIqcE1hIenhlQzVOBcbtwqQ0yzw/b472L0XE6ybufAeKMhForgVqI5qCPo+vNLjjtWhvvueRLNtrWQalonOgAppmoM5w3qIpa/NrlL3UT2OO3cOCy3w+b2wtOHcVXtOpza/Dv6sBCSTf4ow7ZAdKP1757zNvaFkoLu88xu5Cg2OEfYPuhYc7yhrg0T/tJc1Hhkucem6yUMs8zw0fSeO9G0v/NmV9Kkt1joida8Z90bTkfJ8cGvFluHcHZdNOwAQtSRzx19rMLCrCG2x47wQbwG4OqknWoV12sRhx72o7cP1tOXT69BIerLaF5VLwaQNUWniSKLii+2gVzL/MGVrt+usSOpz1ZlvYRQnSw2t2qnYHP84guETvmM0OHR1U+/M8UfFPFUGySjYyyLGH+07vfW33FXjUckWSBVNqftpNmxME7CZu0EL7dqrGhVzvvcuCOIkcHLXHm60ZYrInE4sEQnqSXj7iBp+gS/ykBb0XrHOm2nnHjIrnclWJzEMGIGaJHHlA/0+Deko03tFnLqEv5Xh06JyfmwrHsIq/Ppp9GH6xMGsOxYIktX4bNXqcbGZsTY6h2v06N0t35vY13kfwGkbJLdsr49f9E1qQPYbVuJ9G/5jSmVsMVd8W/Bncu+CvhpK2L8rJFkXa480ZVtOsktJGOLNJnqOZeR4jOmSS2hn2gIgb04RH/pHNy331d8hLIg7hloDkJmWgOK2NL6eaLpy6Bq306+nOtpaVck4V8m/a4yCcEVuY9oPlzNobN/AXxRzLmPZ4k4uZCrAkdyh56IQ4Yf+LZi2c9rOjOFHlKnoYVHw4WLBFIxZvm/Er7+pprOG/mu3tZB5h5gqNcrq+jH1HuTlkbGQBXJp4SkuvPT1GORMXsDVayfpdDG/pZpQpVpwZCvXi4kPB1a26q7+iEqrRfOvISxt42n/gdkccgnqGolhgKJTH+sixvcZjd+BtdbTEYzmNHc3Hryi9T11Ivh3TaJFMgMQRXRbN3rjWhDtgAeveCToYfUM7MnnKI8rAOOPv7HpAi64ZssJ3IQ6FhUIrTB9q1GoIIfmAFoH1vS1+gkrAbbMyocSYsmhhC5yablrXl9m1Rir05YmKGHvv3inuTfRwEf2R2jkIjHGvr1OMhGuKGwJFUvrJfzwEosuDNHZPBPKFdlZjutYzwzfAZjl8TMcma7pyReeHzg6xtZhugPq1yGtCSL86xuo/MmQoVz4ENvgd91p4sSx0809SSCbl772bRw7vYfxwclHG8KHhk4s0HjPRMaHyAybMz5aFS5C4JDlyljoVfcmdw8X6BgV7/H8cj43NsMnjhpqDSaVuyugfk7H8oF29RZjrMrp9+dXSK8UzH51bbo+P3lSsR1excDfmd3/76euALRo46OMvoYxfYIJDIkUhsWqakT+FgJRHodvKqwwYQeNPtXr+pZbxpXGcs3px3+Ucmu7iY91M/BFWPVEms51PJa2siZ0VM3P3hcA535o8ogX2aJOoGYOE52Al8LCAhl0uNGhpXthZkKfkhKeD9rr2KPJiNXCW0qn3lm7a+ImA8UpG5l7eLSQEidBOaMqhFVq4sdQ2rPszBPqcfMsIaVuV3rwcgNlB5EgmyezdFnZw3trHh5XEtrNBSM+ezjm/xhMCdlSYCTZwxDK2MuHoV99MgcnjEcE+IuqWOt9BPU6uzdcmrNvoEkdjIpScMl4xu+1HlR3XSaKi9n22Ik5KHRYPHUYW+L5RNOnGA6lTWgbzeUg06Q1UX9fEQlIESm5iljwHp89xpkdvWF/HYumbg36krVm8wws5qjv3nbrE0RYEoN2RCaLaF8BCeiyKUXxxK+Nhx/vLijMRWvX0srE0zfTuV/caz57EVUaVAqnEthtBIV9JQCGk6drXJ1mhjYlYKA4HooMHM3dbcEgsrokABZMVcq8sTdujweIhZuGTwKT3kZl+d7mTyv29mFAU6M2Yx2PZPauzSGzx5PtBlE1IQK+4O5v4a989ueauX7Ub3c3svLb6AkHlc6guFSgQitC9mA5X2vyIVvJiZpthH8rtjPbjuHQsro7tDs+6o0fNqZszuCTAa8YZOImI7MFIcR4QCmm1xcdD6nDtw3H1nIiUMX1khx97tD2xH/F22snSf7x/kRN+qZEDgThUdpZwCGCRyfGDTP5fr/3RerPJanlDe6lVeKtmiktGUUqqDMoRWNvPUZhedjDLTHSjQ8q6S/N9CocR+88MZvVOysHVg/wEag3kR5/laj6Ka2LrScz/+02lhYGcQJQHx3b3gAE0eF7446mb8fQT4Z05X15Jm5TLkP310eRg8rIthSz201ZeyEgAXaGDJNAQTQXv0Nno8aOIIxT/TIkApuvxizJLkEfgA9HiWEi5AwGvQo1g92ledNrIaUy0tB0UPB7pND2hHMQGy0lDBJqRYUlZrxlaNC3zRRwYO9Iho0wNlDmEuBxcmCQfM810CQwhp5U4qmW9RXotwVLzBX7Jmt7eKDT23f3DDzk1MgfaCluuuoo/xCvesYpcC2CqghAAd/4jvYv0nCIlvsgRZqwlCZRZZcMG0IwmzW9O4ZP3dY9RErmOQCZZbgo4cY0ib6TRsaXgYpCJEt5p3JO4eZ/EAQJH1UlEkxrI416w7I2I6ownblwiByljd6MRo1CKaa6j9CFQm/A5YDqcgwZ2pRS1UkAvUE6WFdAU+1++GbreoVXVBU9kRxQ2q71l/OEWt+DfUUpWY3NAiMM5BgJj13GUJx+J46kwfHiKr3QzoQvSaxT6QUGa0NWJHtvSxYL+PWBxNdQVjdgtvxTrOnC1SfECF3/27Yacvs7q6hjDugMudi1dE3SgaYhxVWpF6h4f7R3GueQB7slmqBDIo4XHSS6v4wvT5vbAVFovcb43Cml5y67lEJT0MYIggxpkOb48xXQuFceDXBWoQEUr+V59a16kuaiIFrqShvRarNH7lxKOADNcbTokqT1bAvV1ZLAVnj4Fh+y7/g1+tqNkQDaadh5qjtV4jpHd4zpgk/z2eI+KnyosEshegomDZizhGOh9N9uD/1NtjJrSs+tyWSh6kGvvwaGv8kHYiLmowI+JAxEGta/a1cT7HfXKIYGY3FKRYB8pV+kpbzWp3dKUHJxoCKLw575QYsxlRWgMHk2Vyxcu3x+MbVBINF8I7J7x6NtT9p5ZKmfFWjQiuMp+jzTQcj9wivehtTKbG6dpjhjvFR7W06xxAOUS8Txl36OJKi9THR9NkvPcPx/ZNKE93vUlylHuy8lTIcWSEFjYiJLPNnS3lYTuZAgryguYrq9W2Dz1uMVC57FG5n4G+uAEmGJz9RVBGIsgNo7xoHtVUbaMXp4i5hyQ/+F0SN2Rbq++DX9JjLtZopIKEvHA7kLRCMSXv+SB+lV+mNMH6HUOw/f2wQ3OUnMMMZ19q5GE6q6ydorskVIbQsPMj1/Wq2B0smNTl0p4qlsG/yNlVtEJtGy0riB9s3DtKcuMq5b1B/+lpIlTSDXB2PjzxP782qIitGaqqSaZJKFzfI/ATjpVr7nVmFdtp4WvvU/BM2F3U7oKZKj/DzyzTQLGL5frduoJRSqvu+DdatN6NgvN/rGUhJ4R/iYl0NHPz35LAfVVdLbf3qrQRjkfFn93ASIc3AcN23QpRSDnZ5IRqmvKXdGdWETpw8omo+gIO85IGRliep6YtDEOcODdguoBKiEiOcPaWy2xBxljBFiyjVhDdRDa7lrRokFFLDSWqcKG9jt5as26HzU/zis3pQILAtGUUxa99ojjx1gOVw4S1K+EU1r15pph9rAljQwNsmgHR3+NDOOWjbQ2VfiCUftJ3jsA+9NmviVxKq2H4oO6/BizD/Gms5Gj0h7vczhrIZ4uKIyaJ9n23C2BnawZs61DdfTL24fTNeqTNWv/tEsV92IW+YzojP5tirBGfPduPt2A40uIC3NJlo7rU8kb+fuGKfaLwx3x6v/nLlWh+mg3i9wQcChZXXFLorbdVzenrlHCazfkM6EHpNGmE3JmYlwb0C/DzApBpGJXCXBIy3TZiyPEcSRVfFAEa/TNqtqYqXgUqZzrqc7fQ3AqOIXI/ad+syQz0diFg4ySb1rZRmKSKb3t14OuHakwtqasL+NT9TQfslJoLAp8N+VrxZVpCj/CAOIC4iggQ02q+h+vkChTFJcC4R58mUEYGeZSAuC4SKFmX5/JWJj0Gk6oosAWtwaFE7lFUCKNmrE6LpdDvuIVX/QAncQt7Ak3bxyZfeY3XcVTsyv10Dn8sKneWaNWWqynGjDg8j1YKpxEAoRaL9O7ux+I2ArPhMEo5Z37Zic7ULmg1DbQRPwwH1JAknA/dhDpFyGFia8IeoI+yidLUreUbHavqtCuwbr1HYtwLNgjp1HcrsR4/J7+194e0/N0CEmTMRGiDDL7IIUoUGIuZOhMEiGVXMcb5EWgPNIsEUUty2oztSgNj5itz8ECdbMlV4GNYDuL/AhOmrDYFpXiUN5PFHGmg82haY3LdKzVITrLxKfPNp34SmHWWmpzR3k2OxotXf21N3JT+aQhpxgu88ds9DnjQOaQtHp8IS3fy4ToOCEn4VKdiK55dkk4/IFfMYDJxT9OkqxoE2kfAnOe2npGczEsiaQWYdlpItZyMMSeh7a3s2X0nl4bwr4bGxihsW1aG4HumWMqhXbtN0wwHkP+D4XGjX0HoAEvLM6Q0ou3e7ey2JgHxS1DXc7mn/Yqi9F2j3z9up8faRdCdqY4SvWqJpijQyqKN6dqQPkHPVSDVSzIO00pQhVXPM2CpFgNTReLehJu1StRb0t/9iw6zMtz8ui62l3WUtgUbcQOsXiLAqBPVehvEIxDhrYGOnfWZYtY1s9FOqVIqufKMNofklt+62u7PH0mLAfIqhhL73Rs+FuOFW3Y5UXbX5ZJLF8l4dbT8yz0ArlT2RRwls5tXPIOs8I9L3DwYK5ZKaOcLAfVh4L9aXeqf9necz9bySQJ/KV85fEXvR45XiSpvh7O/l7iQK8NjHUI8h3UFH6Zl/5pzfKTAZa0sfpuyA2nXPcaP//W+8gb1refbBIDK6ZQslMljC1AmkNxxa9NjaSqHP8D+Aet5ZVqDJV0d6WsMGVqvZKNYvnBjv/R/+WsnE0/X9g2vhdlABJYTMPjlshiJBnhsNSHl3alI3xqiU7x9Py8m1MeaXfoNa5HN5lTNPgm7AimwMrSkewURLvv1FETjGre+oOqSTyD4bg0MM6nzOnBkXBmYux8kq/SzRuawkbIlGea9wPmR9JzDpkVBawVDWKwAn5rValg1rTCHuzdaIk7A43VcnOJqg64530rSHquYeMlcbN5g1qtVGBFEA16hZi3oOIg8g/zsBtaYB4pnZYpaJYlPXehxiAxH0taU7EikYr1Sv8aU7Ma7qw0CYfBVt+TVcmwGQZmg+3P/CiC8iz9J99amj+U+EA19ReyecRq1o+C8Rfmdfsyy4V+fcmgfcbNWCTjjRZPoJHCWQ7s9Qa2d4ZS8ai3BjAFGqfN6nnTMzNCsTPX99BOnHjugLJpSCIm8Nt81QQLhNiel11MTzfkzFNVyljkDBS3gtyHRHrq/PalEJsI+sxjF4MFitai5j2Ksj+c5nzdxNMWJ6lF/4gbapT3tNGZmAEj2XgngYAU4xsBH0HFcUOBAFQYfmAezxzoCf8D47tIRYCgVEBp4m+XKzthfzaiNc5k8xfUI+WUFREt5mZE/Lt4vKCRPNqrhYYwWih4rQvNqfwsRCDhQG/IGsNxtu9Y7bJueQJ9ieuMGvk8y6zAzusq1P5TPcn9xkpYyIZxQUtKFuZItDdjKOHMyDUTogWFtLTDxdg9v/rPMt0fPkoqtPahXkNrVXHTqVEbOr7F+Dqi8Iz7IBczRfTVR2qN/bUD7pj1MiWqVVi1WeI+519hyXoWRx7wZWzAijHIIn3HoSjLXrz1xtqSuE/M1QGJ1uRqkBOuOKgPHYSU74aydmtvaPo11ArIMg+gPzzeQG/vZRWuI32PVDQEk101ey2LtboujMwo/l/IpLKqwB/6L/DQny6IMPyw5QvyYt5Sa4Chy/ciWrpbjHqbF4lUrMlafa/8DPsUOeMztpjYgZHroqN7VekGi47rX4ZKcVN/Fj4e43QFXzURnWF0ETH0J2PkfwlXdzGAar0ettNseQPLOjLGJlBxVNfzYtYUioMZ4Ct9MoNbqulc/MKFyc9GO3cgzvA3UBIQs8opRN5z0ZD2k22foIiyG9g0jac4Wd6WxEu+w67fpIJ0GmDS9lo2et2g8lBhmcj5vpmKEhi2SwMJ7Goayu/x+77epo0ZyneI/IkyLavMxlkZDkqeq/BN57s9KoaHMp6cJPNRAKg+RBxTy1UCDno+KMiFAbzUWuuyteHV5omxyqgpoxP/Aa5c2aSbXSERl3JzwBXdhAqNKwWmCSzn+oz14a6EqecQD9XBNj7EnywqBZK7QIxqoVXqBHdSEXFH+8ybttTOYkQIoTJXixsgsYlOqYLTOsKfoDp5nI2aeS2FQJ216J22u+4dJZSF4+kBbohQhwZoUVCRdYQJTa0X/mBeVhFIi2e9iAOqvVdrOMcha09KKvzYcLRbKEiFktF+VsirxinPsz+EvfC88bMR2UrOC6ENfxplRwap2jQ/rRSz+FeWLQF6EYhPg9Mhsas3NZStOKKDy9UKz8P6vWVwX7D919ftCxtP/3Mep1f+Uc56BGe0UlvlcEnskbpYuchC1+hDVu8QfbORV9T4CPGtqIGX3UGDNKclDBlqn7OW2S9ksyzVYMXN5imG7Uo7LAV0Ui33bOkSF/11Javpjkei+AmoLEm/CP8kWq3pNZ66reBNYYTSEZji4nQe7+BZ0LsUnSB4CB3kf+pzyMfMX1bNpUIiGm7WPtnRZXFCyvy+77p1KYslLpaH9/mDJMhs+lh6LNkoYQjx6zDVevgBdoRdPEvLwjduccv+MzCaZ5Jy6G2NMC1WzkpwKa87BozteCFdRhh2FAfdFdFC5vryYlaFspv2StpM841LsKjEEGE9Uzdr7exRZ7sNiH9rCwl50EN+WNAfVlHudQjvdlC1yVydAROGeZq4GD0qop9o88oI50gPllNhZiyXGoOhkhg76LFE3vJYn6/XTdcI11bQWOOtIWiJY3T0W7XPPHx6oPMLPV8mbqflw1oQJFKu7d4D4rv9Jc3zscp7nKmHiw4n7r5MuVjyn90btlBCaR2wpz9Dkf71eLwFiF3iVnmqRBF2V+/AuXrnRnLAq8hY3pKe9p7fq5HJgM2Ot9KMu6BO9wLLHb9FpnZEmdkefVKB65CWRKCrljcHFAPNhr7HMSGI9t+Q3DlQk7rKjsDel7VSGS3rnzkB1Oz2QHId6R8I/sTsLVNrq2O8xHZC3sxAMC88aCje0RDmtMfsLCbICAFJrvQ2Lds1zFHGW87lRxdU/vgdpRElzIliJGfDwL4jfUAkpO3C5+bH/bvbBC5asc4l7GGZcF6MVdb2Xibv3Uwk1zO7FNgwelhmqc6Y14N1M6qcnwCuS+EZCkcGnVlrERjDAyNDbc0QNNaQ42gg2fW9/6qiua0BhcCfUTzQu9ZSfU7kGaxuAXnoGchSSvK9fftkBlte5fdVZ05JgKfgPLClxOVqYQkRVfqC7jsaweYYQiz8+p6mCHcnXsGH62qjhlZjvXR1RTmXYPUqvRERPKroZfjSAq7HWmRfgBFeWVPYlqLztq8/OE4s8PDlkgJY+y+CcYO99A+kDF9m1tMtqhkIU75rNR3Z5Lcgu0ooRmKihprukf51gww+qCbXm8gFXd0OUeCeJrHd3SfZOjIRpJNWo+XDN58+46vUJVquBraW01b9rIgLz920SzRJ9UmlUUGki95aUL+acXiW+AuS/P93+lJe033k7N+ICT7tILTi2X2nyKuUM92zo+c/NVZpQBBov0o2+J6UGtcA+Ogf9kyDC2H7RmXquMp6QW1m+Z8CuxxvoOhegoJ8rI711/m7Dg/DoGvUTa5yW8LUE/W00e7Ldvpu3QWwBW3O1inapRfnylQcBvXLozLm2V0I5tC7pZzXIxet1FZCMPYLyZzZbV06HZuKx/zXIVV6yRUOfgSdG5zYfgqPIPLQ7q4d5dpcmhrTwOojClfE8PQzZuqGDODTTXn7t2JYu05g+cD2BRkA+cTR9kCmkAePJK72XeRSPs1ejmQz2YTDVqXeWkbIIIzeAZp/h8aRXvcBbgRaRNFZHolM9naD1Tp2Auu5z+MoCzSGCdD5dlk1AK7Zb05Xw9nqyhMDWlOPEJLdCe3g/CWeblkrGgLTQNpRIiVqkLQlRE+ZISGyJ4bGGvC9/C7SHEDU+JftM/ik4q5sXRhUEDq93W7TaD1FIqY3DxQl7xmyCbP4R6OsObhRzeWD01X/YBun9GRTYu8aTPLIUOTKOs2CHsZ+fkz3mFHP9oHhu3A7XegIJy8VcOs3ZPKYYAi4IYQK27KYWtmrEt0maccBT8Ahnc0kQg9n7tfNr714BPirBqKR3CtXI+amx6HYR9Y+WQ0OUt4eRoqcH+r1H1blpqFrOLIdTvw81asxM8/38vpm4oPESeacsTg+c2t1ZYSFvYsU5aEKoTwKj3cdNSQQXB3K4TF+mhP6a/Y8EQTMcdZxN8HS0K7l81Q7GvnuasAjqdL5FDGiM1VNSa9o3buOrQZ3DRSDZV7HXuR+XFQHuM85ZYRZ3rm9UykVYyFhMg/ddAuuDSHcZurceJIvZUNX5kAkw3aqNwp7rBWO9DYGYwMiGFQ9o+smPr80WAwK5RHkX/nmWOylCzmKECyooEk8SmXTth0Pr1yxy1nK8K8v/K2XW9SCabe+GtiJKReMAlFGcYzCTKBs4nD546WcH02YTf4V0n+SkVZAs3Gs/7ywbI2DujAS9L+IsXlyMu2F2f96uEjZTj/JAAW8lS4vmV8cq+gftVwCnFfQQKanBjGQDJeg1gr+y4QbvjDmvC8OVEYhE1IBhpd2IWHg2Bm6e0H2ksO2/6+Gmn9hw0liQojzzTX7BrztXzttKgdwUk6Zz3Xt7bvp7CepWkYAqEyPimXupEdwAJ3rdKksrqls2/OAFo5G793ocrPZ5y/A2WBjiUR/4uX/rhZf+v/6KiZagbnF4lXyEPbqk20uYSb+j/nT668725TmN0AHwcJvIxL2xcx/dKHEPv90/k5MCdI6cBiEzLpYmrz7yOXa+z22h3Oj6f2vXBsX+/Rnp3kfP7hiF4+8cg9evucNooxUniRwHWH6U3KwEqX+FKIqvxqZPZ5s4PUORhvTyEhk4qAxtqVwCZKzYHKAdzW+h5ueNqPUCeaA1YgKHLirrQ8xgX0Who6AV361HROeTM12dUo7gyO55Uklwrk6OiZemL7zE4Xs6VGA4+epdU6nmdgdrOc4M2d6QgmjH5pHTsD3yeGciuly9Vc1HgFYm8Pj1tc7t6ur2GpB4ZBjY8HH2FRVFad0J5ThnewkiOU0A8wqx37F5B2HqseF/vHszWAYsj3ODQ163qHvBgKgcgvYRv2ji3LsaC/cMFCl65aFvkizGSHAkIBRmZtT5nWP+dTBgSJX0sznovNicX07A5c7B4hUSZTzuw5MXZWpVt9L8m+VKJAyNIPPEY0P1MLW8k8OhhQgBLNEXE+FxgRBP/dar5fCDmMY8ObGb/ItNFcXK7ShEF85LSsXaXVlYgeCZcxccYYNUhRkiTTDZErGG3rqpLrMiUrppqJwJflxOzkRTyTT6byXtSXoFTmR28/+gYT44QaQCtQax0HhbKAHTQQ7pbmlvFiea5uttm4lzswo84Ca0UxHCwtwBH/iRmFl2+lyo2lUqL72aDkkr5XXbMj3JBuHF8v9/wUYKch5eWfRToop6klaZkV3NtC0bJjDfZUoLBbTJzN0/lXDafGjKuVdos1psPmcaCHPeKLNcfCPynRYo57O7P16ftsYKAgOWz8sq3UhAklHU5ekBLL7gSURGeNJIfi8YBl/l780Zhe9WerVZMbGv+9swd1uNA4isGdDVdRNxhDJQh9qNrx0FwLm0S2IXbTPMqKnSUkzx/XKKkYAHloi72AMIM2OmAygUBlb4iSgqKD2/8FM5csrt+vz4wLmLF269czUAYuIWCYYS/zGPAJimCUJqU1VHuY/XXuH5iFOcoHuO3mlJfshfRFKFO1LnAMTupRJptzrUf9IVFEP+fPLWesuVx4X7S4YGf9bn4uc6unB7Cf9JzgQqk1SVC3qxp5Ih3RkLNagOlQJtTTvWgM1y7TR4GBeR+mOGaW9zNCtir0ZVjZrI+Uxtkx3aqPRT+KGve3Hct6ILm4Fhr+03l+Xm0lCblqDdhiGE+LApTgYvuTaRfXvcIAsKo5FylQL5AXudPL0NwR/otg5UmCQx/lgbHserQuEUk6iutkhGHNS4aLIxCYlZsjfdmrGHafy/1IX4RHa94U9veDYDtq5GxR0+De3M/39HpAyTEjFrAPOd+2ddFse+bLUmhpjUk+ZoHcQyRFE6b5vaASYmMs3Rucyxqj+2hR+YVGWRjAKAaTAwmBFvqmUaSE1Qv/M5nNlGiwIVa2qA2FrYSfALRyLzUTiBwDGl9mjhQIKtVSBAmGiyZuJZSL8aDt7meZv9fjAFHZFiz74ddimK4JpdGczYiuHofzm3w5foZexOmIpQv3ZWjC3eLg8sPAmhQfVH8iqE5q8lz4K9JvgoD4N4Jxi9y2AWjVqkC0qiVe/O1RquyoZmWWIsNTF+w/vXBDzGtfySGZedn2H77fqWHLlijmfDeUEohgEEA6Y8k49G/LRaAI82Ljyl4pfS5Rony/Kf+jmRh9gwEu44cfoAXuS0CrbM1RGAS1UqBOTTobmK6vpAmHW6PllP+gQUqMqz/E3ZnGnWqzC4cbkZ6lvW/VmkgrCeVvwvqJqgWYz8EUSh3vb7UhdTv7Db3kIvX0PrWIPkvcxUUeR8sBpEobgMbOLSEPWLLoSZwtu0/l5v+RTAUETxFo23AV05Ta6bXyi7Uc8jmea4xbCOk2clv35M9UsuubhmDONClpi+HIYuBlQxCm2y7fUXAMtid6RYwqS8/j90ubn4Loxfo2yw+ss27gvdjG8fOGLDU1+weNSe30oG56ai/H/9rJ5Ma5jidszE9EI9JAjLrItdd/+FYHg7dTp5NxbEmqrPhhzO0phYAyFLA+7toSfrbD/gd9ZEog+APhNRL7BM/59+kHGpA+QOrwOrMghw6BibMblUH/ZlYm0WiOCtFsGFTsAd9M7JM4w2aojnSs5gCt6ABcxC5ftW3ZDhOjVRkdo5QCJS7Yx5gV66QjD+r6lPQD2gJ/VuIgdwKGJDd5cb7yIQ+MwpGJY0umhXbPpwneguPAXSWNVX5WIT+rok4qfjgcJ7BqrpkYFkLKpmB0bNnf6Gh1ib0MsAgJzr0il2T814R3t4DqSIHakgXApEBf0efum93IfK85yF+/K6qMP0zTPnW4hG2Tj0VKQiPhTLEklbbtDYVtOyuBJ4R308xng4MsQXha7QKbTomHIypbXbIMMVP+jKAhxuZVqEzJXzWryoU8SHeO3MEMpFJnA3zp0rtaujgFPvLi48VVo4ZiZoh9eae0ldy89MQ1yGOkdpc4jTkbz8H1v7UKNesjlwgNqXF2sBB9zCz7hp7tXBomLFMXpFD+rQp47h7ZEZt/3V1ys5lCF2ydGzV37+IAxN/Z6lgZIrXc1dlJggVVdkWV/+IU9bG0gHNs+uZdEqGaNlc6+t0a1oYNS2IYKJN/XDodtEEnddXPr5f3uOJAMfG794Lt2B8TfZ8UWuO86YKj2TnXNxGfeh02aGhf+hqB9O1YmlPR63QyTT/kjSWWXtjmopVYztIa1VqH26kHDzmDeO2VsZUqB441VLa+lw4vAI7Xw2gJmAdDsDvI3DnlxlBVvL688KibnSVTN63fU2sfrfvRjZRuaZxRPCJVlr5gU3/FPcDEpmE6k4QhfWN6BrQfF0YvL3hu0mfCpTbraNde5JptXq3L2vEhgE7JEABWeWTxQAnXxUl7L3gnPFC7jS5VlmTYk+W1FR5GUaQ8dmcEQa3e+bBBaZA469gVSu8vDekjOACx80NbAsaplF24gvmXxcpc6EC+MVYUKuA8LXgX02ae3aIy5npVW28lVEEgH962V3QgSirBbugKtFjLdHVl9gG46a0h5nKRC1h0CKddnXigFpw6CemvIglgCkdrlKdjTTiu+eIkYjcvBkQs0ovNg7teGfMLeP8kee442N6/J40PlTNbRXfda1n0PM4FX58JSE25oP+rVaQIX5riDQjs9fbhppXFk93IETGJ+Bfj9aTIO7V/ZhfQTxD0OfgFK/ET++IXEChnH/ASxJjy6PhN49tjr6BHfTo0rPbuRdVOGQ4PD7Tu3dTTvxwFgDjPoxLmmOMcbNKP4Bp3Z83Y0sDU6O8wZeKuNSvfEe1A3duKsAEisUQWcOWXKKJhi48FCSwAiI3Mm7foGa34jZYp+rZ7Bcy5OJrjAw+H0BA2OEg3HI8aCKrZfRQZ2/7n7uiRa8T7SD3q7YHTYv4OmA7dEXRQe/lXFFu/mOr5FzXOISxCdrOExC3p2CEgEScT4VFTcpdU43EkNiFOl7Hytzff5HHJYUh9fVuapphqhAgHs5kub1odePaePMK7QNaoinZHf1SKFldSiiITfo1dEtTvlOXz4ZURhYZiQGAtCttHG3LoXQ6qcRr2gosRa42ZC1vy7LZuKrx2jTs9XFu7i5RpfNNHqFc6pILMvInhkBPv9sd04zJIW2N7uKXtfyxATuSSN1+j0zf04gfVacHcynMpG057YrXWJTFbwLIrP68PoINXWFt27Jb8nW449YRNXeKWKtfH55X8gp50f9nuFptTnL3/pfsfKLoUfOKBJkyndu6dDZmf8XJIT9UJraTfoAUPCRK0oIlYNdyLoo9PegVpdXwuemhh6ZQ2VkjKt6870+6Bhklq64PRjG6jIfDNLXLfO74lRvxYqJXSAHrz0eGh8bgGwjdkMMg7Jw5DwDrgAbbrH2OqANITI0IcjrL6S3cXivz7KcWYFptZOeeABazJQ2Mv3TuR+LhLESzKoHjzfHreseIooeEHE+NMfawx7CGhwaF2uhw0qcQrjgPAe0lzwTRfEHMLYdPEqeRDIM86CUx9h6oyPhqpiwf8QM6RBKGwdUNSmbt/3ZznlEcKcrAzps2J6SBRin74fXuxUlt7YuzkYjaUwbwsMXC4b56c7yazROQJX2FWXvMQngJX8SDPZseCflZWaVE7OaE+XacWsKWJWcnWGjG1joa1ENHCy1Z4iPxTuA8p3E1jgaFBOfVRUDP+zmO+RU9Kb955pXW3nlToEmBZIW7WSnn9gF/INjA+gi1CN1LRgYmbCm9bcbQnPIigZHp+VHyohgk7Tt9mTA9ZMMQ1zSp/2u5rgWE7BeCSWMN4grUpSgYuFDhkluvV7RpggfBSiWHBOoY6h8Tm1fXPtMOBGzqBv/erbJ26Gdr17PIhARTZd93lW8LKWCpyNrEYUjrAYHEyTwInkBJrdo+5jMMr4e8ucSEy2Z5OvdhBOYLNNTlAXxW9vCAvKrNB5oG77AkErf2ZyiocrKNZ4TksZwkNO7dE6GB5fbw7/6Au2aCZKXw5fNnlSkot8LyV5xEARvGGKT82dObI0FERhKE2vmgX/Dmisast4CCKxs269ejcUe/NiUbn652v773/y4i4i9rZzyJPX9QJPzHSH7EEpNOZW70BWBvLas0+qvSlAJVgol5qaYzCyb5ky11rwqlAJkCQVzGaOmdjxs3AiApIImRPZjrWqVz9C0GhN8lEO+R3wrvX6CP2Oi4dMmPeRmtcDU1m6pQSrPa2pAFv/K4qzg0K26dtXNPsvnpAPM1Vq3Gyh3Tox75a57ZO/k8b4/cSnblWRMFRRP01w8VKKmi2LLZqTASqkSwE1HKtFRRFYXpOLNOgx7xGovqcxAfKcYaAizkU+r25sRDfJWMvVdcouqrAR4PmmlgGeF++iC7k3wuM/3QMpmJPoG+iSTcCV4m8zkv8lweoJJLKOLZcR5cYk/5u3P/78d9Ghq9/xKeHal63hYv7ez8jVBhMZREhwqdw0zwFnluode4Jajr55+yMFPQ7uiYsHrixat6Qoucjq28mVx2WF7xKDjndHyPNQF3oGLuoqOtiRlkrzK/WuujMWVImZCboLH6qwnSJUtjAzuEueTo9S6vCeaS8CH6GeKk0IYZ6l4Z4/73JCI5Lnj0ss8tworcusiebBwqGtX8Aym1R44Knlt6wF+rFVD6HpsrHDJ0shtUxsNXXcluT0I6dhrMEVN5+1FYcxa8lCn5gsgf3rr6sG+0GIH8TJqBqQZ7RR/R1pkfhcD9bdUxanU5N1Jr7L8lrxBLEtPiUXkvN6EzpTz3kcCDY4bYW2N2Lce34iKk+IfaqgzYrCiGUz/F1Ea5s6mxyVvqRbOk0EdD8dQ5tBrZWjRotDhowDTkHfa6ofHR9i+8bHZ6bMS/XjCGQgt8ODT1p6sTa1XMA51HEBv72F71kU+ScsP2dr4/lY411LpAKrs8UTYOdtSsA8th05wyeviPwIug+h99e2g//BqlrGOCeh87dpj/iKt1UeuxJ//laAWy82eAbQ30dFYvh0PHZQd6kNbjbReyS2RbZfwQEUQm2tEWvrbzCTmpJ5sioR3KfJH4FskGKFbVnoKniyyWOjjG1POk2lWLCSrIHUdLZsfkMkoKDqaGvBDduyHNEW82NX/QuQT03cEjYrppQ5C1gtvErALfWkLbRw1acG5n9wNC7iGu5BeyBNue21jHYzSATj4dL7cAmTSLCgU0i585frOV16AuiuP3arVTFMh/VTk9t9SLTFCc9b6sR7zBGWTxE8Fi3ge7DnJZ91rImCeWmVym4OIoZKd7I7sOQwAtwEeDOwBYdKjCx+2B1KpsKUf010x/5CakJEQyVMAmAm7BQhPsVPwImCDovHRt068gyuwNrEi8vfP5XSZcw1+SstEWcoOkouvp76MvRCpSP7/zvOcMpbFNDHIgcID8vG/BUniqnJoGMrjcq1EQxqElFX2hJ+STAieEm7DQoVkA5L+VV5mBFVibMOgnDIrrklqkpxXv+Si54q0uS1zkFylxSrK3yFl8rpG738m6lXlL1irzR7TqVtkxieha/8opPZ+OVyWRnTXFGBnEA7Ap4v62vt4dPQJBFpSYd8CLX15zCZ9jAhOwt5F7CzquRjyXzV0p2npvqMkFrsSAKYJ3hhcercU8gvrCIVrvJ5NNM/ESX2RPHtc5BChiv8vX0/xjHTuprPysegNUAiOa/b/oMhKJ7j9MyZgggZYQacygu2HYO/Y8+9UbOSU7h+xvk/Iat9A6yKWRjhQKKhhB/NIQF/NXQ5ce2PM+ay3nb1zmBro6KRpufigEwYuNcsLPWmL14bO7jd6fRBhq93tlsEoW8wII+Qrt7Ch5mm0GQLvYwplMvpC8KzLP3gXYhIhU9dyGSkjBh+Aq5yT8cJ8pfIqiYexSAjX+anICK7CUQeYwboBUJwHMC8LaLbeDSj0Gii/hqDOeirYvpgUq6hX8Xx5BXJ1Om14xe0A6DDJSRcmHD33MKtVUnBa4O9Y2Imvvk4WZhD6K+v0oqZhOKthXNQzMXhNkIjzqqoorqfbcAoQcI2TgDijyX5QVUPH2qIRRUPjmqIre86I8bJGk1KN3T6Nbu9fJ5euFrCOXsEfX4JrvX+S985lSzD3WWskUnnstNbWtFt+KgJFlsUK1XMrLk4uU+tLk/bmAQn7j+L0xtZDPDeJ0WwTE+6eR8RlG2QSFeTL7wBFu6AkhCNYeVijvEcctB0QT7pp+l4t1aziWSG2mptxE2hiNdTQ4eXngrudr8YDNsopm6T5A/cxpTRKHVqZfC03HhijcT0Mxo54X+kxS+d/GsSlB1TkhbgIZLoS/4q5zqeU5m0wYf6jezrtydiG7F2ukFJzEm46WsToB9y3cblEpU5PclSdiaKuCddqiEEF6P6hgjwYCuU/524D8V/o1y4e6BpZCenNp/iHqR6lJoi6I93jAFfNZf36OzNkWM+9IhCDRrKJmFlTuGtcnUxD60/BQtk+ftHHt0ubPqFRqXiLa3Df38Beb2Sk85TV5glMJtZCr+VHqJARC/s2LnjnPyNElqhLWzssgsT/mxFcZMZNqpmDMZbSALk+u4xedR4cjD/SPMPh37G52ZstPUtqDvkHVN0ws/KVnJdcL1ivlKNdAJCAcV3MTgmF+B6dLN/4S8sENdzZcqLHOBwYRohr71v73x+cuKcK8xyB6cFkWdvU3iRdlGi7LHRtvvLuD7LGUqU9KxBIKLDcJdWxGgvkWE3r+U0plkZ8DzzOC0N1Ogi/MteWnEpsjReHS/BLCKTCJiSM/1ixuzJjzhTZ4Y1+Aa33DOe3HVg5iTMo4wy4zg6cpiBLMqpO3OU2k68VafDtFkp3OI2rGGAGVJRv5DqxpofaoqMWuuEfVa+sNu+i8ZEAJYjgp4TuDUAEZJcsfr6cdw6EgrCsY+eELLqzbCcE7FbYPOWmzzurDhT1o1Yaui7ros/IumLLGQVP9P6zTp/ejC7KmWBlh0/whVUPL/kfOXpLls7d3IwepKQyMztr/u/gqjn/3Q0lrc0as6rZ0ShygpeSRWXO/bvkvSSnX9FBdHSUrIP0yaZUHmwar69y0g66XDQB+wtEy3ZlhxtKeHNuTyCuSvcxX48WPSEWNdJCQqL/pXjdqYlEtUN4Ue0c3RKQFQA/BbZnO0APzp4ZpLDjk0mHLmM3P4hZ+UkR+CbI6tP441Q4lcmSlQwNyKMlpgxYT9jsJ3rn54JEUliGF871CgiW+/YAOcfsyQgxuoykxtBnizrONxUg1Z5qbKd7xehjc6MHurnRWA/zh5XbVmKsfuLRaTKXRpGNrvAw3n0VJ6G0XbmHPHv6z+eoCbToQbgdo7QxKqlaLSkropZMhc4amFaAJnGqhk6yQ//fWCR/n1qfHqzH57xic4t1AdLwcVt2ZCWLGUq01xULin+hTdwFNE76fdUGNfBt6qbDmwp3RafX6g//qHqfW0BCHbsT9GNooofbqgUZSpf8gUyX8SQv8vQyXqQkjh5SGZTWeP5vl0T/6syomxng8QEbk3wWsz/RhGtaoaSfqflfSvvqEWquvH54TptD6ck1gMd4JcYKI9ev0BdC4bp6dKIVWydx1ov4r8Ut/VFt04vCBZddZ0edTc0wF75ZLChZLpOZBYvI+2mPdiB33cZ0DA6gmVSEvbNzZlnK0G/qg9cscy/oWPGGONsCDXD+V5kQ9lat+tf1f8b1CpgmGsrcckAk8Eh3lmWq32XZxkDPxD9Gw87jHXoY3wlsbSxMDYEwichnovxp1N4yuQo7hEbEym+EotQp7HETar6WlY02ONj5Imvg1cZG+geFLaEYPQhGQPpY9YdhGm34NySMudxjoxTwHo/sWNORrXSdguN6gA6rQw15HHmm8v8ydgu+TGXhTLaD8x+zprsqR0THMpTT8WJLIXtdCljnMO85oVBpP+MlGyIYAqIyThWDg+CUAUWDGg3LH8BJDF0dqvyui62kZjdnCS8R7X4jltKC+4rnrZsBgBbXHw1hUO9t5eZSfqxgiyMocNF7glMW1ibgPJZihvtWwF+Q9G8zBUOkCth77x7rdRORI9DdNSfE1hA40HsLAVsTE3SW0Zwt4w+9a5hmcXeEFKb6lf8VHiRo6s+Be5E2P9w2JNoyBxGH+ofMzkLahfhenVKQmCgAGRNLBIFztQUlp7bDBnLjq4Af+L0STE9dBrIhSHRS5sOrgLKpPvo083+pputuMuPocyJo3Nz3J0tDGZdw/KEyHOSVoMjHxjft6v8dm5Z0xkT4aRJfMkw1g51BLMilt2SnqvQzeHZCaU/1p8X0fC1Yznt+Q8JHtsA3GkmFy6Bvayumlumx/UhmX16QZoOkQL5Z6TltuLUTvFBAA/LdCCOy2sKCPZFzMLj9TRG3bwRHOPZyQ+d3b2biy9qoaNANVzSv63rrA5WR/TIpmzOyVIkKdN6ReUozkY75Jx+NALpzAs+YtKoifT1hNqriwe47Zw0uiNw9WBLWB4OkQjy5fClBuflQpVrbAkg373v5dEiayf5JspFlYPRvFjEi9DtDZYFbp3OKf1Uk9TeKkh8TrmCX6gTluMEcygBsqwIE3fVsZ/wfa/9G1O2bb3t4bPofdDrCyQxHkjam//5uM5hiaRTHJdWJqv2sVaob1O0PyTpn+n3NaQ437/vAdRINHz0/nDq1XKM3+aigNF4iSvANZ621GlOle87A54vqvCRbhzdz7XVkhvIdQWCo+a84idGrb9JYuztPXwS/ucUyjRW5YfH0ybUwTN/ti1+wT7rUjJbZWP0r2WSnqf4nq9RwbgJNGc8cHagQMlnAmG4si5VQb321Bjz1xGXXqpRwr4zZqGbth68Znk5IRxaKAB+EGUoysE0i0phLHu/5c2hH5KcNyz7DKZn3Hcu1fFv9vzYL0wAllmylB0wxCSnQyII6lDrBVhi9bSfkmb5v+xt7Xado2O3IdLVsfDS6nrSHJN3esiqTQy8jaauPKxoNzdu74DzBe17amcuGrWKH77OemIGeIL5FHruTOHxovY1jfFdLVwST/j37TELumXwtGsaNwdL3dRst0DTLwMo6cW9tn67j+EZE/JWc8dpScVbF3vitTV8328KXj6l2w5BzCSorZ8UiKXneAG5QQpJxHmtV7sheDBVedfXRtHClqey/8owUo+UJeH1WSZi/xtQfmexB+gLROkmnIDF0N9UzLOO1dL6/3e30ElrqHggIn7DJhjyXSBxVyrvDgyxBV0iIF4xBSyy7bMasn8/1z7qcwYngb0nsxp5NDz4QAugYP3Rh0poUlBfoceJtEmHfhHp+GmAigPRUs+5AlXLYNeAaJkevTOWUnHjir+Km+dh+wCs3aiD+9LQOynZtx2VWVOCXEPzNgtv4DrBpmYmJG11JqiRrMjo9hUAVaAsarIe0lhYx5FvpujwtDsJ65wh/hRdSzsIvjad/khma6Fh7ywoPsFgNn/RLP7p/M7fSTRutzvbYSWmIlT3Zg+VAvmkANmfSmR8lRUqaMSu/uClK94d/uOzgHadzPPaLqxGml1oSYe85w8Iykxp/JVaSe2mKRa0f7fJEfshvlC/sqf9OezPgaWJ8GGjTbQNFy6x4muo1DqcEwAkQdAcTvGAG4BQbUVtfDbOolkomeGQ96mEEXGjx0DvtlaxtOa2OTYpJFHh5YqRKfGqt+JX2z4ngXyRwfhNJDOv5TziNDdA21jET2cDXwfPPTQZw/EMqlcPHT6KbqqpQ9ZWeWzEMs3aSlmOlA4sTQnV0wXUGGBz6YCuEvAujkVHS02agbPmjqDIajrofYXV6UJY/v+Ob79/SIYlap8XqTVF/vuMuFXH+J5PA9zHnnyrxMTajyBPkk7+k84KlVlsqxng2B2W9cAcNz5loESBk2CjwAPWGuJP3NKTzpcCfDXi/CMApBxDF3URB1v2CO4yHohQI5LoL4xgxL0J5bA3KVmJB0GZO4//koWTnuTslj1FgV/VgAxtROOmRv7WKTjOc+txG88PeDfrLep+1q5fStGePAEvTOSddHtzyng2Yp+7G5nvv+SJt/r83gr0eJ+TTjgOguasbOzNpAFG1whGJmnKxyUzhJm3fVvIzfbHwcHy2jXpv7JVyIIU+OFCzufIq02uNvAvnyDDgQL8nsxG4D/WRkI5G0by+IT6IiEiRDxoejR2N5Iz0vV10UNGu+vpszw4BfwiaG6pSfT1a1rbEZvOirEG2V1vzFuUcO/MujfYsO3/GqpVz1w3Cp3UvHRSuCFMgMUJvMFfIZ/QiubiM/PkPPGCCeWHwfXBC4hH7CADIoZ5AnHx9zGKMBChI8dIgJRDtRcnvIeaiwIjaPB8s30M9zrg19JsX1wty/sRV06xF24Yj7HUwei13zpN+ZP+7Z63gAg1zAZRoqcsJ1s9LJClTEdR/vFI/RPTUW1JtLZw+bK0kikzEB4rYLh0Is25OG7y6nT6FkmwExIJDg4XBts65F9fcs4+ekGT0yW49aJEMihcN5g22fMR/F41mSG9496q2/Let40BYbNV/p9RVhjZjOhroL+jogAGqHprukE7FxbPT9f8IhOcxErVZVxJQkGfmzA8auUeE/UmzTrkJ/DbmzODnedmH7OCmpkkowHHP7k3MliNggu4OG7mID6PQjGihEyYgZv7PovIEOHoX7AEof5QP7A3SFsyLX8YW8taT0uxdvNejMW98IREo0NZKUAY4GfFmjjVPglhh8ZSiCyGWHpnTeP96enwcsgpGZOMYL2rzzUagHffbvU1tlVBvqH6RF863NR6F1K0IuOIa/Pjrz42hvD5GEgVThntXwyP/nwHtTZclltzvRR9y6ZJ0rCU4ex+at9gCoHsDaQ7iAVDaJXKU5aGs7tz7oP5TGEca4MyN3hwJu7bo/20fuunTtaXEmGBDeKTDPZmKQre4OZiJmqjvamnsCtM7sxZXzsUJXXTtZHfqxioNA0202K5+DLlAqNRHQmt4sbm/6z9E4srQbrAahlzbCvvQI1cJb3aqCnre1dLvOO9rLn90Eg3w1cmVxMfk3i35Y7M78P0HYNDO2jH2kdei8Hb8wk5J2oxKwqbdgKrz9L0bh8jWEkFoQSsodFiN9XwLjr/j10Qze7Ya/dzchSv1omnnqa09G6N3NkNz6d8i8tGckGaBArFwTxuAO+Vyk5lv5sqXv1n4rpCePQhHybHSfPwP0Pb/JHYnAPH/mP8HB4PpzjLX0224xPHx4QjQnD2ucTgz+BAmbVOV2QQpuYDTHtlml+655gkL7LjGk9s8KRsyHHp3AmrmmoQIlFmOehoRjBdNTwx1jKps/QNuDgUL1JsusDf0R64zFDxm1uD6PLCvoY5bioWqryLQCX6DxpocAnqHndx+Tyg++PErUXs4boGIo7/zq+EvNYn7/4PcA46hns42upfSy9sKltYc19rXlv5Qw8xzkMyT9x8HqA+u6ZMunSptcbfS6SvKvJH3TwYNf1j1oeORX9p3D0xzte4jFmtyQP5UzdyZnvgIIy6WN45JpMGEula12k9e+tOX/id5ckjCefuxqFtiWUHrOfsah7dfptTKVBZpCEknoe+50uAA0SotbZUG6/BzVgiTKFf288x8Z3cnURiH3tF0AEOgh2PXePTLQS6xlcU7KSTXd61G88uecWO80w88Kbk05HzZN1L4cejp2eWAuHkhwO6Qm1mMLd/JDYfut7Yj1Eg1ozGPmKlwYS2QPAOskG8gR2Nau+H2LwLXPFoeV0sw5YwYFC5B+XPSqmGBu56ykccLvEOSUkq/0lcVnVv8Z8N4SKbIfL7ZdEjOTuQ18Sf3BuCTP1Uvvc2hUcq610eYoFGw5aJaq5yFQ+XPaRRLjNWJKq5tBG4qjnUPqRQDPTlwUBmRS5geoMAUakflVP39kA5HekSLDn9u47tIIuiy4/+R0Wosgj4QQ+Cj9He6Urzfi+N10hd6eue7iTXPCRJIlWuXNQeWBtdj5hp/25fufm+8Ae7Vfqj8+H60vbJo2jvL6EaLT/sC0qQIeLrHd/Uhueu2MF/eKH4mozsg3HPJysAUVcwczYgi/ku3w7QqNoxwcB5ZhYWimdMb5YD5A3ut/ddvQP+e1U4MVFuDpTzrjLaN/LiGar6XlIZKkfeLgHwQSjT2ifR0vG/BV3zwcKecTPdpDAf6kaeX3HoFKNobgn8jofzS7VR/RA5boi6LDNStzhr4ZP+go7doe7lPoBaAjGL9MJBDoaAdRk4AmZ2jDI7My+EJ/0UCmKdaMUNhYTWbZg8ufDR5yRJAWHwhLsJoDvLK/DpXtlt+a4k5GeCJJZNIeT/GyxoUq4zGwxB/NRQpdCnEX6My2Gab2LD3x60IcYda7sVc5SM5EBGSA9C8PSLW0Kd/T5HC986M9dVfR3JHVWuW5UDyCxI0D4FwFkx1KYvC+YMaNxf/w/gXQdrNA9aYpKF5vk69vgEcwAmsipWb3AxqhUZu7vOXaFuafUFlVUE4HvMxcfgJiXTLGo+Kv/TEnHdexi91/p1imYwoXdJ12b5ZEgiJvXBYpKNNaszIKl39MnxVigBOjNMUJ66g7W2DdOoWZ7WNgFl3ClV2LUQT1NA5NDeLi6mQFxc1N43J8gIQesXpi12YR5at5rUx0r4xKYhi8Hxbx3VqbM/ocA5sCaq0AyxkbkiB9bNyWdKwdkYhr0ScnklqmW21ERORFQGkcEsuig9JFQjjZ1Rdwt94G9fixEv3hbwkBMor45BKTx+z+ZTzeT+SLlShXtdjXa27Su5THWrD3hiFAjL9U8drjyKcOspcbssoJNRkU3vhjyPvWX3DoTbkPK4DEysn/91HLqa2efoPA6Hi3xu53rPlLBf3yfMyN76uvQfNh8T1QxYhKbGoNqsvNaPVPmKkpgg6lT2wlmx/YD645mxBg81ZOSxSfuJ4VFwKT18o+F6KfMUo3qm61Q6u3IYDsfQOKu5SdEvMKWNOfyOG8Qcg9gIKU/0TMEKLYq3J8J1PlsUkt8eGyr9X3oQ/SSDyU6i/mMhagUVq00skQPU16gEuOmwpaTcKKZcHBIacmQib37bDt49aGnBoTLc5vRuO93sIrpm/ZvmSEWWt2IJ1pUC94fBTIIMOi5iT9Rm49Tn6XLIhyy1Iz2ilOlui/sJrIzK5W1+mW5m7bnTErWq59vffETpsFFPLxYe7cs1fzkn73j2s8RkWWmI9o+MsspH7SOHGV7DKDIrmc08+QoMg4kVk3Zurl5IETWEG0qG79X+glT55pMYvZ7Eqa37aIGsKt2ShaY3EAYwIDlmO4tuNgTCOPYaAAZ5fnZC6XlcsmYDoOT8vkmgVabcwQRbFvXMkr1QPW/6rmGPnjDzaA+XT9Jl+IrHU/EqoHbBrkp92L+5D0OLH6DUeD3/p4MqyYcoSJ5vpvUjy+bHvgBUWU/wfRwyqwRBIOwlJkKTVQwqeBHpvxw/jcpXUSrvxn9p7nF7QTerB0Er9W6XWXZRKWQ2X16e+Yz8CdUDv5hF0/KFMXtT0B+WU9r/5xMbSC9uDam/GOiUdGO0MIJSm2x/VnzCdSvwDxMCPMMdHb7YjxF7RrcNffiAL71+yN1O8PvMW8nIvSPKu2wk6VmpIvuddljbXMcozYRnFDNujmG3M2+nOyf+pv5oCwanGj+cXxP6JRVg50NoDB6UgBuSWJKTkuXsC1UzHvmE4mUo1Y82rYIXzUSW0n1XxbHUG4s+RfD6coDL4haV5Bg4lEcmVEL3UWcLltaEjpkrSx7VBYf5P6kjJ93qyZ0wfbjRi7VJdkTQINGqm8teM3Oj5E6iSN6A6w9GW1BOBKCUBq/A1rSSIeo02QgBOUudubw4Q0RGHI8l18TxFU6DzoIoetSxY/8/gcevQkJk13PeM8vo7k3d3g6fm6mbkvmA1Ut6QemWH+7kaIcgn+qJWCfrFLWy6M5yyG84CBOKN0501I3kco0jcEuTuD1JcZ7D92jO1dpH9hXotckZj4uE5sORQeFr4FHrl2slHipS5bEKxLlSn0xdzy+AtrL4OERjB79ZDnA49RJxRp2VfIZsfBw/muv0964foHvYZVKYJqMLUUgrP0FNj/HTegRm7lrHZAYJ5R8Rzl9p9US+KICDPL+gYOC9BxN4hkMyezwk1/r2kTeZs82LJGEYHlCDvykjCGY7m4+8YpSQVS1iTDwImelKn6n4DopE07GElHVuaEVyFt5IvH/RFQdC1DrzT0/Q5UErLjSpLwlF1HIbZwI101Tu/G/w5F/kM21DfuwTqFgE82GE89XY8uPdYtW7GU26tEzKgtg6s+2eQGJ2Y02CLqv0JPysGBtREWeNcDDV2GR8brsQLtu9oXlWjbwVLIkNmjpV0otUgu37cmIXMC9Ma7lAMwTh3g3Vd+zAypPaA2EdJPZu8jygBRUqS2H3T7skePzcej3vAbxohHAtHeisAlNahDDw335M/2LvVqTec/g32LuK+FQ9maVwZ5PMrsDE32Q7E5dushyWMObbDKQpnP484rdKXE7O0NrRHnv0IdzdA/ydiDpiFrR47f/xHHeosRIR7VWVgblxi/seQRa1i0Nr28xEZO3iH/yijKDF8va1mUnRvhjjskZ2eN/P7BDuRrBo1iBRNn2sZ9Cria6i7v1NmWJnECfRDd67YBckAYEAnBryySoEigzWnVYGAdINTIVmrJvO3+Zt262IrRh1VbQeEE4+Iz6uxSmY9EthRkvPe7qWso2qOBzeSVUoVnfn933vIUvdVp/IMO9Fx+SLwjTyAcAlJbitjiBYbKAKQBVXkKEVxRt1lXuUArxhO0fi5Vfsp8mYcYAyJU0K/6oGnh2E5xaB05RM67X99pORZawU7PPcaYsCdeb0DxUPyy7vqXdtBqeay3lYRWJLyT7o8wS1Gzma+2O3WlJiVWOGncQA3nwHVf+KROqYwj/LhknT0z1EJwmd4dcyGIyRDy1mWE+2ypjRxIN5z+OunKHMFpXoPcEzyCXoMWkCnWHAoB9lLPlfSwDGH99Vyl6ugUNFa6UqOHmJQka5ccCojzY9Op3OquAyG5u7ab70g6gfNR72Zgk+hkjt17nukZjvPHI35HkpcFVNPMnlCQy4r4EGXEVsGzrda7CvSes/KfIn9PiwBkHxmd8rHobJduZ+OUvKmcFp2v+OXPjKtfdTRpAuuDKD/1kqEsKAnxM4KO7JqctSjvDD7NT1ceeVQmQNwW8zw9+bsJQw33QXNJMPXGDmvHiYBzJbnzc/eHq7qOPlDce187Bf17kuM/5JgcIxQsFqfANO705vjLbDXQqrXhyckL+kan7ETxFbUd3oMGv+csfOtbZ8DX5bjRFaxYg0IUmzejbgccJnDz4gqRF87+mgQkny0o7OzYJnHFZieu7FL6MvqZIlXC0Qgl5XThTqk5s7Qi1HqRkeSP82GkOKzCvCv6Ax29zT7Zi1HzA6a+XM48ZrChFeWiZAc6m5BnGVovP0aB/TmLNV16Bwo3Xo/pta3Ii9DKJUf76A9qcIkzA4HB4BEeyQ8LdemMPs3QTeEEzPgFxO+cRK94qsQiPN639/dfat6Yr8J0OGEF4Aa7Hl1zi12xtPD5OPS4gwrKzXCbFNIpdQNIPg4Njrjme3g1CJfsI4RjBV5ZOn4XHqXmW+/KTiIDp6IbUFVeORzGyrUk63/LN3UgV7S8RoIMXAAy1sI1RLDbOiQKQBaIxx/7K0PzWRLCfk9MKwWoTIhWrY+FnnrzqK8JrHG6w8G99kIo0PT2axGVqtO6eDMtqm3GbvXl9v0mU73E/XCefU7RAvUdEl1M2C489E426rwNTl9M5rLdxUUXTrPUt5bpyLXshdsCLV9AUlitIKvV9/xEFqGEgJUNTyBwq/+lFRg+rdwguDrHLBjhI2h7hS1exue4kvfJUdevqcigcKWa8EjqVQZiueJYxN6FqEytrzc8yVVULX8IosOHkmimXBYT5dA0I8HBp3XxbGdzi9PGi3lnMrZVI8mgibr9qTreZ+lLB/wTBHWE0zjLpRPwOTPaRKw4W6/ZQL77XwbhvoT+204ydByx93CUMVsMwI7UWDManhdgeQntAoLS9c+45e6/6pajm2i6ei+6avwH/dSmWzcC+F2QxLyNmsDborQ588SBwdPKXZYnhcw5DhtHzVlub53OzrRRoawvFou8wViLUB9z0CWo3DWmgA=" title="Mekko Graphics Chart">
            <a:extLst>
              <a:ext uri="{FF2B5EF4-FFF2-40B4-BE49-F238E27FC236}">
                <a16:creationId xmlns:a16="http://schemas.microsoft.com/office/drawing/2014/main" id="{E62464F4-A7BE-2E8B-D97E-5FF921B62F59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590438" y="2649631"/>
            <a:ext cx="4985990" cy="3587685"/>
          </a:xfrm>
          <a:prstGeom prst="rect">
            <a:avLst/>
          </a:prstGeom>
          <a:blipFill>
            <a:blip r:embed="rId14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>
                <a:solidFill>
                  <a:schemeClr val="tx1"/>
                </a:solidFill>
              </a:rPr>
              <a:t>  </a:t>
            </a:r>
          </a:p>
        </p:txBody>
      </p:sp>
      <p:grpSp>
        <p:nvGrpSpPr>
          <p:cNvPr id="80" name="btfpColumnHeaderBox886954">
            <a:extLst>
              <a:ext uri="{FF2B5EF4-FFF2-40B4-BE49-F238E27FC236}">
                <a16:creationId xmlns:a16="http://schemas.microsoft.com/office/drawing/2014/main" id="{5843FB44-5554-705A-268E-8B82F827BE66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6366272" y="1946518"/>
            <a:ext cx="5495528" cy="565217"/>
            <a:chOff x="6366272" y="980760"/>
            <a:chExt cx="5495528" cy="565217"/>
          </a:xfrm>
        </p:grpSpPr>
        <p:sp>
          <p:nvSpPr>
            <p:cNvPr id="78" name="btfpColumnHeaderBoxText886954">
              <a:extLst>
                <a:ext uri="{FF2B5EF4-FFF2-40B4-BE49-F238E27FC236}">
                  <a16:creationId xmlns:a16="http://schemas.microsoft.com/office/drawing/2014/main" id="{135CC247-1228-BD15-0678-6264E42CAB21}"/>
                </a:ext>
              </a:extLst>
            </p:cNvPr>
            <p:cNvSpPr txBox="1"/>
            <p:nvPr/>
          </p:nvSpPr>
          <p:spPr bwMode="gray">
            <a:xfrm>
              <a:off x="6366272" y="980760"/>
              <a:ext cx="5495528" cy="55975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 dirty="0">
                  <a:solidFill>
                    <a:srgbClr val="000000"/>
                  </a:solidFill>
                </a:rPr>
                <a:t>Within Europe/APAC, Target, Peer 6</a:t>
              </a:r>
              <a:r>
                <a:rPr lang="en-US" b="1" dirty="0">
                  <a:solidFill>
                    <a:srgbClr val="000000"/>
                  </a:solidFill>
                </a:rPr>
                <a:t>, and Peer 2 </a:t>
              </a:r>
              <a:r>
                <a:rPr lang="en-US" sz="1600" b="1" dirty="0">
                  <a:solidFill>
                    <a:srgbClr val="000000"/>
                  </a:solidFill>
                </a:rPr>
                <a:t>have highest awareness and usage</a:t>
              </a:r>
            </a:p>
          </p:txBody>
        </p:sp>
        <p:cxnSp>
          <p:nvCxnSpPr>
            <p:cNvPr id="79" name="btfpColumnHeaderBoxLine886954">
              <a:extLst>
                <a:ext uri="{FF2B5EF4-FFF2-40B4-BE49-F238E27FC236}">
                  <a16:creationId xmlns:a16="http://schemas.microsoft.com/office/drawing/2014/main" id="{C25A18C7-CC3C-657B-8C8E-95D714679BC8}"/>
                </a:ext>
              </a:extLst>
            </p:cNvPr>
            <p:cNvCxnSpPr/>
            <p:nvPr/>
          </p:nvCxnSpPr>
          <p:spPr bwMode="gray">
            <a:xfrm>
              <a:off x="6366272" y="1545977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3" name="btfpColumnHeaderBox393030">
            <a:extLst>
              <a:ext uri="{FF2B5EF4-FFF2-40B4-BE49-F238E27FC236}">
                <a16:creationId xmlns:a16="http://schemas.microsoft.com/office/drawing/2014/main" id="{713D59F5-3C7D-54C2-9FA3-68162FE71DF1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330200" y="1946518"/>
            <a:ext cx="5495528" cy="559753"/>
            <a:chOff x="330200" y="972212"/>
            <a:chExt cx="5495528" cy="559753"/>
          </a:xfrm>
        </p:grpSpPr>
        <p:sp>
          <p:nvSpPr>
            <p:cNvPr id="81" name="btfpColumnHeaderBoxText393030">
              <a:extLst>
                <a:ext uri="{FF2B5EF4-FFF2-40B4-BE49-F238E27FC236}">
                  <a16:creationId xmlns:a16="http://schemas.microsoft.com/office/drawing/2014/main" id="{183AC184-07C4-DCC0-85FD-B6652C826A25}"/>
                </a:ext>
              </a:extLst>
            </p:cNvPr>
            <p:cNvSpPr txBox="1"/>
            <p:nvPr/>
          </p:nvSpPr>
          <p:spPr bwMode="gray">
            <a:xfrm>
              <a:off x="330200" y="972212"/>
              <a:ext cx="5495528" cy="55975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b="1" dirty="0">
                  <a:solidFill>
                    <a:srgbClr val="000000"/>
                  </a:solidFill>
                </a:rPr>
                <a:t>In</a:t>
              </a:r>
              <a:r>
                <a:rPr lang="en-US" sz="1600" b="1" dirty="0">
                  <a:solidFill>
                    <a:srgbClr val="000000"/>
                  </a:solidFill>
                </a:rPr>
                <a:t> the US, </a:t>
              </a:r>
              <a:r>
                <a:rPr lang="en-US" b="1" dirty="0">
                  <a:solidFill>
                    <a:srgbClr val="000000"/>
                  </a:solidFill>
                </a:rPr>
                <a:t>Target leads in awareness and usage; Peer 1 and Peer 2 follow</a:t>
              </a:r>
              <a:endParaRPr lang="en-US" sz="1600" b="1" dirty="0">
                <a:solidFill>
                  <a:srgbClr val="000000"/>
                </a:solidFill>
              </a:endParaRPr>
            </a:p>
          </p:txBody>
        </p:sp>
        <p:cxnSp>
          <p:nvCxnSpPr>
            <p:cNvPr id="82" name="btfpColumnHeaderBoxLine393030">
              <a:extLst>
                <a:ext uri="{FF2B5EF4-FFF2-40B4-BE49-F238E27FC236}">
                  <a16:creationId xmlns:a16="http://schemas.microsoft.com/office/drawing/2014/main" id="{B492BBC9-2ADF-75F1-07E8-13B12DB120A5}"/>
                </a:ext>
              </a:extLst>
            </p:cNvPr>
            <p:cNvCxnSpPr/>
            <p:nvPr/>
          </p:nvCxnSpPr>
          <p:spPr bwMode="gray">
            <a:xfrm>
              <a:off x="330200" y="1531965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6" name="btfpMGChart387827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uzsY1X4RJYLFnuFttNWTiech32vNhQbS3mM9Tt5yY/lt1dg21b/l7RJMH60i2rbvKukI9cxEdZRFwVe8HxlFl0LEb/guczDsHDXAhexu4g+nf0mcJcV25fMar8ifNG3m8ivROihGyONSUzFaNBHTwWniyAALawW94SXeCoXzvr4tK5HzuByME2GgHxpXQ8o5VOJ6isvu14tM8flKWpgfV5e5SL3lLOG7HtpSkRrQUy2PceWsWeIMPFaO0LBu7m3q3vUp2sfBpb737+7vyGrfeuOSUxqUUZ2gZW9buy00QSLKMywJkYWq75PHhnSd/9wkgnVmQ6tOjq9NVMFvv/6mXLcjOL8gpF6zIORM1mAOctMZ61Py4wUHSNSULETS4kw3R7j/4DY4B7ovR3V4D4/CAVcd3dMCxeO/2KhISZsgAzadrX3abMcSiRs1eGmXo5Dxg1hC0uqQJvnNHm74RTs70p2plM0M1RKZwH6ZRdiCL8fAH6FBDs9fW1rvtHInQi9tc+YC13/seeqBA2LYZDIvd/4Qv2lOsWS7E32qICAzAAgdrVq50HvVpKL7LMEWiebBFOd3PJHKNGtjzy4o8ioW6zVlGrtNuWTMo/SvUE/DlVk83Rou2/W7ZcgeVa15Pey7TWoS1fifQMFpSDV12XCpRCRuNF8nrmT2ztcsYI6+Txby3t/LZxW9DGfnsZ8ETGrCNvfiid45Fcn2x+daCfTwLLNN5tVH6vKMXsBTKVxkZfTc+grRp9vlgWdOBi6voG+CjsyD6Hko2PV40bQSBnwNWu8bbSGSz3JALFT7cA6wkSvZ6R/D/f9tGMdb0+IrGFqA4yzPJKABaZPmbPXF0RoUFVClfs48uQDbtC3NlSSg9VeeFZJH4n1q+gjCfosmuZtw+sWrU3LT1apcl7Xq6SSLjFVOj7CqzEtBI0rbfJLpz1zD5l5VUOvk28qHug+4RGR8uqkTaJPARYUS04UB213caPYZn9Q1LbdbaHSFK30LqUDfMqYyAHRAlJBiIyNz8X67/oS7TvDe73o5DwfkD1U8yffR2jk3gzen6Z1HA9T4NcSB/jf7e7oRTkbvwXYl8wvkuzlv1S4H/FZKUXaTE4ncD3yMJbjEY1sl9VUP01FG7EjJpPI0YHbLyNvLbFICp8uw7IwNHt9eRbQT6vs3yfVlt+ko+UjObnJj77qyVWC75Givl6QLI6iCKBZ1loMTHfqJqoQ/tXOOEQ2HF13qXrkQHjrJlN7DHZD5JUJUbkVYus+4fD+DB2O/HsBrYk8/1rfrW2Rnu8S6XPBIQw32zB2IVbKh7aFaKAmR2DhPMykyTicp5BPoKOdCrKYpDo5Ht2iNj2l8kAtH+A4rb872NGCS0dx7UAQuROAZuDxKY4GMkMzU8gvRTYrq5cxWixx1yZHpDzaDkelA3dfvitlmzov6iunMlPv/T0+2bV5F0O6au6as4zxeUUKmvDI4ydzrT0kaxPBXaRhv3H8uBfyatXkuathxcihMtiLRNJfj0K+DTlFDPerxJoxywUZFmrhI82Ys14I3d2dmOwhUHDZ7M/cCaABIP7/1Ick961tq4hc60yI/eTcXD06zJTlR6DX0Z5XqN3GacMMCH73iSgIrMnJ60QEZ/ujAOOerX+hd1+u23Fksb7eGldmuMMhHLlTDpr1gMf2OXQkIYHOVo3wAhJuw2Sp0XnxuTp+TP0NFd/Uyou5PrqjQA5xadYIo3b6NQ/JscHuephmO0JbQkhLaXGkQd/0Q8IdokeMB5sdijJ7quSwHvFkliBqKV9B4fQ2CX6EzWe7BaA+kocV0wQdccbJw06Lz2898azvCrbzc25n2eRfc4m7s1zd6DukiprvfTixJ8K03cTl/zbCjvyHpR+Pzs7EfdUBrvZ9ht+PZ7MhZi+4o0HoZUQ8eDAU0WqT6XHAEyWb7pnMD18vTal0+WbLFJzr99OS3lkRqmqYqfRhWPbuCquT90XR+P8OzEQBgMfdHbrbMGrDg8mlnSv7YWJaUlehvDKfj+HqngiIk+WmS9MbuWYyUNZKJWUwFZgmVi7F8ZM0lfVaJp+G0xwsTSU3te13PdDv+RHWTmQHxGY8O2/89akRk+J1Zamtk9VzUyu6G6O1tu5rsmsCIfqYuyQUtBl6hJxeNy7Sn1bLJ5/XiqohscxodMW2yb+qFKBddNw/ZaNcTjXuuLQd22XXGClUnHpagBrzxPKZljsnI4kmE0RCQBVwlxbFmgNKAszyqKNFSyNYTYligcqOUyrdI1lCaej8PVm5qRojv1jZS16t5aJosTlNA9tKjGOAe/gMFcB7ZmxA+Nc0fVJY4DuY1bebwiIo+aKiaOBtXKzKsIdeJKfeX0mTJIygYAFpcr6XhbC+9kkXgBXfranNVq0qPICYR4JS10vYF84AXyi36ZdJtYHMbG07SdMFpfUzDBTvH1qfZCjVt4FCkxMbxkEPsbMX/NZSJKV1Jz7Xk1RxIaVRgHXC1bwK8Q4duyWQLcW0LJt39OSMP1pqwNN+LREQF7Rx7qO9v1PdN5M8kVmB3ahu1DqLuGrp2wskwx0SUDQd3RQrT4YdAbo88JPZrUNXSQLVc4PjyG7hAWvozecTi1udHP70BE8s/X/4cpvlLbXOQlQKJRpKN5lqCYhD8co5uZ2oDraPtHaXcWL3IhzRBhH7SndATPLfrYtW6fD2DKykFLIMTh3ezokOrc7w99osgQkBeTolTKPR79g48ORk6NZkDdvwq53J/YfPuGobVXqBnFsPWLINyC0hzLOG9K/lPIc1mI/RnxAHzuMOYIJiF+tMkkErcT2/HAFyOjSOFJ3OTV7do2RiaunZH/E4gv32W/BmVqVWPfRljZeFIQhvm4BWTbJ1QDFnxHxhpw1uUseEJqwvK+Ra5AJlhOhMWcpwzFmi7ELNkF8ic+3JGX7TZmYaXJxTRspHnVgNS62WB2PO8zaJnbk/jvZhQGganAXUpZohqECTeO1goedh3laD9OJTBUUGL8gSwbLbKyA223te67Y2n0l1y5696uAl7gpnzkc2zNZPQcrN7qPyu9dI196GG8hAotiJlHuIKygzUczkkzWulBzrfGVyw6NGKy+z9YOjE/5gA/PXkJnoqc5DAal7p+SFOqTfqelUi1aq1Bh5Ll+ans4d91sgZHgTOgoeuWtZIBsrW5IMyFB6fI1VQKfwPN4O2+sIE7effbfKlwjOjoh7EzpDcwwGZG/OceM1F99evs6vHTFhWZno2nSEkgLF3bo3R+5NHUNgP+y29NNgXyobmwjYx1Taf1gJ/fbbprGuTxhU+f7BXSvQ5r0UjxO9sqqucTvUbDTGa5w8tZE03lOK8F5/wetm+ki/mBVVbWlHAfr4ebrMgvXJQEWoUSY9IeOoHFpD6fWnFf57kHo63CltOIBCCVm3U8WIMRBZIuuYzRfafSHFIcDXay0hPzYDJpqA5QtehBtnMA6FRCY6N0wBpexmUKfVFd7WwiPgMfQPUhrORUggAXafDq8CYK+sKOg7MjHJ8q4lN0xbSnxTekhLK8BtRta4g1OGrPhBJMuPqFBhiRPXFrfeSJOzQ4oIVrZC8duhG5hXFKlmrzr90gxK2sh1JyqZ+H3R3S8Api/Wj2eTFWWpwZaSIP5R+KYNxsMv1pwlqxG7poI/caNvuLInx3C2SkVReYpMol8nLOUUEh7GPH2n+8pHk1Tzd826puc9SBCCHj0mV0VGeV0Ukd+az/h19sfsOFyJywrfJqSsnP5ls8w5Hadw3co+ApS6HWmJHAAiX4lEZsc7hz71GmUHPbY/+u5Y/CuON8XnOXNoVmP40bHwVbjl3NbJ+ifICci3+5HkHRX6jssTEde6js0s4RmSLp57AhHbW7hiyiq+jSJbTpjmZ3+c0+6oei7wwigLsvD/M/nVfCdSeOdVa9opzduAbVnXjOtvPbFXjdouqbJTPZ0i54e3NCTd2CuFeVOl1SNUjQmxz3MXEULtglpngTlCFzqSDu1SOnvDWnAkiuSM8UqJIis3xPKRt9bAy0g6iG5DyysmtXYGbFjXeUQvWHaU47Mza45qJWzbtCWxzqjnYGuWyil0ZhozbvjpGE+59bQhVs7+C5CoudTAnmj41TNmjDvxlzIC3MJPWvGiQqjAhZ4/SZsHIzlJcfxFlof0e8pwfBIEcKq/Wwh5gE7SYxmvcVFwne2t4h9jquQIw3b1n7jdYVQBGdDvpmvF3LcHUjQqyOBqtSvoavstRKXT9N0EAL9y8p2pmgNBXgu6miTcPR9vhQHsw9aaFXL8P2cLVIl5l/cD74cy06IXl0b9lNCz+m4MxRp1tjQ8OtjsFB9EmB/qP26PdjQQIedPC4TngugL7kE8wNx/QM0HhNFLfHmD25fVuF1ELA2xQYptwwgAoG6P+pV3ecTRNlP5pwDlD5CooqxnRvviDb36g2oZ+rSc5k9CDnEeEmgiwZWYJqjSq6JWql2aBrzFZg9OxrFWg2ponDzcjFS+KrINHL7gh101nYKjZrol9EFh0p8mH7+Rxu1B6xBtk75PJhd4nYrtFATOmocdRxwkCIr6HtGs5PtoMMsml7y6tP5D/Us1ilXIqboZdfVAYa9LXAWEPPRX0NbX49CHmIeNkmuHLUWQTfuUTHfg8wdmDZyiwbWcVMcX/ki3C6+3e2GSdqc6ZsaFRPflbJFUHakIvSWqWEDsdQewoie+neca4Ha+H/gx0iWMW8IALohz6rQFcc5ZEsc72xotiJWhS2zAKExEJI5CuGMBCFQ3YCzXFJ+rPsrelQR1JparrYqhqJzvE8ZPWCZYoPf9ZKxfS+Q0F89bld3psGGKK2HyHSYUWSgglz3uYdUY1qZ9KnEPG+GZi2/OW6jwx4LLc/5lLC43KU+Zq82mqevEUj+Mn8dAVfTOmxVf8YC3e5oTKWLs50v/jp/wRnwoIWVFtZeQP0mNsnTojjY/CnCABYQhMmC4LZRHrYuBQg10NwwlY99xhU3yVALapHEsHlc7GJlEIO9OmacD+FUJvrRFCtscta/4mNIp1x+CzPUAOLfnw9PXxMWQdHhrWAuO6ZdjJJBLyXCyMTHzUhLiqxOOcKDGYEywsimOxqYO1JNi6vh4q7uMgjdztJPjVYeBUzj3Q3i2N8ifWBQY/jNtZE46qzZ5cy0j2BSe8/FFTY84s6Qa2KsIOTfVRCe7Lq41CtinZpZII8AwtF7GpJA8eTFcF6SIGtrASGg47XulgGSwHwsBZrr7b1SEDt6MQhRSNXjDnx4XJ48gBAWm7t3/nmFlr9zXrYe6rB+dyIaEsKPd2W7qtxfd5XwmucmopTmFVhhPBdNe/GGeg6kYdS+20rewiKjchh0tZmD4PEQ64dAiXvRu14O4jm2FXuZMnU1PCjmY4cJL34AARFR6vqQugTx8ex5+PFV+RtYo/qQuwD0uUyWmYWA/WxR7GdkxNtfiWJo+DBvUr3K4mokHckTCHEDeeim/kfQp1+sd3b34UgtYlmzWYdza3XAsP4SDpSYToj9wLBz3BQ8I1gwcvD7a2Z/FDan5ndZoXCQ8rZi1jwkiE5TCqcZtem4JUGHt+GWdKuvQNLQrU8skLhEG0GKBEcjo4dGNhhh8lpZvEsZevLQ9JgQamgSOQmSTNLZBYcr+oho0ZLpy8jNkInr+AI0BX/SlQ2sEmYPZmCkkI1+AKXHk+SF4Kcho+GQ0eyXLgP/kHZQhm2QqjhUCny9snopeS5RRxdwMqjUjSJzyYJOmZapyYIawoz5eSJE08dz4e8WfHvGJlImtFZUZ4NwgKZPyE54Zb6Iyi8mulv/A/gU10rSSjFNHP/Z7/1MqNV794LBm3XyvrFJRx4BJ+UL3KBMo0nhaUDg3Zaeg+Jzn05HMBgUBvaVUpD4bSItATZmJ011Ub2FJYtJOM7erPmBhc+46dZDmDBnqx4Ry+xMKDpF1k8eEjcAFSPA/3Rj+M7jTn3MxC1POdvsUK7QIcraUSEVA3LeiUI1rgXGZUf6Ju4pJScYQ+LmDBCDyyTkMYd9+0anShRmYYHBvaCIv9yyuEn6NYLqujaspMElTYnYYdXD3s0cJfzXSrk6+GmMWGmOXYdJ4BDKNv/H7Z7iXZGtKUujoNAx0axfYqtuOIryrp6Wwy2MlKuEPr8aQ1PHWVPF/oRqug7Duqz07e/nfAkym3JnEtNFfUQx2CqX+WmttVeqXGFXYZLuRtU+hb1U8me/OXd7nc1hyyjXOTmOP0h60S0xgAxCMUH/0i8rUYKuRNf/kp8sixZicZ5l7bu5VBEniCh9vZRuDr9fS0MMZBGpAuQhczEzGfX69aT5/ldiw/QZbrC0yCB4eS3gU0i7XA0HEh8ux3qBele0vpPAg1cyhaIFgzJEkHiNihTSDfsUg/60erSmRBfugKsUnErIw/BZM8O5yB5QhcRtVCJlhHNDRnuzxT0fLdefyP7rJSLcALvr3iawzu1LGv3jUnkCTZPQ5F8CKkRLbXohFWv+UXwJBUUPEzaMI/gGGujpmIq1z42hT4hrS98iN24Nv3MV3wIqGV6Ko1SI3t+cm2mE8N2b4MW+KneUSWBhXHnEaqVEYnOrYW2rDHhJnWoqZ6DKWh8haal2c+vE2SNchrI9gdmCkMQXD2JkoVGEASnmd01i+fyCnZ/YdN+mfp7SRdVe5zKWQdEYjOzK58ngppe5xuFqAuX3fbYj4L17g8WeFJ/nuUNxxfaxtYb5zr+F0gOeRwnFdbsxr59kF8peyJ2cu1dIzyEltXDs1bC3AqYxBeVj/45GPHTASE0tdELCTF9K4ED7xkM1xgYTjccVziWoxWp7bXO4YP2Ui/Jy9KJ0jw3CNciGX5lEDjOZVunhosqMXk93ZZjwxZtzbwJI+0KWs+v60RogSyptYS06vD9yb2IaYkN7qqB6ja/+g9Dx92JiJ7bOL1OoT1BzDANS1ARDpV4xNJb+/5sORk3lE2Q1UhtwNr2nxZvGK0mCxkldbJzl0STVpz8mjLh+Vpo7piTjetGtT/mB10DxeG9L66ERGh9aPYQ5n9BLufcrNx99gtt7Az9GfYA7uXND3ht6K1SR7VIUjZV0VnJCDEsJHUmiY2gItWDs5k5tYb9nOVFpLzHpZj+NShb9f3vGbA2stlywnaaGxjrmGbGUsJgPlOiRGqg9++sGdp4aMywZvWJEksfnFigDY6etQDGhR1FHIkbVXbKhkIGD8irJLVphAJrVFQqzjdS4yVlPNexI3cVhWZmlo/pLOPVAh2amngcg2oqXuaHfNS1SPpKCTI+4JVnZI5jhFyR2qdp8j1FPEklzP+2xkaZFkSgd11Q32rs6RXt2kD44hzqUs9VD9f7YbfeERmujRYJNj6572AqkQpwdUkHS+PHRCaGFtBTbM6YSbmCRm6qZ9UU+P39lsUEsUXTJDu8qkK4ruv/bGAo680UDfjE6JyHOZ8wi+FmUyQSZEf+xll67JF5eAvi/z5dQycEI19Dxu6vvWfuxbPltux7JKeKhRWLw68VnemmL23SngLY5+Ul94sV32sU85XHgKfax7ovfOI7KemfXbeoYDjLHvMb6QozgrN4D4m0+wTNge3B1tUBdMHpMQbLinLuqrmhsdqlUTIXRkOK/EUP6InRVvBwAe+ZbzVn/MkkQqqgo1cH53/+1pdYm9tbdBeCJmkte0SDWyPPLYn0tSK0eLaTI51sia5aDCkbrlj4PBjFvOplPkY3P5DvOA0JRYGxWFlqKArXVCuXYlDUhg9F4B2MZzHlcY5VH/cg60C9FLx2BXZfEpjC7Nnt8gVYyGI0JCQHl2F6oh+AO7p9jSRGWlFcE+ZByMLEs9eSzyrI0iKt5TEHAHW/Cu1BZrdxt4/ddypUmDfS4sqBGmZwePs0NOTC/cHqiwbaGy4+hgg9BDtKzqEx7RSUpxhPIlmx9J64ynF9jIwP/d9SPSCw3n4cvsAvQs1zL2SnuT3m102Y4NA1KuioyCvqsemSVftP14/a04jxipyp2f2aN7NJCkpKgWyR0G4ldDhxDg6c+GLwPXCQTXK8qfXZddjaLFHjRFzrVqv0Cev0Q1bofz71PAficwm6icq4u4+Txs/+5vIahsDS2+ol+zseOSnDFsz7DG5efYX034Wnf4MqieXrx65VjVjNQYEz3HEr+E6aUfeGnva0S1xiS8X5b+XN8uPVHZP1iRq4GfibjfFeNSDCC8iMAtVI8WoKhQ4xbmyamSFb6uQtXe6El1slEOOnFHqC+v4hBrhxtTsLsPgeOy9yo8Vzo/Yp4f9x+4rtGi9/VzZcjDpvFhmBNcnzHk7OazTZ+MAs2t+rOXQlBWNLlhXU36Dzb2G/vhfwgi0IfmqbWAh84a+d0x9sdLofnBXZtfHGv2hewEMdnT4jcxIEMBNatC8SbFc28wGT04fnhbUcBJ1JpPh5hZIdRSRw32cn5FH89YzFntIQRnQ18/Esz1xw+iiqabV7q3i4G1ylUzkTWEw4KOBxlvxbJDNA+6tFHiPbQeE0hvfIlj1/jS/TLP68QOv59rbMM5ucmKFitPU9E7hEhT97IeCCd/uTNxPi16Prjmg789aU0etI+3zx0UzHdMf3upisT/stVrA7FfMNrdz6uFqSL1l8A4gFwgh3YdCAumaKvUzB3f8uFYLu1uOKIj9r1Mfn4eLbLPsaFHnIAp9xrX9s0iesOWV/Jw6VJ+tpB3c2Vzhs4RktXjCtO29S+McGhl0HUSXW+pbD/aL0GENqgOND0xWIR+U+FZc+h9YjmiZ8iCnyW+6OmXoHX90C5jHi/S/jcnM7u0HqxnbtD/qpNL+C3DPbZpS2kkwI/zXISSALSsavCnv9nI0yHUPFgb4aZMwDA7UTPTNQsSYE8qNrDy9vm5NIaG+0jh1d/4obDujDFYIl++tMTlV7cvhTmywUU6hWm/JEUjPDvErQh2hkKNqf8PYYAGn59OI/k4YuegArx4BNd/tHcGvQFWHHIUjRceXU9RQUooZx0Iey3S9N/kd6RBoDOEeN4QStHSJt+lCDfAocRsRF8S714JuLpSQyt2XJmk5BoyjltmFK6TpxCGIdZOPzRc/mkQmPKViKzYjUP2cnFPmSJaTGfkrWJq41bPLYiExa4E6z+zhXXMuie7h7KWkErt1M4IuP3Htqi5y8PhoF3e0zjUQ0ENHCO7RNdhXIUlOoGICu+PqXs2oauTKRG1mhr9jL334QdDeMS/cc66kLsmeBQQx5sYdxzCtKRumLUNMVzDrs9ePLZI2G3RcsNMG/Q5W4RL3LZvlP2IJMimR6rIjnTDON32vwx41R1E8YQwxT9j0QMM/0wJzuaoi8mUaogK0sbMGYItr8twJHtSuemJ8ZW02hgFwEn3F/zfCMsPbyEaO1lcobonXSJQWkiSDde9LnZgnWjdethWFje2/bDrLCy8pbqYr7rzTaHcibTL0TjIVGsLvSMWCNvCfQKJTQ7bjjDDIwTBFzA/EG/6i9CW9Lztb4n9Fn/HPfMjnvYuuc22wMLbuD+FKdHX7NTPa/zRO89IR3beDAqEMzDo87lZCw4PmErAR135uXknQi8A3eBgpkR5RdB+zkrB/xB2emlOAq7NxHDxdqvyLpyitbuXMF4Ujqgr4vRToSRAyBsi8zhtX1ZGiGTct1EKSrgqrxs2nT5Ze2G1n/1d8kzXST16BcKCJOB5IE50LrYB6vWkE55Sg/VcPAe/BKwkoKOX9Q1ZLMZ1V3oCohxv8Cu1ThJbKl60H59ZsXvblZMgv5aS8PasxRac8MdLbKJS2Tfw3luiK7kCzeOhEXg0+hSuLmjPwiFyO/sCLPO2p2Imkvdj+NWVxXk8FROTRNwiMiKx22gUKeH+iCh0lOyrrTmkFtUSbzo+beuiJkvrWbF8Do2HBuH63RyeNcOnNuJqbfOprR0HDK1jJqzXkaoKbGG1Uae9f9yULz//mYps79D7L8w5bLHgCZXZqfITvLZu7BWU9JWXx7KDmAqYqTL/Bl2uplHp+DDxWiuKxwS1SrednBKZs79IMbdEHMVQJLWmSwFubsHp6mTYPI+9MCplUJP+hta8iSqkxopyJyrNGNMiX1mNwt2j1d9QfR/Fj4zSpzK5bVSOcRfY2EICVY8U/SX3WZy0g+YZFi7Q5xYRTZqu3JVcuS3SD1HC6vMZxqc0LfVqrwKORX8DqaLVgSspz0yD1MUyte/273+lxTZDb1OgOe/3I/xADFplhFg+CCKAzKISK1FNo8cBje9EyjR60cOPEZ7UZ3XzHkoKieOaKC+RSAvbdCNYadVfRQ0uQPNFzvD16lqfWkENLphoSzYOOpKngoKy5IergZTumn2hiYStisoDrJq3N4pvMsfvrxxdKQMnLOMuSW5JRkTtuj3gPTsOWMdM8OqAlnLap7mfjldE2dmZGLKz7ZC8934OBk/tPI4gIAGuUyZYS6JyOLbKj4nemcyhAtW2yqFuOa5D44yJvFz6QmER4I/UZatQW1Eqd9Vt0oWx3n80cOqcRQN/RWGguNqVjidFAh6SPJhstq/zvEGlsX/0yEMn+5g2Z5krTL2Op2C7mhZDsOz6rL/XZhy/WywVdsTxlIghcAmFL+odKfohmunYkfHelLRQdwaG70xPDhqi6jOKVeKA5RDamA/tg/3e/CCdipB3kNtb0YjOd/u7fdPKF0qesAu8v9IQ/IZZRhm3cciWU3EglWNcnCb/YrRgX9jsudYBa4CfMLYfP5mNLdbumDU8ur7t2sUAuKS1l8Cz6tWHu4gbtfPxfaukqV41Lm/v/j/4yNvokY5hFysH2cRg+QHOxCXv73ao9VyYfaaxR3VqYD5i/pbEnIJOq86EhRboOu8mjqFIgjNg5F79NoyROgBVHoTps+GmYgeF97yPGIYmy7iLck+GwzMrGzPPJ0dtBugjCt0LPoLy57l5HlmBMoUDNW4B5zwlqLsnRvonpq9PZlJNpxwcQfqYqJJpJVymhr9LAgMnz2czagxp/Yj+d8LeKBQni3RA73AJj8sv+ZA2LBaUptGFjJbJFKbS6EL3T/cGzeT47NOWW+ya6Iac7J3464067PPWvWV0uFW64MygtU/I/jwKk25foIsf9t5FzzPcarllYdr9C/Jz0VWNzvlUL5y7DhzKb/kBCjopO5k250xE2hassQ8Cvse9KqOX8uRxiUEr6ajQzac3JIPrIMIhSPGf5P9dcuTxjw3f3StTjYibo9DOFjKbtxk7gzMb0s6Wq33+hD2bIlI/T8afq4z0S9HiF2vnixxv+2fv+oWdXaMtaDOxpTwpNSi/xFkhLh41MQNjPvpyGn3k+Z8A0rZQ/PUHa8o7f9zIHLtg9YPXJn50EJfLcOCgYyQaAnJ/YQGGzt3GxkuTuJ4EF8krg5enU4Gp/Yp11o+JYREo8236iv2fpFHsyjRauP3NCKTRwzgWLjxVQSMyclLxVhwxgh08R+eaoDyvHVKBnPnVH/MgLERj2Bb3UxYdvnDj68ihlFiattIoZUOS/+JbEhzoj9Hr83bl8zogl+DnaX73EfjBX5EGJ/nDLnCyR3EI+Tb/Hz1UXYSp/FC1tbJnCCJeoMnfAa4HOr5bJ3n6uD9eO7qmDNnUmUL9O/el51c3el4Whj1nU+8QRrMg58XnADu5XOHZx5GEmvBZ4mWDieOJxlQweVYYraQzJ6acTp9nSZv4FCYcd1NT7hPw9i/yJJ28BUrNnUjNVCapt64qvHdPP4qjQzG0SoFLR5IVz86XMfivw4fEf38BSPajniCCbST4mQnmCbfXBlMoHZL58UU8N361A+RwIJ/apINtGRykpI6P6KuTNbM2sXSw5ToKJ9aTogvzduwhYLOW76pZe4Go0nX9QdIz5CjfWOMQAY6D//fWDHvhHHKyuKLXfW2tB8QJrWVK7FzWYP+j7UgL7KIHSxeEZgpvrkn+4uBxAw7ESblRJ38vl+vqHum/GWx1a0x/Nid7/CyMDABexRlourNEo4O0q4f+X+NlIaUrmR3NZvV4TSXzE1lS8On3w3sCctNW+oz/cpn/GS1joHSpY3qbJVba66PMoJZdxyQUIv5oxc4ijm//lCiUDRkcaYLl2y6rnBV67wOHB6ziH+nuMdVYnQU66GglSyDfaU6y2Lv2WUfArVbqtg64RTog2GcWo1M9vJtn5ezvAWaCpr1m5lZa48Dk/e3UOcvLiv1PYwgWlJDotJE7SAzmUThLramAeLsT8Qfpi6M1RFZdF7fNrREDWzrqmxTC4kIOHU/SpyCa1rIIqCoS6Xb0QAF00JEcYDiylvRn6tGKDQJ1T7jwrg2MfSLY4i6prmBPWBB6M80nVxsusSzoO8WPV0mrCugh3YeDnrN7WL7GNHH/BOzFTGXxH9vwR7+LjsK6JpAmIU8/WgfAiFMjhrb70PBiFwDmxlFsgQkxhRXwAbz4tXiwACU/ZRgOov4u/7Tq7epL4DNsui+MfarHMcPKxpBWKh7dVsmgYAxpyPT3G5H7C1hht/E/MpekAIlpVvxB6NZWPp0LSYtbsVaQcqsPxycjSW7fU661Yu119Vo6CYqwgV8yrLcStJYix4ddmSFPBwOPuqfa6DzAyHiFpe04IVulMe22nbSCnC3xmZOhgGjtUS+7ud7IsgR2hBIh5DQvUPsZVvpB7qXBjENDje2FOqieUK1Uibqh5mlMQ8e5Vl+AIvpvbg2pPcm4G/iJAeQrdYfS5qp+JFscvTD1GB5vQLPRAQB0TlH5DaxrYSdK/ibpcHRmgwBH/sTpYEnlxvg0bz61uCzheYyK+skhbv/LCo1YDIOL+dK6Hs17ISqpCsHLfr1cfVL976xtf1C6acMmUscU1UjAnOZA6PuLqqCBVk8m/n5Pq9gxFhDurFNqCO3akAnpA/De57qUrS3fE46WrYh3HiBr6o9GB2fzqV1sYCWyjIoWNUbb2yF3JdA/cq7vC7bIZroy0UFtSZyUZZhKXZ6tmSEoXWxNcfjK26Rs6NlwjUTs4Fp/EYjf7IfqY1tBYCMVMGcuCH3tqiAE8N3Y6x6Alxl6Vdth7x4RKJtEz5Z+SpwVL2E2/U4eUr4fvLFHWcFpx1pi0dMCvNMjedFiVtkIbRD+mNJvOIrqtiOk1nrfAqlc7NrIX0UwYriUz5VfkKrpyj8JIxSfVfDNpeViPFTo6Frp+K5irceOVvBfQqSu+yEdxj+OnQKbCh1CtRTFRB2/Mxr3/L6qbb3ocYc+TV48SqrJGjorEryWasxXD/EY7p67gO2tnCLSL+tlbgpFNArZvNKa9fzGzPH7pDModqDPTYgE/5CpxwMhyQdViLTNMRX2XdqVtOanNFslZTIYFO8GljSSoaTkBFC7RnyyNrdH+iLCsr6sEPQBJn/8tchgm0Nge3vrpXIVr06pprCZWJoo4GT2bvwpTuIpkBvWsOh94LW1DwCDr2DGdg3xvOvz/iD1hgPdgg5NE0jc34qK72StD1kv9f01MC1kZlPj+esh+3spA/wQ5LaQo3D3mGzN//aWrYiaudfEQa+9Rp0yL4vb+cubMQGc59LfNwSnQgv6NzVWAQgBWBfRwkAYj/iBTXkDIj311GK2dBSNHBecqTuTCEtsdO2BBoRdPTm33xybuXqHzDyQg9v6rA1alcxwlcXFxqtUna0nticnTXEIB5pGmHGPD8b5SzbmIN/07+YLrRjkPdipY6u3OPFMYFMvIQac+gSE7GTnIOgUmif64y4A3DnVs0PXy58pbeURfkLmV34nxltEkBqD+5e0SQJr6JrOh1GHRA1B4i4bQyjzVK5MpqkvgI8ybwhczBcQHXqU9OPuFHtRdZd4VPOZj6ZQbD+Ra0pSTiAQ1MpRTO7oknfEylsnEojTAqNe7CzJqpWSgahfNw4qqQu3D5f3+edricKatn4C+oHLMezE5na4KVybao016nV1g/FmX4q3EDjNLUucfovENiwFFzjMYyZd+7nXOTLwcRpKIouAXWZX6itFvLv9R11KOwm/XvdUvJZ3wYSZrhAxZiXPo4eS2xcyXCbnZW2ZoWTjFpg337JKVkaVTZcU2YuN3GgnGLIvo9vuH4rEQDyVx+pYd8ruaO5Yg0aT/pTV7pcuxotr4gOEzbKzSlsvGfnKAY9CFXmNlROyXF7WZ0oCPcMuW9oZ1woxTc8NacMfTuFrxLhAbcfZFO9tbLe8AjNFp7g0G7nn05CIeHYSPU6eEniQfAlu2B9+7B5+nUOvpGmgOT62LbLHVAFRE0hy/k3EWOq6Tc3nlo9jAHTp53OvtBTkExyXeTbfUFo7/AjE4baiMkupNpnTahbPM80GHtnHxhMdwF6AEnkAXnTh5/8cvWk7yRyEgT9+qaOvAtT1H/kQlbzFCSD4uI2uf60Ba0FN3nta2bpCLmsBKGKzk+fvXX3Rlbw/0ZQY7RhRDKEhsBEsYZVvgyx/9nnB3cvV6IxUHMUeWdg9/HJBJVEQ6l1avfjB0at/amnu9qBFiuugX0phv3tFI7s4eFkq3uvrDOxJEzprteIF5GndPyS+PYQNDutt4OEEE9sIvuk4amxN5GIwf4hnDb1j5njmHWNYFAkK2n6cZKrpEUsRJFnES1CvTFTz/FTIC7XmAwUms1JL5Ga+P9Zoc+AL8gXZa1tA32SdQ2xYVrWXZrXoHwJMufqj/HCcYSjmBD9pJkgWxlue79ao4DO110dp+kdth6ZWIbnFY9+RwJzYCyJlnti3X/XrFz4SaSANEaPuFl7rdh3kMRUTFhGNn5pDsA9pE8dWF0gwtA+R7VhoOq+j5tD5SJoqC01mdK8Gob8YlgCfq8Vx24ojizqjqs5S6XPGAKbQ9GAaDnujPFVElrSBiqdKd/J1pQDQNoOqJtRzmaI94kZGL4BN61h+s/031Pe2Gxiwi8ysb9oqOdPeA2OKcAb7J6sbh2Og+10aDSIsyZe7ew+hf0merOV8UVRz6mUwlNUaOLunPXBPRwcDgYqFxDYsLTMaMIQMsxbulCyhMFGzQYk9mMKDG3zYRl/ELDe1nEPtnZeCu2lv/VX5H6m8nAAktampNk5zkZzjtoZHCIUn0BzohEeaxPR3fksLmFGx7rRrhP8XO7XcalS7mYbrNhfPJMFiO9U9YzPiOeUbGqR07Bf31yykfmFozE/ewe43jlitkBEz0kJoYG+0SpQZndLilZl+Yn/qgYpma8BseI7y+1kkUoP4SnAiSLj9BqLJhE7Ctodjdh1yIIh3k3cp1AZRYhYaFstavY5HT/QRS63QfFYC2KUubvGAhycpGvolyCA2wGvb0KYMj0yNWcFObUKDdsMFxTVE/ZWKiXR216P+jjm0ih+QH6Y4nc3f3ciSGazMbhBtCSFrYkz8KwZ4reY3cOt9YOMREKh4VYc4IYaS2BBRiuhYtLEBq74jz3+ki7Egt/doyx/EkqeoxSdF9vr7i1VH9rXAUTsh7e4W2J6YanZBZZ9NUX0BKN3xva1Fx6SRSP3XMaTYxC9Ot14ZRryVirCwGcgfo5/gl05qilRN3/wZlJs3y57dX1BaQFy/VaSfQnAm5uosd/KWqMWklBL3nGfDsxdThDX7lmSJm8OzaiaWBlrn+R9bhC+JdfOktFNrSkUKN1aVsEYjCihm61+mmBvnjhTthMJW31vBFT154cnID1JFQuY3kglgnys1GuheD2ya2sUV0891RK/HvSAzENw6B1HJ+nYYTGOd3DXNAUv86n4fJXpvfEnv6hwUIGnl3HAzG0fOHMA/svttjFKWnQp1xAVmrAmz2jDMbPr38xnGzcuQPsl4Nvz4/chnICz4bv+4RedOK5N5gScu/wJ7Sbsk44Cf9FZ454pPMeAUA4l0mBdM2J+0Kya++pOBH8NQSBXRjU5D72200YVWGJo5orOWUNIqD4a/bt8JjZcqcvdC17MAdcR2d6wjIxl2v8C9mQwvJ8tN8ygyl6Q9iPni/Q4P6ItZDj+qQ/cj29NdbITC1TKn3+ZKgg3a9IenOwP6ZBrNKMuIG5i+vVHBik2fkcoyuuo+Mi/YWBgEznn3OSKqjIMyP6kXGTP0Jxh8pUHSi7TAdMMOBoxyY/CABOmdJvOh2gWfnB1lB5+d6uOU+aEntpNPNU9pLEkFxtFCbd6QdAPiTky3QsnW93MWubhsKBVvGzwg/hP+TeGjH507QOPtCdl7SVGU/4W/dGkGelzO7Q1YRRNjhpj+sY66Cmjf2ArmoKlCUAmQwTiCtVwKEUrxHBbhmsr36FmO1lXbnEH8rWs5WSuPzmaTq5sYk4SbWDCHmA6eKGUS15pC72hmzZ1yFGpV1RZBXp8uqdpFxqM+TKsSWQv+VUmyd4qr2o/fmZNxNJraybvchYWkra3rcblUbb1v61m9C3Q9suqmDAoHjJXVSPxNwhEbAv4eHCMI1tYPvkBtxJC0AoLfPCXNOQVp/FFPZ0FhVqr2SszJW4dNYLIi93BuxW6vw3VAKwDP+J5ea78fUy/VkfLEjslhMPQ7I3tmYYihjEB4geVS17j0Ixbs3Eke7bhxjwBkp8X35MXJ8HDEBQcXaBYOqv9XxZj3m1Ey4Ly5yKLPgvXCgLyOSm9FEyf62dUdiqxENH/jOohKZT1wNA/MzxRouJ1P0GiJlh9JEwgpEaTIgPBOCjTs0/TxMO0T4VwCX8LaikbeLm0hepHrC82BjZqaKv4oI6pD7IDE4xE24g1D3e0K6w3kXaVRfF7oRwQm0t7QtoQI7a0JZ8nONlq/TpbGFoha4lsmgDXq73TY9Lld1Ky3K63lE5y67AkvpiqW7v41vK6Xvjl0k0wzNRpoP3E2STs8n5LNKxD85PZJOOAxM06x6zmeu4ymaBDlHg1RzQpjdCmtIE2647VEarm+Kg67P9TAmn5u2OiycP9CattxipZzTKVnDv0lc6HrpBlAbcmDhJDru8RxhJDfXZdQ4W+5e84umYgVDThC4QwGJ+qsztyR7vmlTobDXQp+LbPr0nT9tirhT8EZ3inNIINmNpm9Bzw6pJ2h7EH9+ESSXqmT/Dy8cyY5Zs18paPKOgHIqRpmuZZIWFSHOCqY4sY1rQ2a7MkvsIzn+ru6/OCvUYOruNIrAboD+NwRj0kTcgldyvQtIBMvP0YrdrbK78dV7tMbEqY8M51mTAZ8WlekwCkuMwhb/xE2xyUpU8ACR3dgpE2ns/vLofr2XlRFLqigOlb99qGHvn0mS99shW47cy/gt6caiftJlpRKTYXJyQIIzfHnizPwgg1//RY/1FcgH3/Gt6nQZkXU4oJuzZiNK70d2tikjWvR8P/rf/4lXrdsO2+OAPp5625bmaM5+w0VdgIgKBHu4zyZRBTBKFsSl0gadViFOW6/02EPAS1XlmvF/elR1kf/8LYZa2lh2wreJLefyxLf50mivlCGanZ3S0sTVPyrCA0ycdZfWoKSvnwN993mOhwJH6LRFfB7vctougHMgCDb9IHVPEnpYJwgpNZsjCIE9GPddovk/Jc1ZhvKYhs2xxKhidR0E/58FpYjk/iaHtoyyAQ2A1anFnDBLoofebJhThT0GcMxbekaxKWb3eAxPGhTyNGLjbL2NdMJggmmGJegKyDUmoTJozZ1khAItpbJ2cOk9CqBbMBxoTbrdbpX8qDYnZv35AUHFbuhUPrwD43kmQqm1Bd7jpvRiGGx+/J02YIcaISyC8cD5vFviE4lxZD1JZAyqt+/cZKKsE4Uw5t56F/zFygwJtoRvQ0+/sQ88DmC2tSboWoTV5+4J1xuexu2r4vu9PqHLxJ45kMn/4ZPK3mdwplma3tGymsOLzYrIWj2hRYT9kxb7S3K+O3TzzFq68MSqXa46M+OHzb13UM5s55dlmyIWrWxOpSDXdlcP0ElwNSuMPc2hD3q53CWPzz3M7SEtgq6u51/WoXMxhALdZjcVYDswi0KkR3582EZGY8ePkTttGDzspMt2PVRUUzvZ+zWN2r3Y79NhSyuWh/8xS+PXeLCRK2+0beT8/lxKahxIg5lj1LuXvSNn8WB95r21e9BBn10MCB+YKfm20xtOHGS4Um2HrhB6oweo1ATQ29X8Qvuqxj8rwHj0pYpjibalx9DXDdUXCgVDuhYTP8xSxkXFYMi5vT5PSkekPosEVdA23SjuwlZdPEHa61mJVcdlWyPlY20vdHFcuPH+MSBTJ7GrMntfeiX5wDV4aUlC5oSgSZzXBaJiwsPHfuJkpmjBnAXeqU31UXq2YuGZuu5kR044SKX2xXHPbb+Yy9IwEic21JGQfy8lwKwFg3eRwACLMwpPsQSFoLpcoUXxUYkRwvwXCItDVb0PsQHawB2tiNOtI7lUpjcyCAN3oLM2ro0tCfs8gcE0mGduKHHe0o7U0ZqST5H071O+/q2RUUuCx/wgDuAPDWzNj5+dyrsI/JZpFoOUrVU21iJFvfyRIOJb8j5WGA6vwwEqGiL3yBs+yhpscGyVSGiDz8K3Y4f5nTQtvAFwqQtrRcfM4uNu5g/32HfjWkbW8+iATSghB7/+L2O3tyuxC6VIV8+yOuQY0KykHls9glcjUqBVUbaFfAytAv3llIzzJvI/RSsOTTHZTSTAAtdh0Fgd0JGAkrLbzqmPJokjLQBEvzj5jUSsWOJNEh1Ta8dsTJmdpLxcBOn35uNOmRYkF5srfgK0rGBNFsEX/03qMSTJwjpMzvagJ2SLVHXXSxvl32HBTZh1ONQtL8xbtNk8Dm6VYadV6v8W0Zs4htJwvjSD4A3fqBzYtdVh8q0OeLUlD7j1T3XktSyUYbcgS9+nH6zjfVOalyJEFYSby0aaZkCLKj/HswiyryoMmWxIVOBy8FyFMxL35LRLKAjymcsbTSxmStKATD4d9wKN1fmueYkDWEDByTReXdAbzfKxLUoloJuaQNEZTwh4zZffwpus+Yxbz2vHkQjmnuVz6i/ZeKYHQnyA4H4zioCYKWUe/zsjZY28cvMIIXi0lQphc0rFvMVhPMmqNZe3ZWkOZ7SPHdecTUO+o9YqsAoAV/mRj3Ip2BuUXA/fP6W/eeoY7Yns5w2h3y1DfqHMvQ2wO2YoDGY4PuJNJyVgvZac7OOWVeHfvg+7fw/1ireNVdIAolGx2yTL108hw5Rkzumbo5PE/3bjJJux8p9TQ8yGizquZBJgfudBnRDieXAjrrwoIgBquFaxBvZ1tYRxH3jJmaXkTQPY05V+SwSxiRNJMVhVibpiepdjU94kRcqb4gwUZgxnNAuPnuJq54IMINBSMC5PY9XOeQANNhyn2BNw9xokRpwsNJ7CccmOdg6Xj1Ry4b2I1EwHmdtaDr2Ax8qJ74H+w92wfsURZ8etK1TvCBn4Yr/qnXlqLstEDgy9SfGV8Wy3WdAVxnSw1bVOSriAnez+vEVjNOkrpes08kJR6Bwxy4zlHY6v1hz9spdW+Qgjrhp6V9Yutd07d1eHmLmNIWK1tV+nPCdSnqi1l6zGrUdyAOL8XUsBfEyqnf1N3Vjn7DJ+0s7ImSBVYjUIrhBTMF4UxCYyTLgUJ2oUbdrirVXoJvRtJ48e/uWutNj1e//c7I8sh2cXO/jZsfHMLxTd/W1G7q/CsB2gF/YjintuZaJL6IB8yK33WquPItRffpm6tt2VmZ22quTDJWoxS30PSMaovgNM5gBtl+XGzxDWybePW8HJNVHl+M3noZw4g9Y927qC4L53BRXtplPEzSMGeg1A0hIym70PBebLdx4sAp43hJAgIabKHe9p6EBPyYo08wCEKGKz7bA42eYokcHBnUajn4HPrwtqHHmRvOpkuKz4VsWURMgjqEQ09FbHKZhhJ3mDtF6ngsadEtj3+uxJ908Ay4EMStGCJha0LuEctOq0tTwgu4NNSNdrGFoWlrgZPUMSwhZ5zKh+YBMU3A0w/+B0W7h9aks26oQrrewWHI8ooIZ90k2vy9eK9tkv6PLIsANrOvncTmCPLu6NVBaSAYRhhXyU7lCZw0w7sdm+z0gaaBVmDx1zbi1ZyWJZjKrdXxT6vTimNe2qQpnjuqaEl+DY4yMH3Ut32CZPpdyDEwQU+3r5bO8hMv1kBwRjzM+rV/2wD2EVUFXslBqMQH5RoZTLazf1H1o0KGXz3K+wLRhXZw4qpAP86aVVYHo9OiCAEbwdypppb4nCH/SU6yq/pPswp7h0G55nB2rJTZmlKx7bymzpxM2V+drRbRhwZVw9PxrLxnMOXMt7JMJZVocY/k6S8Ui8spxeSuWRpLJ6+CIBhZTRqwpfX52O6IT99A9CYroX2TxyYMCmmfPU7hiLPEVzDf+bgixIdGqjAn9JgZYfeOKNeVP6Z7SD7wTJn6bs5FLyYFkGAN+YTwL+PZJClDPsOI2DdC5YjYucfSqJWwmzzb0EFws7iBKcM7yxv67tvCe//1UaWq9MUjAOyJnMgDqmqI7qL0VqZx2sd47jkkpTFxZcy3e0Hk12P7vMFOeij4nFM3vufSq0xAcOXVpsMUgU3NVc2Nq6beXVjZLRMKu8kh5+h787nBVgEEka71IbU0FeEWmE4bLj49ZvArbrd54apjB4jJQaMuwkAO4tXkS2Kyu9n3WZF690E6Vw1PQfjjfvB5cu0HE2vY5rChqEL/fQd3sOquWg1jZMUZ4mtoipDwVd/IZOxvW5y8byU5NLwWUPjXv5yCz92Di8B9vtkE28Vlq45l4Bq7E/IC+h+SSvEEmUbVpIdxqqX37zkg5C3l66C5OpmAe+llUYe5cAIwKHLRCtZ6c+K4JWZ9h/6Bx+fGH21zjNY2/0ISTOIHK1uih0iW8qDAyPNFyw1jNV5OK0+yJ+3og0fL7JUAuvo4I4gFGl2Z/pfUrdpVARMBU+30nGVpc7a91rwn856xLpwIge4zD1IuvsrvLrSxb3PX6PTBD85axN7fEwekqFua7NHRsBJCC/QxvpD1/nDwzpYB2gFIPGAkMjyZQZQ4J0U4cmNxN5ORA/n6Vql3cJtP0M19EZSkA20SSuqBn6BrslcjvGWh7RmtvWmodAuZQmFypauI6yo8kTgdBuWBjvwhB/RPLroDI8B1IA+FO8RtW2HQqsLIJTt8oBVz0efr2qTocZrQNlILnifDhOfLLF1NdCV7/+TfSq97Hi26rXqAPKT0pp9MOD32r6amLjT4Hz3LQv2pC7wPSNStpCApk9+jELWBcTrJaUf7bzGQwW7E9imB49o4oOf9DngR98+PR0PaycXqLB3KVyNMksyj9lnxuJxw1TBNDAyTexDdpm+SzeOLIxX17z+5SOG3ruyUAydzArrqCrPbqPbjMf65HdfYh0EZYZDb9JDoEVEMWshK0MDjqlA+n+AEBPTiIpySMy3ve3kkt0CWlFWUSF+B4rFqiw/CiYVuJoPIittK8s/cTtdwfbe6Y9xDg7CG07mjaQedmqDo2FJPX9pzloGS8kuXJaiC20yGWmHhm9GIqwahEY+ldCbPZqe12HBx8xykN/S4xi+TqsQYELp+Fk2yw+X6NlhorKqGs8palG2Rx3LlQqaDJYQDxr/AodMptKiRLkA7jod+nBpjm+XtoGdogdjnS0fbfD9o1O01w4AZzd5lKBWoK3g1nNdoLjP9ONlzsusVwu2NtfJ28y+XFPoFrFuZXgM1210PonlwDMZMuzDG6eov+k4v2jTQ8vrMMvG+SwxMh3hEnkJjSJhVCXxL34WZ9keP1SW1KZipWrqp4GabO/6y5f33JP8mnC6M5KWom1EWUYE0fakVsgMKgfIOyfQ67m0nGlbZbDS2S1ifG4YKzaWg5yimiqczcdrvluwg/0MfvVXgiYCR7nHDkKTf9289iaCrjLeWMDT5diF/FITNXxZ6vXVg0b2mxVjKgpGI7CfRgMjNjCmltAq/di+kdTzkOKRGbYlcIPMTOU2uWDR+FIaE7/BFwb0uQhTc6AKipCw6RqaBtTh9DTtn2jUv2CY8JzV/UEJ4dic27URlkiG4rMIKmVopO6t5oJemQezvHA0onVkUmj951T5JZs1WXydkE9Wz45i3HHHi+I9MDR+sC/az1DR9oebvsMyuHk8EbdLmJpzhDhifON7sh4wkuZEpipO7QLXe61EDgfNaX+8fmFsmkv1fmcvfwQValr3cqZQ+52/3MoUFTaQm4bhbMUldmC8W63kn9GeI1oENHeQF9OqTHZxTIn6lo2o4VCZq5OO6daGryf2z5FjLNTb1yCp0EfIko3vFzicCptAs5QqvcuA1eI/vw+wzp4mTWbVsV0PBDwDz/J1zsj7pStqvDvsCN+2nzHNX/Yww50NgDE5qJcO617IbHsYJt5lsEfSt66zHShEJ6ZcCtrFTiaWkA2Xwnx1sUKIH2CSqU0Aw8YiMqQW6ePuYS73wB2SKQQKbvQRHQmnNcxiMwNQN/C50uOQfrWPYOv5+vuGkS2gTLcREUcYzx2yCH3kOQV0w0XKvm7MrPTB6C89LQ+QwSVV261cuDPxXIZ5rvXOSomGWwznqBsD/a5qma+qazacrx8iF4uofMU+hSTYoZ549wTUwWhcHxxTLWFvt6RTOnm8Oc4lDv7vxjxRAxW7QyTfUDUeRIoPlI0USSTwe89pvgmFxbZWqx1NsApdv/7y1xrlU3znP4+kXLxW19DDeo0SVjtFuCHAr3U5Cld/dlMoCBplZZHTP1hUqnCni8oZDhxDLqPJ33aMW0U2lhJyQrjI+0mltbb0RmLRauLhTiPpwDpGQdd/xz5SpcTZLpojKLZFUcOZmYiDGs1LwYkKUNwu2TfkfMVQ4SO6JDH4unJugVpS2cXJyVE+FfVClkPVsoTINxfdyvy7rSJqbTtNTxSCuQ3E1h1cdKCIkmKJPfsRNfc17aCFdD26euv3NuJvyrhwDOlMynmArj15uu1a4TavhMy1SkxtIvAjWwcvpKTNrwLaNOx7udkuWeYScdP9Bj1w/N5rdiGxyK8ji00SrTSEcI7q9Pa00I0o8LHiiwt8sXCDtEYAo0x6uNcjZHrk2GoSbwHpZAc84X3zcW2jDA/KU2oe8v6ZEysydOXVgTvvSfapbWYLt/Yd4Zpb0frEtY5Vcccd798pTbhRH31Fb970QU7zErfqPf8RKrSEYd2D+2pJrGY0AQ/7VxOiTjaqmu1J4PIE+sy8s/Pfycln/uKZlLa9XFu8uG1/A2VWLz7g1HRqo6Gk06UCfAl4t38/R5xrJ6liDjkZAGFjWbIwD5gmGxx/bdXyrnj8UHCkXInFmMcWYcNnjpfWKJ+XTBU2NS54wGUK2p8oG2dAm6lc6H8LN27nUvSeBRvHuVNSpuEHfING14udmO3noAkyFcPaIvu/TXf33BdVAZKGYWPIjo7R3WkZX3Ok7y+YS+0cRJyq4ttQSUoJDFaD/FqXmN1+O9TLdcPbVt0kLBnojl9miJoHprktqxFzfnUhuox19VmOJjZpJQw2HQMLMFh8yt+t/6UhDWqNfQpPwTpvpTxU6TMvn/NLxhfwLCy8AaiOpITwGzoxOfw5liNXkooh1HWTDlkMywQ6nTBkhtIz0Yuv76zJj/BI17H1U4MKvmYLLI0OUZS+MpCJo477FHneExNDzKJR+Rwz4OJ45b0db02QHp/7r4kYTcA/Pd/GqR32bYUaMlH36Vf2+TBTDhy+akclDPXotXlzOvOxynwTfQshiTGNGfymtfcNBphtlNKGSuVDJsYRnnYIU0fblnC1lRFJZCYdIl+ww7RjmePW8oeAIFY71xuds/ixdV4iVWlF7zrbu82RexbR5Bhx75tOltWgJQxYhocRs4StyMPkB8OIP+hxdRSQEugNbe5NGs5JdsGkQZyv4OvjbtMrGnDhyLX0StlGeRZyNUm+y6zqDKRkfAzSZQtbJFp+DHVLaTIKlp48lvgmgRDWeG/TaFVgu7XVFoFHrf2C4IP+KWi4zTdus9yb+ISmWAq0V6E53aO+8x3YXQQKJnhi1rfCbR0uLpD46OfKcrOV3KRIefTGKsuIaZKQ4Nsb01NPkuLvgNw5KhO0mYFmhAmlehhc0d39TeWygtN7EZZfzKgVqqNHhmfsxw7D54z2Py2hM4G83lEdIuJltx2ZVOCnzrWGQcbpt9EpCAZOcb07Yc/vP55Kqlv0GK5OqYj994ZM2yQ0PtN7OO74TbPnezT+/6UObA4ffgxKKQjYfEmgDUQjfzyhqYz3x3vKxBYnr2th/pnMtmt83HOQAeFx2bK7FOQ8J4/6Dv/l3yYePQ5AeRNACktSvdWVQEOw6b5g+KMMVW/elDEOj5qlYcmhdlkTPuvsAXPZqpBkjX5HH4IHsZAuFT2yjr5mP5+qN0A+hog8LE1rPXUzB05yj5a4y4u8oGikydJjWg4ZIq7vwHJdKX08YBE1U1ThS4gM1xNHQZILa/IMPxvYUiRQvzl2bEFrLJU7eBU8c+iDxFKaIgE2a5tveUUknSy1vnPafGWEXDfbAwJaNA9+P39MejrvPXAPx4XkfWZVutUsbVmW70HsVOTHX1JQrG/09wPuCqMa8DaRC+Q6pnaaoXTZGRa+RXLb4odilgro0yAY9VYzRa8PE0/m/7gLehFJDPwR5bVRi2tjoQyywYplfy4r+5rlBKae7GK2kqWyWW9uIOoMWDP9069kPrFUos0ssz/xIkM/WDktAzWgkiNM7zP6oKHehBrlLpm9udRxR0Fy7P33zmODTqZ4D7hoAHvcvHu3f8Bsh9Upw2iy0DWoC38dTxfK0e4WFTrAHKVX9/gXj0IhA91N4m2gsh89rjIGzCIs7ECj9MszO9ppw6ckYMvS9beK/9lDdByPWGPUw0uvlVWmtI6jpsacL5LlXvhYwQHODns12QyaVFQ9DD/f5tH6rzGVvjij8Lp8Rvp851RS6qKMQt1aVbMT7dESA4sgrK2XuhDIodbsUDLclO9KWRy30utI69gAq9LNAF8K5+64XNBGappzv4vPn2kPsbP36yZ9+ZbJk0n4hHS3RAHMi/EHrf9HANalpHyLxo5Y1JHxc+99D6Xexe6KRD8N9wyzcufNYMGDqBOON34rOAw61N0QmULmdWCMfuCh41NiBOw6HMWDV3wf3ln216zZalcVG07S/6kUmdSMv73XPXN3msVJhorK/61b5nSACAxLImRaHpwf/7pvKbKvv7vE6+2Mn1AglDkkOqm1eRlsqAZ85axviG/bGaKyTpJj9N+zK6+Ee2cjZiEcpuatennxB5GzhY+HEB5f3F8zsTbw7fWEkRLSgNPHgdUDmUdO9IECDm8+968zDf7PVDpOzI3+iJO19PYBiCFi9wXWhIKRVeBv9NFCLcYx7GNmV70/OHadHHAIGl+u4PHLfiBOBzxAhCpTzS9EjSpKTTFcoJ7WNQnRBLR4E5pTE7K26vWridSn3UgPbAnYDgWXhH/pYcOFvrrgoNQKEpAif0OQ25hvrxsE6xxGz4KQMjOt1ppivXL7g1kYK/cT7SHadvHF+8JFfEwCZO4yyFuHjx7LDwZ+kkoVBS1digzqeOu6Kv06rf48/orIuLzt2hZm3y+8Re7kW4yb+0lXHOC2rmWyTJbVSXWFUTGjYdxkSFKtQwmr3ibuCw69hf165xYU0/L7ifeIhybyi/5maLvwVaTa6VKGsPGlckPsCcsiDDgMF2WbHJ4UwC61816K2b7If1v0u8UXEfi0rChQFSMvM2wK2oYqfk2EfizTuyksBpzw60oIIolCoTSo9IVshfoybbq2IX69xJIkMnbqBsuFyl1AjwKOJj+jQLHzpGMeWTMmoQqeMJ63D6MJ7QSgLklutDj7uC5wCIlRQ0LNoDJe8Z1bFlFJ0+BU51/EPOwZbKhq2W1+Oby9QXdoob2ONR+603OabbMoP8Zhj2jM+CfXpsjw7A09ncaEg3gAVKwxK7aTMdxQewB1sTjQBRN4khhbuuzI82KBIio1eloih9uAt/hLL2nPsig097hKKluDiHEIDqTgIEll5XeuCpYhH4ADoL9W0VJKfyjgdzkc/z6n4w2IE/qiUQ53f37LiYkDoKHjXlYbv0CFnZ78wwMfM8INsgdwgLP3V+AmWAoClcGUWJaOv160m25xaqWj2pmQT9cXSgChbnZ3mc+vamSY2KpT/RRtSUNS705dYjBMT7neoRpXy9Tn/f8DhLUhIEkKNdIhJBxqkQ0otId+4uKH7Ieu45sntGqcCwKXOxzNond0A0Ukm/KtEAzCX2SHFqivXRSETt4uWlik9LEXR2XvbCSf6777PXE/L08E/yT3vKmVWu3ECq6O8WzF8Xriwbp0mcySIF6ozoAwzo/3fRlZXktdg11tSP5h+wZLa2MOVz4HVd1DsHq0aDxmzqQMgoU1oDasvic1QfjOS1i9MYz+TpTob8usR9CQThNAEX6a+Q8ZKAM/s/Ci0vI61MH2QxuG7CdOJEZV9FGfSQsVh1+RwABpAyCgGf0pDz1oTGCTZbMVDvIhUGplKfoUY5ruSyx2zNbcB2LLVehyOCcjBua2I7iMm/d0tGOXYhAiKJ6fl4cOMjenVi3jNBddgNam5Jw5yPp6dzNZgi7GxPp78RQ+P4AQzke8HNwKqDNqJBsGRoOZaqYhlLeokr1vD9kFjKMnHwYkBLIdpxYtrRryA42RaGOrC2NKvp7SBocsrT07qhgxvLPeu3KvxZ0oHNECWp+j1r1p80YgZTbmFIkV2ofMCnEMqjVxSkse5CEDcOQ7L/m+2rFSmfoOaVvmS8o4PTLc3kPQczweVYP86uB/7mhOISYmR3P7L3b8n5ULXawq9mZDIwsC+vP705SNhjUUpQ4Vr575LfaK7IBVd5TV/zO3qqObJKwoo3cke/b3Hw2W3wBrAuNKEihWCT4hPmZ6ta3lLJWl30lW0rvY3jQmdQzfClHPyqcN0XIFnr0nwD5zGu6pzAzKtW3s4dATzptksmmU/hzEDlAYreUz1STwvyPxBDtRjLbszSs5gTmfPObk6FFm/kgvVn5B3jHhVvPZsX0zGOVaSGnAuzKZezt/4AYCRo/ge+HUn/66bvoBu9R1yg+wuGMKpE38dQXXv7A2GFY1wv2Hv4bh6C6oTfsgUTgkUnrMwKBxtbJ6RZlRBY7tAXfdkjU8n655wBzDNrlzvh34r42qkjcXWSzvP92sfEjeAGbSxSc8iDNqxStv53EesVT/VKQWv2swNxYZf7m4qzYMnfW5s0WCfO3VA6DFiQhK9g0LKtFxY+hhRK1vGBhIslPTfO8PZFsiFp6oBLRiTW7zEvWwFgp1YU09+kJeu4oE4FMc10ajB9f3iMoa+zLe+w1UZV2rcyID8UX/tQ8MSaS5pgsLFIk/mtM298TA1YsEGJveP4/iaDPQgC16r/Q11GJIJBEXIP7LvDi3Sgja628ki6Fho0MH7b3G5k5kgsF41kJOfl5R5KMzg7d0B7ZlrjNvES76C5oEoTKIqYCIkloYR/RNle5jRnepNDmF4MQQ4lWgxBw5kWVpz360n4OSeAXiqiqNPu30GX+4QdBzx5rcTCJATam3mtjHyQxqOP9+epLW1wyRIASVXmfn4V6HissckcpTdMqB/GvzujC1xqfIz26Mgo0r2RX2ERlAmyM5/YjCgSI17wFxtBqDMsk8FtVoLu3vvChSpqwm8mmTGIzdQrM1gNzItC4UO/wp3KNkT5Ue/d1VX0hQnqe6bjcYZkT9HLRJAb/QMgQArGBh75tK9thUNWZGgFMRvWDKUZfy/+prB07ZXZTvrwC6unMAo3xu5x0vR7ZCmjSBxoqlVlj8V8ZKY/gQ+YuvLeUBt17wATFUZR5MzzYW05wvZQ2YW0eqyzpjO+669rQRSkYSiVHzBhgLKMSAR3pXtdWQP3k5c1sW7w9po813sfjfMe3BicO3lpGncUpJh8nXNvXubpTg0U54JgE85Wq8ERmr5P7Cfd7vTuCCEQEfuL3eFIEwXT0CGoG+bVkQzdbcjUTIL2DkV0ka/68zzXyljqVvvpKIosFyXm4pa6XZSopMaZnvlRu6y+ceJLaEq8g4rhRJunAR77csY2sdG2xOMexnbNE50YEzBdACePu+5HLTA03LiD/fdfA8+qLl0RjGUd/Ok/QQf58SZocxKcGZ8qeo+LIO3ZB0FSztRzrak3W5pOwmoaw4KNcdFJVCSw1Im3sPNiFdriozGMKDhYIuIC9Wlz5ed6MEnToKvJT5kyxa+5EPkFbZFLRTCuTWwcjr4vuUus/MXk7oEp1ZJKLF6OZdJkpoLDRJQ2IoRzLrkEH8DbUjna2EQ5rghiFdP/XnsPh76z3tv/ul2jCf7tEuTp3cXxXOFV55/7Fx3gvbTtI7Z8QMEIoBbp1pz4QJ1cUsV2znAeDK0E/yTuPZNngT4pJmG1VeJJna3eukChbGDA8F5DvEXgH6EyhUOJ6hXCuIAib0b3jAAIunP+Ertfnbv8iF/nSnKi4M8kPIC8vhJdVeMlqQMi9W2IMwWkfyeIDdmuzVWAPPRYq5nXOc80ta3rFDaTWSa9h0JLGXPkIPwp6cfUKw9CFg/UFrfGdoVckOCY1ej7chfXWXXWDURqIbnS9gaaLDSpu9DVhoATafTWEMu/QsL1hQlrLL2LdFaEZKX4urTVLC/+GFsQ7niWMhz9QQjyS69uCbx56EkClfZTUCCU3j7mmJabzmzR4oV+3eZ63+kzS665yMAmi1EgRz+uwp3zrTtP0KX46zcX5ckDhvfhC1y2mCEhZaQ12od7ej5uZckk1zp2nVsQN1y0lo8lBcs4Qv+znGJymX6i0/dYdyLddo1L7KpMG3AcThCyb5FCWbD7365OON2R2gN65LDO781ozCBy8SLK23WDtoxtM60Hqg+QIeYlaQV4jjHvVXOXtf0Ncg6ZAR7HmmXZ0/QzrGfEA+YmavJj1MlnXU+63ZymaX3He9oEaSkSAdLKOcEkrlvkApB51aYrIHuNykV26qiNlgHd5/pnX2s7jnwIQoOPcTRswZ99bhxhOCfDStc3TEdMtC+mQG1MmC5UtPrvgq+8sXalca/pTfKOl7v6QAR3mmE/TqBIoSoOCPFtEx779aquvpp7xkLgmqYvv6wNPzX5kJ6AAc/OxCQZQsXHFyQ1ieFRs99AqOYpxVlSLQLycvbhgB5cMFwdil/WkWHfTlo2C08+fRZ46IdKbmlXlYL4I9Xgt2Ckb3aOKzH+zVPle0UqlWMOkSL8R4pqgvU3Bg0AMGYz/PhvLkcb58uuu+ox2lE+xwvOPnd0wNBXyj9zj7jmMC6xBWUqFjQ7Wu2zJfVv/omqrzLNHDiehRrHYm7adcrI8QT2+GGgVJmSb186gJh1w9XsCDXw6BYa8WRleC+BsbMIO49L5wDT3rMQHv845p4qQGLkYY3+Vzoj9MzgG+mU1HWmiqhtQaawzrVMyc1R1kBGVGjsm2ihwlWniHsEnCb8QsdQyC4rB5S4rsFsvz7hJOsR7J7tphVVEjfSn0EGg5kqCIETbo40Z70gXv0AQikMtF3CSclJqT6W0lgu90sbuU8ZitbUMOnKwmaFVrH3w+cqB1hXj+gcjbPaWfVP1CAoWe1zYQ8ZkS72saCIEOvIbeN2iVB4muXYknaI2WAbswYSLYoHb9rkaxjrL7o5K75+zHRyyPWh/PDbavNE/LEItUnuOX868Js6ho261+CJXwzyhKM+K8meZ5+vjOcdXpG+1YNEosvBOq/oFcAG01hAgAnQem+4Mt4NV1gJH0r1ouEPienW4v5C1BwlctPNF5hY4wmj869nx+5ug9LpzlI7MwTr5L80/Pz+J8hw+PKU5Mxxfc5XnSiZeINm+j/OLbqm/QjdX3mnJv2F/QJZV5rKhbzoL9MLEvoX8Au0UWD86Sc38ewcBK9+DhGt6LVB2apbpncr2oszxV+OMhD94tkD/8MFNZwvGPh8WF4MwLeaqmPFgtF1W/g0vzbJkcDXE6ebNeXRvARRL2dgnGCcrjj7pybfeVwSGZ4WAUUhFfBbmVPhY+v54cY9OVpC9I09RrWXy9Mcz5FIIp+hqxc4ib4uPnnG638L0fymeX8yGnhw9lvA7vY5xSuS2D8u9hGr8giLEyuQxdIDlFbur+SOCnygZu93UOB8WzloSobIXUjJNkgX9QVNV6zpibH2KN6fX5hODlG6pn77bvsjq35nb19RrzAol+aie3rxocgWQm/2pVnX4aeVuoi5sbEJEVZCyiW3BvlTa781yiVBleNNQhidlY0oGxVSJDjWaZj5pvNQki0DA0LBw5IahcArY+9ZBcpaPpv/lNBkRgBakUoCckVBz/Ln5pn3p5e4fLWOvg5NP8N7d2WEewmKIX9M3INKEPzzORgUEqnNKDKxqYuQ7PmjY+i6Z8oyKBk1IH360GdEo+X66PP0kysl24TB7qrYlBMOSRHrzbpgBk+45yR0ykCZHGx/cz87clGC/biZ7azwUKgHlhhUXYyrGQ9MYKs/9ECTHZaXTYqbmHQDZqyOVS/6rjFvgO4oG5PAEfVSTFPTEwVH7cjmvesH2Pta/PWRpLCS2xNeSvx42ubQz0qewyAftdVROrudgq+sB2ZQdlKoDuJ6nqpFtBVr+KWidajdOx9cMDcY9TMJkqvC4gByhpD7fBj3Nr6fpluynYZvKZlQrgRzJT09Z67tVT1jx7eLvq7yH6SXhLkIa1U+QxJpzUN7YX+1bjfAwXk8NQfLd7HtTmRixeXCahqGqxS3SSXfI9E0LGKqVLrsPw8BvD363TrkelopbJiynfL4h7xYfa7kG0IuVS/t3Qf2VUbG+hTPjYTTATkbEbG/RZCuPIT0MZ7kBUbKGmdCU5EyA2ONGEAeuMgD27RlE2x0U343H2ogEswkmKRGT8n9vwLKQqpNUwL5ZykOfSHJ0KmMCGSORZMiIKChrnm2flxOOiOV4+l2d6l6hpcbTnVQNjL3gYdU84dMljvjHAUHuiQHvg2ZjMFrwVUuqhlRdE7M0BxeVACUtsnkm8EWS6MlGnEzQLzcTtbzeanN2Hc8rMG4rqIsiCVJmSptVq00bVrU25OFdZK2+mbe8nxPoHPt+NbyrWDN8vVqrjhJc1AhgYw4ARzCbQanjqC3Z640K5kpFsv6GPC96q1lK6DLDNq3Y+jAO2HENIxEQMKyeN8AKDqbtJxvHWe6yCZvn6FXDqrIs8UoXGyunpJOa/urmuWCUCtne4GRnFcKE07sdAJj2eRhRy7Jz37efbsdqQsK1h/kqX0dT2FZOABVR0ssgpI6kpLr3WM1vUa+pj3nGdJh+HB8fkflHxRopIVZej3a7FRx91+368E5S3l1shUpwygt97daw2p3ag8DvQoNHbRPX6TOnpNJFTl6yG1iMRvUoxuBHSIOm8XZ0hd7uCgQYqeWoSYaNgTWkPtzNSFxTZg2p6yFtu7QaXcmcaeoPLCgzA5aHOAqqDQUBi0zxthJ9dV2wYH5+SwLpXoeDYllRzwjDe7FhQlC5XMNle4HSocAVDWCtG97RQbHEBzRsiE2k70rlWtk3KE3hUtt/hDL/Fm2D2pZ0meuddkm+w3NglGJaq97h9XNwcD1/xpsWbX2+QwlE/PQkM0mtRAi4wdjqfvlpdC/oNn0TvkaysVFZtlmbSsAwphWUHTSS+jvUC9y0HMfMGMRQv84Y7nON1P7A9G5kGmdB3rBCq9vs8G7deu2MghQlorra0xXt61rCl3O50WXWEG7prhtTISM4SpavQVRQwvQ592IlPs0SzcXaCE/xJkA/9k232CY3ItC8iGEpYpvMPoe3DEUuCv+2+vsdFQf5OkqoNyor9WqlsOkVXG92YsJ4YUYbf3KU3wzA/zVV8LAYmGLSE2r8VR+og8nw/A2CWS8E59uQW3xixC770H+obsQLSDdRCeuu7H+lN5goENvrEhF1qHTcfhI0ZS++cutkzE7cmdfW0KZg3t2osGXa/MZhHL3tQ6yXjRVyVgvlai4odGyVmWjN5A8b/HmzPgqrAvI5qUMFn5t71JIphHvVdOPgts+6IZpoqhB11iIhcx7wmYiSQcn4c5JXu52LrlZDxJHawEcIOY2rgMIXCUjhjUhyfoyLb2R6DrkLAFknCWOoDJn3oNVj3w7qqNWY6MQaJ8cVg5uzXYDr7T2PQ8Wu8GIccsdxW3QJ6kzvMOB46MyNX1bhZqR5QSZXe7TzIq9TZsdBXKnGGztkeCfYQJyEmYKagCK4e910rYtEpCLDFR2rVIfgVPHwBrR496EKwptwdrLBfMqWP6ymWJ12OZrKGX6S/Q6ij/a5uXChrQYaR8O7J+zLzn5DW0sPj0CP8gRtXjdZg72Sx8L+1R9c1SPPfZABBP+vonvgIsSWqKV26dKydhG6iCC+1F5Vdu2xmnFV6538ii8KqlcfoAIWDBBBmY2r1zKf8Kj1iM22AlsD2njH+NK8oLKvwyPhVC9JCYDjRuj5mrl73XG/lMeeYgo4BTZfaeQUiHevAl1d0SwrKtHLuuB2DnBbU8nWFcUO+xtE5JF/LToQJ+Z9dNRDG0XeFNngjSI/L/ILEqqKye0MXB1piEVM9Z5jxaNCIxGqGjwEpTrp6S70Mmx8jE2vzIC9fAUHeYVrX3k5AhIf8X4ieCecn92QRt1bXsLnkLvrZY9hx4ksVolAnfoH9whK1P2i3aRHkc05grfkYelhPpZtsycPfRHY15NEbM+PV9cC4LYqnhjH6TzWzUW5fafKL65ozlsLJU+sc+8s2mv8AGcl2U2QqXSQPabqdYnppxqVH1F5CpRoWbgL6NI9xdEKwFQzzPX+O0wE78SNUB0MhjILu45mJGfzeVy6qlHQRDnnA6lI3lhnsc9ZTLDw6nPTlhk/GagWbSPr64UH7wfHnadjNx/KEFVO4/xESwUw9CBt43SWW03Ux1wbxJXerzVwcIfvjT9xIDqkUzug+IiRbblX1vdLEgXy6atp+4d1HCyEgwWLutzcmWA8/xrDv8qbALoQgxfQNhQb3G3x1CCe8vBV2aEljRfpqYBZ0ew9x9XHYdeu6km+u8YDw44Va/nIaLI2sOTU3lYbGQAgNgc1sgUZ4qUUOLbq5a/xhD1SH+JrnXAzC9lHR72wqP8jkpbTUzPgqnoaoQYR5XmCfrI1Pav/NvKjPtwzka+izya+fSSkFLanzP5XjyDqDniPruOqc07BKBWsfasyP56drkH5PZBr/vTBVnnt3t74K307YMbL8+VGfiBLp2Vn++uUuu7OhH2w8LdWNNDsWe4PJgnO+oTB4C8w+I1YlCcY6m1tOAz4oeBu3PgY5dvrYOhapSt370dFVDAdvJrY5pMlzxHzrMQKJ/Y/x/WRYItl+zzN9T6KAH5+qKTi4u48y5HO8qHja+YsAkfAstHp0DdphUqh/3tUlDJ4DUN+PsmrHDhprRuP8aMzJFxjsUqz8fHvADuhhpQLsbLQ7onTYxeSbvVChaP2CLZTRMB2pJQKJIIyoMcgwx80R8kQ4CniTmM2JVWeTcOhNOIfl12Vx7UP3dhV7crnvYZ+iGRByNVWBlLIqX1rIi84PRiDmfcfoNszXTMdmlfq04fZ9xYKkw/CMnyy3ohld74bOlT+E0Av4ouFAl3GsmcPUJrTuOwfI0YPC9nXDLmTzjxAKksVl+22dNgf3EkT4H+sH9Ir9Ua0jOooCqoY8PJVmpHFcpBffBH1gbUpGBWHdkAUwo9Wqlf9XYG1xfgLuHNNlTpi56P3Y1+IWaopzq7r8jkk4VnOI/LJ1+QrorGJCaqooDxEy4FsskzGok4DzabNxI3k70JWCOhNZm/jS5MvzPAWZk6+9brOvU6Q8aqRblDKChcXLFLM2HdouIkO6LFe8953He+z8IIaazzn6vgUBdfaBM9G+OBbBu95C+ereE5dC1ZctKIvB4h2pq/HlEnfNK3/iWt/Fh2FCYw1savu5U9aJhNQgsBl34bVJMA/IYMab4gQ84sIBrjtCpv7y9oDJOQQpRjlk7HeD2RdP8Ff6q9dzYYve3llyLcB9rS7UiKYFLjhgk6rLvX7h+mglsG1xtl3Y/HB00ZZutIFbc+OPwylyURtDB6vQflPEYBTMS0+WohH4CMVXe3C+AbROgmJU2Ol0F7HIO+cJMsdxd66hQ+DDNqlR7zj0ir/TBTHGm1tzzoBukC/PR75ltrtBODzz5UB3kPF+o7z3wolMqq5uq6UMgMEg1UlsuTKmzWg5JBSTRFKnmsbqedgW7O9pzhbHE/wbt5XTde6JUJxivkucUkWNmXwFGGqpdmLDLK7zYgfDg8vjXqqguGvcr5yycNnorgeMjgjxJOJp2QJCoLMWbn8id/2UuA0/jgJhzkzi4w7ubYUKDdX7qQ7HqM5PK3h9yCQqbKPsDOkoEj/v++B+sxkGqcOapXS3Af8bu+3S9Hz6PV82ET+LFoz1dRW1IKjprsx3cMeNCZ3zDryk6/LXCZUE8SzyFtqnLXyfH+Lh06mqEsP0MT51aT1qohJHf3q5JmxSQLJwcd5WqVpfnzxLYAVoSvYNEZsx/0Dq/nN9eweNrjpBMDNSrXlRh8ThAOtGyJRZsTD7wDoVt1vjI5y1G2EOsNazNy5GMs81NeHfYBP3Q9y2f3SRI5nDVqUyJuJsNPhHxpmnwYro6+ulXo7Hvw32v9iQ0e5wMcrMQf3XGcnAxXQ9GAX8AjCrOCfupnFiPngn+lJY/bWRj9suqNEUb8adzl7B2uMooT5jXV+24wUuHXH2Sk8slHkot4A6vkH8mtrBFXRHcry4SP2UTnHt6X3tXU+zNi0faBU+pAIq+s0LvYCsRTfDCBGKf9SbRAQYeUv24TDyoRoJOSRpidhzsmodZzYzlvlPCqjtYF5KQKb6KqK7WMLbVFY+xEUkCpEgmOjrL/yZFt/9xH3zjZimLuxUDFksZtKcm7GWuqtQF9P5eacboj87lD6qfj01SyXPJ3oxiTmC/OCFcxitoJmjz1A4q49QrcQ0Fhx/cqyY5I7pp0zFBS9BnnXTEypza9VwbwbYtp9h5NR4VdJ2JYEnQ/h0h3vfhBtgPlxpERBtSV1Of4sMBF5erD3AyPBWNfSLQqzK9P0Uyce5eLdsGQ1sbI1tJMvdPQgno+YUHe+DuckTRjMBfG5XFC6j9wlxDnkfvU1y3LmEGsenY3XBJTFMdIQpvrcCETwMP8Hqadof6EMlEv6yLmg+OUBnqedPZOPfc+7IZTuNSV+YlVcW7Ij5UDq3QvLYuYuLplITLLCOq1617uvS4MWz5O8Psu1GDCINxNKqkgrSF+u85svHM8WckPc/VjWlEWWCkvcSZPwuq5FWfPZbFwd4k6GTYm6NlJRCBYSwl+z4MJEFq1qNVFeqLkIGXCMO8X0aNXEAxHbY6EkqhRicMLmBQJbpxa6WMJPOtIXzE7azMcDyTc1YUBM4O6nv145Z9kEDZysr/rrrga2qbPv0JXsWbsh8O4bz+dSq8ozgKON06fTOWC6R781TPVlymRw0FjJQAvVhyjDSctsx79pXnGwmw1PjIqJ5C3/2LA1e6+qITDj4Qs/N0kTV5S3iGnTKEvG608HQ/5TnpHFtJK8NC4hacGmjHqriT367AcDvdsokY+527ipyoDo+BODRhYiEFgyxv7al50sMqk3fNYOJYR/WnjCCxhZLHfDvyRNmJXDuOXj7kGCVmwTCstA4H0SHPF68X3s4TQfPFnmKzXqHRsvISkUpeXWejR2Ac/oYCd7UTtRh4Qse8aL+EbPEQV3U8uaZGpkRSLooe7G2AqyIuz04hFyywTkcYq+Xni8Vg7yRkHuVVPAbJqqtHgUcdhhpShtUdcX6jm2yLuWveJcNBafnXehCz9Azhb90K7MUiiiKE6ESk7mnqQYGmosK0Uk76EkWAbgyO5JWhLM4vyFHjsCMOFm4lDFWNq/ubTgZoC3MGog9e+YAiNZujwsLcggZHNVcQew8wgyhkCb/wnJCUzvGzLLe6bQf/uRzD8JEpDHgTmhEaKHl9EdJtPvLfHcvmarAkJLPV0EGHBZlWK3zXjK/UvkRTndteG8G5pNQZoQCJLBn20haAvDYt2Y8U2pSd79QLGadHc5NxB+QJ3Qqg7fK+/rd7ilnAWNprvZ/8sNH3+uOLitXBTMSep+NdTxnpEqifpwqhWXkBBqk8591yu9u6N+UQsx83mVwR8+BJYrw1FhqTFo4gJpffw/oKvwU7QFkQFgwM20gqYTOIlQskVpJ3CNk5IMN811TbXom7g1siW8R48SVjvLldM0T5EjSNSFZ/PMLSELdlldIsGuVPCCwPGATmugn8y6huA5IMplhP3/mDG0LGmGxeK41J+DlqeMyNbzxfA56ruNawNqHlbG58mqY9spWGH6hiUmkYPYoiiPf/F3Jy+/l9pGLrnyeCa8+UoTMGAg+Rrs9rBAzi6tiRFo35cnLnHSyFEbhFLUm5CK4eeHZnTS4LQ3rmFRVHNmL7ctlHUsmLOX1OfxWJK7tpGIpo/kwpEoJaQhkqlGXqsOiyl5P9PWXG5hRkbDx8zc0Fillo0qMTwOW+kyzJZ1Qazkit/OyqKqjhzTx7gfGDl2V8DQhWmztGqgYoh+1VUY+YBpIZoGHBKF2++8i4chub5QDCwGNPcnWneD744SdFwKB7s9qpRoupbZNexINIfz6c5+GxUnmDBCeKmT/ElEWJD/25RdxD1SQTzW2gZktAPaes3T7m2Ghcsh0YoKHm3eHQ5RWH3AWD1HBLsYwo8iiSuzQpoHiK6gNstxjvYMoS47qFXi+65CR0S9BABHZQ7eZ80008jbG9O8InPhWJXF1gooTaF88qcV/SW/fMmWgAiL8sZ+MvGQpk20Sqd0BxcVNbOEcosHqoxJOMo8YHuRDh3hc2VyDM2xFS2pjGj4BeIv9A5243nICuxo1K9B8s5hty0T990j1S7i3+s1AMf+5iSYmdr3e+5B2giIGLuEDAe/khfvzz0QgqGg/j1NlkRNI1jHUtcj4eq6TYzaoURsyIM06iCXgmB+UqfUjdDitu9118jr+1KyKObl5dDQIM9UhAbQXibN2UQ8cH9z/f2NxD/lKLsNY8JxJJoG3feTeo9pA0M6db4c6J87OI8urwte5zevgWJ+MryecuRUE6QcGv7MoE/N6uDl+unIoy1vri4GAeGj+2U5g4IFRe5jkG2oi5vrze7QIKvl3xkQb/mnzsK6QlrGp5q5RJdKkQPZPxIOdEZEdyFW2jEWyP8pkzza/RPM6YYs41IuSqmJPlLgkDSWp8Uv1FWHQG2QwDyP/RIJRhwmLEjh/yq0/FGCM8lCuK2cOWiFUDIV2E+JT/rbxxB+sUyf+3Hh3LIh+MtMemSiGet0XnjkmvKzSZ9/lvsu3dVSzdnawusVseGkwIpE4BIAzZ2aRctCegby9s7EdikdFz+gOFjts+WS964FAuEhQjGlIKTlrV8QveJfjenWPGSTIl6YZppCJXT1SQpRkgTHnRI/ooDv4nYnCvSYdh+1uOVYmQlL7aFQIrcbFwOiyJ9GHOTqaKZx7zqrXdlOF26s93C7OIz2OGmASsccnFW+0FWi8fmnpfbG2QPptAASuiKy1jTxU8QTk4vmPkjEj6g3ByQFj/TJJ5ye1mgUQ2RRz8U1nB2v6gvHEZe7fgi4FxUxMlCxBBNqb5lFu1xxN2kPV5BtkB+cR89gK0YozKb4ro5SWjxNkFjZ2t8NVEdXtJqhEYFhxqktV09iuAuPLSy06uihoCC0UT29SQg5pefdJJ26hdHdtJsNrVsT+XNK+PdoGQ3y5D87m8ATJfNYf32FEtpXvEFw5wiVMhy3NcfjBw/N8grXT1Pt7r02OaMQ3sC+wMTW6EkkvMY/YcC2Sotm7uN3c6Ol+9PgFSogJR0crnAwn1/a4CTG7WfdYehFrcezscJy6IGzlSCI3MS1q3D6fOxLS77rJR6/+o9MKJDhJHJHZAJIEKxcA58DP6Fpw7IPXeIboNYy2v1/Mb13sjZ78wHBWOqaGDVOk27RK8M/biRqRR/9OEIuHQWZrD2uTYo//cAW6J2ZSb5ChjShgc2egrt87owk0+dqs8S9O0M6cCLxltqyrl9Ay2BKzsLvPa3GKr2Y490594mqLWbL+AKp3LUxwIau0x+WMMudO3LRFMOwT0vlWeq8dkyWQa80uFJvyYfaByBT46b2ATNVAqNMbiNEc2yCXY4d7Pe/lcKMefa6GfqEiY10OBOgY7S0TbcR0omlbcEGCdRphl1jf9JyYiKB+EZMJupQF7i/KNqw63GZTBAMjiVyi2QnH9Q8O5+14VcJ0wHIFqxrvcxQVcHJFI2C8R40yWD5ZjZfYNCMD67w8J3M8wFBNOswrTGaPbbso2cOaRJ0mXwWwktQm+FBnCwFTmoYL3LFVbv7V1xqaAGujblvQr4Qb5ATr2QtGGlaqheQjYMLUWvoeAfq3xGMUyxgD5BrREeYEq7OsDdlQE2QDRKwja7X0bfYRf24DghFjFNf6Vy9snsNxmfQ/wgF8+GviW334DvSs+j9BsAmn09zekvmC7IRpXQ7O9oNryZvkh/f1LED3aaSLUzuKJrPgzCnO27STs//Ek5xUoc5JI/HOQ5IBEbq0GaqlvieXKfR4aO9hYfAr8u4DLFmYZmF0V9o3a7qZ4cQWTQp5IDCMY6dYErKCt3VokhYJmAI2Ueav8mgurQ8KbgGDQyR2Jz65s0bj63aSxGHNSlyHr0l3oPK+OY9isCyh02sGcCW+236NFKkBtaLS9zqW2NQBopMITS7UYPYc7o/C1lk3iTPeIw9Qb/rMWCbo3+3b6IfGncQAtB7edC1CM2bEa6YomQv1/+PMqBsO1cEittU3cwTl1T5I605NM54mFcLkLMtPY+UZ4NY22tfeck5uY0dLLa86kHd+IDY8hTeVPg2iySKRAEawfGFmY4pXX4PvXOPwu0Qi0BsttaULrnrkHGHRLK8xfK9St3to5QP9m8pZKoS9hgSk+akv0LwRO1iDShqTnpAbPAjrGe17NEr7C3XvTGZpbicqvmVzY3nVDEyYO4LgH6JkQ+qmkEHEojz6tRiaHZD4fERoYfMsKjwgFSIAqqrvndMKZa8+sG4oKPMiYhQvIie66AIl1eGFVLTS58HMU1O3Nuw2VxqTGyxY0DnO35YEoVuAkG9feWj0WGldl+9WsHdk9ZKuPCWyqTvfHiUXsk+f3q5z6sIJ96iBxChkJ1pUKZRM4rWbHj2DtafQP1/DQ/lsTgZ8LSto8CrxsXMnOEGQNDzILBV687azKSLjmR+p6n6WKnhrb/MMoQpPWPYxAD0V08PasHk0YLLDUkH+H5oYjT0q5EPwAGH+teECwtXH9Z7Voi2rhnKNHzE7CZoxe8xEzgDnp1NzqYb4ZO32lzuoH1kzBHMk5MUySVVegSFUGQfSOX+OuPT/ErWbr84t1k54OfUq9N6RjDcPWyd9dystS1BhrKfECcM4i5FSv1NeG4caWI0LAT/5f8ItqSThkBgizSPXrDYYlBj5QK8NTiEe7p4x92cvQwNegyvAk9SaeBG5/GIpS7/EtcwmuP4RQWtwIF2hcXaNBqp8I4ZpTq02nvzcEYCANo9hWcOw5vsAJ7APra4Lj5Emvo6QdK2CLcH+6FbOplYamCuCd53sptTnGpRkT2eIL8lhsGX09KRPJbs9E6/lDhJ+5xBcGwFKPuK1eUCSvBqTO6gpkfHAPk+un+aX2/OKothuuHEsJu9waf50KSeLSilTr8BWxNMP0YwF1ERVa0BMpI/5jPw3YuVMiJeIZuj0+7VkLfOz3TY5CsMe/LyTSOYyhdR94/z8doXI02GKG0/wXSLxZEb/aw0JaRgq7qRUbA+d9pnxNnFwgdL0E0LW9vTVM86Xiy/T48wL+uTfmBvRCB093Xwg47EGteoQc1U6yLT4upipme1IAQCxGVdgmH2BY3LpG7P2Eg5RPPBYoqn/1PjWlkrrscEL10yyfKgPOoB5pCj3r4PXVlWNU9o8P2tM+TNk4Y09yFr1aWpw4lUUHMbJm/7hewZ8xAYW4u5mVlLtYEgaGfeegvJ4XaTNmjfaDf0pYe9Lcy3/aowbNK3zAmrff+aBbLGZcO4aDdTQ83KNP+dPKhDg4BAvcv7kondKRtGu97XF/gfTKYFDUJ56y0d9SnP7n95YcJutfdGj+p2mSRfOtRkivdNpK23qZcFBjSNJug5+EJq2F6vf34MJoUl73giUhm7iIW1mggCajQq6JmwgRkMV2tZp9KwatxhAnYEFnw/aE+iUdnzFUjZIeUMcf2zAXBvaIjoMMGlO3zVEbe63FFgYCFS/i4wL1Ps6rmQPHSYc/E8Xiwunq1hRo1ni0mWLtbZ+QJ23Ul1hJUQ9Ji3E40+i6Oy18fBiyYeh9bs9ExLSFvUKJBX61oq7423JI6TmmNL+lQsSqKtw7cEVU1ov/bxLHVTjEr+wGdPjlQB47vNIAChvUzwQW727jPUu9Yy71l6+2jHM6G7PWuSu7By3bcq/bL5zaZHvEDznoqUgqXJ36nxV/ZrxDYNLwryuCHY32Ut0XqpFIHWnTLLvV8ryFeF0GpnEEYQV3/iX0Do/Oa40mbnTI4vhB+1BTsFTTuGBu1wW33kYBCoss7DvCA2FU6+8M4dj59Aj7KRlSXIAeEIaLV/30vSF1rEEFiQ5vuQofcF0htqDhk3egxduo2rOYRHyfa15JPS79vKCvbwWD+M+3k6tmelfNwIZ4CkfqMIyNtV7ugIE9BziCMROghf3J8LhPVwlBcPmdwtRec1Vx5YK7khq52yJsdx4iH+rLZ5GGHdxEUnBpj7oRVtrXamgVjv3TKcXVPWlPd+HNadRD6fORZ/nQM1jZLIGe+2qZi3ci6A3BL16AyIseBtDRUfD3M9BFTRWE1EFACRsNVJKINrdySLW+9iYgJiZyar9zBSNj3GAiAIn7bwIwsFJpt20EJVbRReaIX1oq5fE991ah3r3PgPsfHDQu/tkkIH1okr54pQVsQCZ/88IZ2r37pK9oq8Mc69d7sLdtEGeJR+zRIpIKFVZXrKCELPuQ5GIUHBHeRVuk3nvU4VS6uLvy1eUp0bmi5O+JwiEJVadUJFtXG4PfvLQpZRlnkMfOarqo4CKE6A74C8200mgNRNUfTqnm1XKDPeXe7qOrjvkoTPR2UYkwHwdyDg7d+NWFke+ih4ADwszUgJZOu7alEz6zBJCfgnWuxlLamoXddK1EOl1t1tmlUsFqZlaX1T7fuwJTz9LAS7sSGgiiRvFRMsoctY/FdDzt641Ge8IeeTMQsGS3g0d/7Z4ZjmlX65T2vlyWUaGXVeA9bDkn79HxIhtWk6E8LHW5OmLK/3puIw/QF+FUFyzPkS2ezFP/0By128dPmDph0qdNDRFGyfQRcwqH5fZwE6AnRDhvXC4HGKmpBBbQiF18vPMVXGCuEY5i5dmSBgp+XxUd3VNmCJ6c+SA+wq2VxAmMqeRYbe34tAcucQazl2L2iIQahxMeutSfQYKjbTsR5yWInSkNBrGZIVCmug89UX+ruPs3ji/PFaqVsCGxdGkqH6EQPXj+O1cMbUZS3CysX9UyCEn3qyq/Ho4PoUiZ5AyV+Y+3qfBFp4G5rZJPAzKUyHvMGNKIDxifH0yGkmnEXT2DKN4O7e+m3Bv04c5UxF+PZrBhVlvWPS23lxzWa+X7T8e29xiiYsjQcZBScbmgAKlPBn+JHy4o8qyl9ICsPtOBGiqVh+4B6jQhYjIvCDNSuE1jghoI4MzT+ge1hPLSrD64ZNvYikfgZ+pU3Gv0/WikCyuFhOG1XdZdrp+XsjivvanikUE1kZ7nZdcF3NxEvsgOHi7ndMTOB/UKqReRxfslfWPab5LM0pBa7K3VYtDWvDYIU//QvAJjD6koCpPgy9ofKN1dKDZe5aBq9K407CBvHrGOt0rAZRT5U/PwcusxfMJGg4GtS0X4dtrrsMz3tmecYMuNDBOnroYjkXwdRqM6YuPiCjhUInfXzJMXI/GuDTT2M5VxV8soLE2bF+9bDX0CTQZfhMbowClNYO8DxfIfV0uKTIRmmcgVF/3t1wRXuRCbb+ebiH6N6v1PbTRWg9SbN97oX14LKj8nnnR8cwXUkF5lyaE/70vOQLmttwLiYUU1ajg7bILkPhHRwkbzebqr0L+fhHgnF1/N887jBW/yhTNxKFEn1zkiGbGrHyyE7R0bpqTKJdznp0bYu5egK7CGKEjKzt0VvuwDKeZphrfaEyGgff5iK4+XodnKND4NPKxESMSzbBm3HOA2HT9c+RuGtnM0AYwY8EBxMx1nD7XPnlXFB1KMX62d6O/IfAmLpShZLT7d9ZKUltduf38PnCzlArV0CZfLQ8c6nnywW2/MyNxAonVC1jUkbLgLYaRwy1sVwh6aRcCUSHFNyD5kCeJFH1M8i0+5pK4DQCl+nYcYF1OMupI/AwMlNwg0uOLJFuCYC960h/LJ6NRKcyuUTUJH3nXdrLBX3yXu+jwUJ7J1/LrkEAvbVDJu08WeKyJUplpXK5PJVJ2QEAlHdgntOrAMFVHOHM9/82AqNCJEnAmRK2NWqQGhkugADHyYo56+8N+c/ZXV6KosOYfF7VI357EThMbSiHXIqMnm6Yb2J5/XmL3DLdIzQscqq9YfE8El/+Af7uWeeP6/DxSbk5u542VGGS5Ck62umNh261Z3OVghNmblE+/wOVW41whaBJOf0/5y0XLqnlgIIbyqULNcp1T3fhA12evmWrec9HkqduGdrbUsB51LZq0/zOYUH6VTc44IZ5xhpQpvRinxQxxox4AS9i7S17wGMu/XO/QFP9OO8gvZ3dmXplFEyskiT0Avk9fQZisA/9t4U0FdNqotc8bezoxoR7y41pdLAO3gPnawDEL2NzDWCTTvW0AuAB5ihWD4b0bJUw41EgH2mKbccsP+EJqj8HT29USxL+1wHADYI7++w0fNZ4FRXK2F6/dLuFlT5nyWw8afuCYsHJmQOiI8uY3hH8/1vpWe37Cm00V4mwyR0HVsfYQ9Dhh1Hyzpy/6+AvAQ2GyeCg9mAwr7VTGLFlpDUMfZriuRNjag4PikPs6/CC7GqJq+yw+0fjXl4ayBJtutqRwQ1LjVzG7aY9WFR3cCK4ehC70dqaAuinlIISc1ptRowD8bnPMetqDSgzd23JvidDCmGHEiHaeSQCQIeY+w5c2a392lSANi5RCFAvt+O5zOf7+vcQ5+VvHV9zl4W+neyTzxifNeeYHA5VWp7qgieHlaK1UJQ0IYdvcegyDBNpW83WqNQgPT9HggBzxd7tBe4ZodEaf22+7nNQ/geg3yOVJLBeD31FicYN6M9/r3yyFFn6ujuMcohXUpx+ne3U8RMFjf9tN+7z/Hmu/tMAbUEqbbDwqHxeqtzrrQ/YP+8up+Xam96aPlVID7mY5KQx0aKQQ7WUtrDoROjk+iXRJ0B6aBSK7LGJoCb4akARky5x7hcnWyBY3ktokSVrkSyCv1LVxqYzGZT0M/zhONY630DAp30Zp5Aadz0kn+FsA8AVxEVVrCxbaReYrrTf+0HrzT62p8knRJAe03IYnTLy19rkKEljkM5kakUXR2pFzWMXzqx0XC8F4co/3Rj7rogKv13SHSkLuFSJGRgR++SpFwSp1Cr+FrrLJZDd1pCyqjTOtKj44CK5c86eOuGAhxMwTwQxDWy1JR5YTvOUWn6kM3zyPnnJOrHWjQPZnhfBxAYIFLt7vb9z9qxq50Z/kf7srOww7up0dmgQuZ1HITbQqOVR1FQMEN3tDepRe9VB20Ow+urOjrBR9mkgrA8vEe3BRbg2cMlFj7HROJ96JfeiMOq+Fc2j5u6FMlEH2puGRA7nXaVAsw4NwCQ1dI77X2hmIRvzBVJ6VHWofS1nKBbwkJcmrNJif3/qoEI05uj09wy5my+A7Qm7Col3LPZFFEcIHDXiHMa+9d+CK1VS/a9Oqyk4yGBjEevCNd8JPnxrTOiRyXOsE0HX0k0m2t0ETJ5pD/BVQXLqpwqRQH5VW30WMGk2DwTofFaFQtAoodus0UQK0Y5a9A01eiCNgPPh9RCFcsSJigrFVIMV+njaGGddaR+smEsH1WjAfdM6jHYqvz3WC8auLJJlW6uTtY8ZZ307GlrJa04+9i/jCPG072RIAYIRKSE8CG2Ra8Dbu4qJHgFkmazF2yRsa9B9B+IcIXP/QTvcR4yyxno3mr88AZD1dCbGnMrE0xE/GyFd7MPXn+m9npU35KHr2QDs4Xcmwu8oVczjIPYgtRsynVS7jrP6Cld2Sn8aRPOxEIHTXt452iYW2lEj6BC2zmRPWRWQNp6LyrFnQcQmDw58BqAp4kUadGFtroRpFNV7SoQED+FWrbNYdwCDUR2sd3s5cOO0M5za6i2KRWNzZBJGd9Z8WK0n8JMquI9HRUMiWp60fjT2990A5qCzk36yDzEfApL82VewptYQwB9BQre9IrZV31J0q7tqVQ96dGkiuxgtKfyGMD+y8ZVD1fYjoQsoUBznX6N02Mi7bXEj3OY2R0L8NMq0q+LRMAeKA5dtQntr1Xvk6MgxQOVr2omtTaD7kGwjSrjo1bRmK2QAgzmRDpJ2vShsFYtOgKxqr2K5PpXgk7iIKFcHyh7TxrbCm974dfZc1fa4jZ5LGFGBUqDIJD2lDz6v9d7vff6D3jWFuBYxUgVt8Y7WsDf6V1dPzO91ZaN3JTrmVnC9bWqNs7Rt8SqEMeHJx42Qcb4T65pfZJ0z1YlhrOd2bg178Fkv/cwq/Ork5q7Q+Oxd+eMjinVm3QeJlhovB546fbesRBWFTx1rkQMnbkc6vUD7WQJNpEKrQ96laQf/1UX/KlW+uZDEobFLwLWujHhtFtPvanU9da+7L6GW3xFPV2PWBU4yyaFssE9lOCMx6ifeqSKcqwRsCoG26UtrNAgNu+UG1OvxdFYT8xtzUfU2JziEcV/UxzvUDDkqI29CvE3gsGNi9FgE+xMr3TfTW9kD6vI+T4YQdLEXsKT+NmOPvsOzeT0+V1dkGRRUbWK/KafxD/1amXHCRbWq6/QPoENvMj9pVaGUBbUjeM8jJ0R7ndOGR4JMCrfhuCSGhP2F5XUMCNetZgTpcA+UhKJdBe7DVc4SM3TQuIvKq/QHNncmDPOJzjJxKEmPAoM8rQql6PWGCw1HMim+De0gEe86EUgISRHIE72raJgN+I5xOB2YPb0HEzLJeaEwjS+I2dsEOq08BL0MXzdXs9EK7R9j502cQJQn1QomOaCRFJgEGnRheA6VEOViMcYf/OETkmbTiBue3LT1cpWgOM/9pKpyJWbP3USEGvUzPTqR2of2Y+QbUppl8+8eNOckMPw0ibJmREZC4YwfJxRPEo7hfpFXwfo35+hiKNvldtO0go1KNUoz+nyg2ZEM4a+Xu6nyVL3OVuB22rL7Xaarvxlusb2x59p3C3Uen8cQFgYL7FifywDeX4YzmskA6Ws9e0tEOmS1vmbX+kw9W9ehNTiRjZ5zXMj4ynDeVkX053aKVO9dbDMLUfuBTKseFAscxmTM0z6RvEPRzoXicbhNNeWfolu6zNwYt2esKk4yT/7x3cu1jbJEl6yhTk5OXKW6THVn5QNGiz56brBFmyfA9KK3oBgYfNAa1lPHCYLmaeomkG32uaF3Xu2allOh5O609KyH4aSW/II8P+K3PXYv+Y1AM0vU1ICIsv8Ft7EthkPP1jZb6+eajlJ4hY1rXruuyddGdOTf2j85po7NnY8BGp0SqF6t4IjhfgKJIakw5X4oyol1vnxf19EuUlrwfWdN/4jLpF2/3JkS3nZvWNikx5Xs43I+dgeRv5kDy1ZQRqHV+9yj4CvmFLb0PUyVs+SOO9MB5d81oXwK/JuHZvIIHw8aXthbxc4uu//zbdCao7HQeADfjreM/Gwz47evuW5/EzQmkN1eQEr6tKkud1UEqETHX5WMjScntwCJP0Q+duqwzRjc0lpliCoBp5uzJLTtwnY8UW2gK6Nt9mY6ha4rlHdt7pdUhsfJO1BnfcPcNSQmfDWFFoFXnnUk3kmrXcI50BxmafigjFyCfSkoBAAfxbxh+JaOGv9dJluDkjDccToNsMBVrhSvJRvO3kkrUirhiE5vBA7AIM2w95KtUYDXVTn3M6XvKSzU1eK2EoaHcn4U7a7KEkxiPED3u/Dh9P+x6Ss7OMfrs3iYrmnEBL3/ErCWre2KR6WddcuGm0ngCGMSekzh4/I01xia98Xra/7Cs6OcasM2DW/BNBVJwWP1TyQv29eteP8Z2mc0H7ILaqUGYgPUAC1V+Quzo89+vS7P91/5GYbx8VRn2IOM//zO/huJsJFgk4Shw7YLC6bcaiHml1PYx4EV0PAE7GBD+BvDxOBhc+Hi76rjGlTvj0eIn4oFknIH1ZMqqrzR1B+9101LVPT87v2nSCMsWknqkARJqocp7ou1QNeuQ5fbvihivIJ9FXcoZ1AgytC/HSgXe8UPZ1sqGGuVDJR+E7tTq2YOu7MeeO1dLchGnqp/FKnmsvzqSvm1G8iBNeFF5+bp/qAhyN1AoGdWpcqNrcYsJ2X4LXh2lhdOL3+z4Gque9acXv+HZuqdzcO/1Kddaer8hm6oXDES90Uridl9jEnwISXysLRgzBFuikQ0eMqHirB2SAt4O3lqJYuuC+VsJM+GTa3XPMJ51AdnE1IwRTD2lfx8oqoGC7elyhMPLCd50kTdgS2VVBy35qb0OtDb+Q1V3g1+SnGSKoc48/aX6GQ0Fuc/vet/8Pgn6rFeGlWu4fRlnc1k1TMgHLQMO1apsDvN/pcAn0Gpt4BGcTbhRICM3oO83ctnzXKvRQrk7ueoyXBZzjILwJ0PZsvq1p9OVkwN1N6A7sEhvCTbWJI0epFbJmuo8WQREm6llnO7XcmuCDLP9MptmDoawGShW7VztcFFLR89TFxAr/Rd8WhsdcOfDq7n7WBS0mlbcuXI9y18sMJHoTuQ3MEXwcWtC8O/Gw/BgYFfTgPx7HTBFDW3uk7tLdd9xhvW4qySpyhatzfz9kHDgAd9z6chWJMWLtwOBy8pjDPujlK73dx6JudsRlfhgwSL31ilLK738KuqCmuKUGVP/Gj9L+frr5USUJk+KB3YkLj5N9KY0/2HKTwkbc5kG44QE1a+Xd7fYyNleVZsud1hxsXZ9AsI0WKziu2uQElUJp1Babt0lnNZG3TAXhcWlMTb306lbE4Fwy4aURP7FBkqDFOw2Df7I3h8JzbzU8lbYY5CjZPPGUC0znR+lSvfQPSJM9el5Ejiu/oSUZVFue1Ku4xvsuvRw5MzUd7Nx+YBF8amUB+EO5weNgF6Ai2VUasCnslVs3OMewWYD8L02vRES/eoe8Lx2KFyvNbbsiKoJu66z5tlePEb4OHwcwGGJ6K0dpj3Oeq8ZV5CEys9tuL17eV3F4tcBVmfa5RqiOuaOyD3zKj5eEZmKK83Os84nQfxmia/6F7oZL52Bwdr0+c5fCZuPreBXh7iPKHdyMCBEhLMZhx7RGT+WhzwMBmt2I/AtPWuOik6Tf47wZQb14gieQhpKlCPD7/rQokQN2hCDI9CrzqHBaNNgududzscT5z8wsNKT58raD4PyGajUX8iJ2T6qLv5znurd8FhOZTpOqewCiGLUCfhQJtxf6YqNFCTlk9fX4kk7lZxPrxfWTLR9uvVxqvyAfkF33+CXpex+wlBrZPc4MvGGsU/AMWTdIaOQPwJyv0Cfd689oJksM7ua3jyH7hdsIvBBiR//VhgXgVVSUEDTq1qHTkaXw1LJRs4D+ieXDORWELRzjvZBe4vfba2A+t+jKPif2pUrnep9Tjh6z87w2GIq+HZqe/7v3aCnn6aCbk5WGhMiVUSPSGiCw7dcsVyW6ukbkpfIo+YhGgsreMhnU0TA/h37k91boatR3A/35MZFakv+bbcD67LBcgYAie48tEG3KW7YiDkxUxSIh1412klft68LegFwqeS+QDkcGDbAjks1BQICWAvoHEhm/QbHk2Z6z8lo7Nachn2E0FRSjp43GXFkUX8L88WpIQc+z1bRDvEPnggIG3sBSh5L4SQ0gqL/YjhES4cOtGyqC7qzrHoq9cLgvn5BAjyJolwBKIxMojgd2h8BAii83ybC0DJjlQPdqx8uMgfImL8l+h9jcagraDfArtGqDWJ7d7ubKkov6zt2CsjDOi5wmIzQUD5Tz5i8MvtW44CkwFqVNMJnae4nHlIx/qBlB6PjNEGp/fNfeSB2V8ndXbb66OBZyeakDPfNTHW8aeb0auLsLORt8baqaogw4EnWZ9j39T3+3yiQVELojI6pE/dtP/dbR2B4cXNo0QNsEOoyxCuWWhZSWsuLQJ4UDcTEnFZnuQFTfv5TrY2Yhc4VLyf9XPSOe5QQrEubqTGDXEC7LTtv99bg3xsVXoB8vO/iV+L8U0ZNqIy/OSiAhQTR3+OLAU1558GWDfH7GyM37W3p1WWykNoal6uTjEddR9X1er3S+TxZmBQOVRJ7GeBF3YRfdouc2d9hyfr4S9hJbzJAp7bcSCI0XUDxASodzVbIROOPdNegwoPBIUB2nw1lG4Z8pNlxvyftwUo7DunpVgiq1mUjepk2Zevn6GOkh9sHZD3PnP3b5yIrxKZVwMibTFpfAf+JAU+ofWUCqtWJ/ZA2vupQ5dSC9swlupOL1S+UW3lXt4E6UE4uq6+A1IaXh4AqRUde4w0igGm1RiRpG2183PK/wCDldkWQ90J1tDntAIk9BhJ1TDixiH1RAnZgu1lV/5KzrtWc3u/jdlhqTrVVKgN4zLuH9zw0Mh+ox6mZEbdXvk8kmGmK4BVq6PeeLLx7z9uXQlFMNkBKkCbwWa4fvvvIw4625UBfKO29nttEV9NLQNpXbmADdkCJ8QR4vbl6y/QlpSBKMNgR7X7YwQ0WEmYrCDlX++BqpFaJOEwJpisTvq0AU2wb7jeDHOA5UFj2yBMneayF8nVk44BUud4fMVyYmVXoW81u1c0IyXF+0eWhv+nRSg//9G517C+cpgLqcxqzVZ/w0SDRt2MBYGgtMD6WOTi4Rr6vZMRp3qn1XFVQajSqKduwyaBLD1hC/Si+HYLjG0UtQ0AWjlrB6aDVxh2S0Atosu19yTBWS/RBitELf4HbyeI9WFw5/ExPx+mTKckuHzfN18X+0IQuImZvbOkQ2d6v9MSCiJaCqnPWJblVCarjLwx+EafK8wkkVStwjilByd7NkVrcP8vu7IfiLFOCjlUNWD+RToBdVypgqi/W/GJaA3+TUrV48LuMPJznKE6TvjV2b0HhwJuT/z7GANcVE+v5YAO1odigkvmRIzPpYAvKCE+Oa1puPceLFoJdg1u5MEHkspo4a2i38Ku1s45JP4H/AGXZgt0B629AS82rbjdFemi8kvw5QcQSpCPq9XJ5xUXXUGkGOr20pUIX80EwjXL2WwQY9x3x0d2X4tL88kUwF2bK7hFpBLDMmsJlH6yG0TKcAQr7wNbmsrFnohX6UwdZLBHeh8YxzXvNDd9Mbfc/q7qhCx2IWGdQ/aSlUnQiOaf6YjtgHRCoOw/7SqzXzITb0wJ5uvV5C737oSd6f9IqF3Uyvf1fqomsSeUR9rYitqEe1/RGonvTg4o1B7Xy0wy+HksGhhF8dMR80l1ZrZShL2/N3glwKnIeROuSWLPRAOEG/GB/+fX2Yv3PI3x5Ka6x2Ptxisyb3WcvvSnM4Ya28Gqkb7P9iYZkFuMeU7xKVz2nPCmmKAwlTcyI6dn/nwvjL3xrPl2Cfpn0ceqtqEklJSLXOwx/C09Q9n4Njwxk+S+jsG7idDUktwP10SMQ9r5p/XkRnb5BwAu2GziKt2OvsqXfFzhXcjkZ11LZ67+tZFR3xgcdHHI0PyHqm72ZK3D4sTtXE3om3/dLEUybODhLCtpowu4+Tp8fExavuToDc45kraI624Cv8qn95MOTSNMErw/H9YYiaDnNAlPsnq+3glPkZNmAqoFb6RYWrnpBSPgMZnjqEMn7fw992QWDxbinmjMa97ejrk3pZBQUdtcyie/UioZSwdDYNTLcZXTVYcRssIeFGdfYmo6VchIoA22MBbOx2goUd4O+fiV7k/B57KYjK9oX/3nWp0oSMIc7dRXkU5iUuq7OXd3ofkMFUxC6eY0W0wvo8vDSoyK8HmfHevai5sOiHXKj5z9fddO/qXk01H35y1GpZjmX9EXYJLUcQRerslgVMbES3lGM+gl+v5IDsbTCIG4zyzuGvRS0UAY2rstNCZRnvt42wqDL9qrhoruyP1aauABqVinp9+6l/Usu45pXNUpBSNBSiPA+goQUxZ3+g8vAkticY0vOCZ4EXVHe4605g7nbyyL26a65qUR+mJ2TSVtfgR2dnt/d62D5S2cxfNZMhqV1K7VXX10fiytPbcXnpdQieGeHZXqVLFjZAxHQlgV3NgZXfyemaRy1luhpZvFGRrvGzXi3W2gRCOb0d3Nyzxw38JzmSk1PA81MKb56zjqrwkgw20nnP0llPWnHtSBKGfETUBK9fRX2R7mZnjmA/bpQ5n1+Rqr2ALmEIa3/g5le7ACU7T38TVzTqAzHukkWFR+MkmbB80tk4jF8m145TaEBf6sALy1IFtMCcqOm4XcoFMln7bcFAOZ0FpYqhTwn6c3TY1u4JqzRYK0uPYd+JSavp7pYBOjXK1yinR8QWrduQga4LYrg8xn85JIMKTlzJFtsossy/iNGBVDIstbmryHya32fU+Hub7rRB/oQfxu8lm+E5/HrvkNsddnrqaS70dJHsQxNbbDsX+D7sk8zSAG1XOWx1BtKLzlP2ZRaRDs1LiB+vctkqm20LuETIp9RKVug/ShMAhJUs5iKMLtv5ANbIVluR/aHRqP1vZ22vTnut/t4tVsCHNPbNDCYaZqrp0yLUG/cltY1LS0GCGZa6vugl+UjWE/OoVzQduAO+XLzqPmKA6xs0cowmlqd77A2xflnNQRdQiuOMgYcoZ9GId4h1aEWmlSY51YX6NGsty3Pc4Xq0xMxVOqQgYPXv9mLKPBz0Mi1Oyi5pxXMn9hHZ2FL43ENN2kC4FFwjkOqJ4rY9JX0WhRSF9ZH/Mq3xEkusssVJJqWNZ8z81SMEe9/1D1jyYz95S4AYuJJTBOp7g+2SeOMUR5j5k2oJxx3K2xioVjl0OIcIc+4V0OseXayIxUtxm68QWVlQCMEp0E5rgzUsRDA5nIe8H0pL6N7Urqp61nHeCt0dZ0V2rUe4Nr4LttrVF7W1oo9RRUhJyu+XXpfNGmHebmYhzRQzCe6FoSzjLKZ8mYNzsI7ELcqKji9Zrk99ecYxA3DwL4yTbYugNUS+fo1VmYrZTXUCi5bJLd5y+H+7z8fIIZNV5DK6evAvo0wfshJUBlB3ZPOo0VcExGQN5ZBZnLhJsCsUzpwdSaI9lT+xrCsbXl1E1nvI1aC1bzkWqVaN4pJR/Rrc4dWmJWSBxv+9pMyFfOvKERj6e+AfM+AJDSXCVlTIZZmcL16/VpT0zjlz0WMptBj79t97q0LufNFhPaoR/KQmHwi+y7JdmvqSQ2luQsv3gi0/RAd47RMeNs1IDf3nCj7t/bbNsgICW4R1PyWkD+xF3CSaLFDgzztEG7yWcKvusf2vaLeEcDxpOPQekF+N8/dFcOW17uvscGncGRHYZIi6MW7KtKcDeG6tEVA2Melkbg0vnT4MNuQl5KzDR4MbL7ogkNYdKqhezMV1dU2KFSgrCKryrJOlXCPvNGAiGJUkk5FsIuZGYqiH508cyH0VBwcQ4BDrbb6D1vgWyuDYAddQ+mWDd6X3ufxwE1sl+7845gA/zCSvPoU3K9MTAIhieh0oaiLDEhlbZ67m9VMONjM4lxs3xnzu96PfNauq8540nnioTNCWfoCjg7Ev3dEORIvdl56/pJpANpNHjF1pZYtsGxmzL9zi3ZpQfBKYMdNp+kfUQUQmm1XZvmsh3j0GeIJ9jOfjzj92hQZxnCKdwbBBiu6ZjwnRC2EB2/zFLlVaWd8HePpCpBnFtDDoe208DGUo+Bdj4cQkOdppD6oDYI2uxxgskXJSdTmiCKxVnyCz5NsT9uje05TkwEWw8Fnk6X3BoheawfhGRdSQyxaCnmS/AyHhPet9k9QLsgmCIeWoIbpIRojoId2C93zjyRqOk2mgqSP2QKhd0fWz4Q0tvB4S+zWUEdWWH4gBqeSqRl9fZKVF+TXZRp2dBq0xX+Xyu384HDGywoqbFF4kncV+EDO9XAOiblr/N58G42q/a44IAsCrzPlDVwZ/UMbtT2i53M7l7m4rEpr1IjGXNyrPVC9vZ17OiqcDdX8EI4ZYop+HpM6Zoq1x5rsiyF4LmuyZS5jG9Cn9zZatp4g68ngguczBhmCeb/W+Y2jnOALTk7Ugfjygz4g+QMUEDokoJQqYfT2pUs7m+RgqNzOEApB7WEVroJhqfkUs1x/Zao0Xhuh0Jgp6YUv4V5L6wO8Tq8ROoco9TJDU+DBPq5cfFdq6xLlA3SLCsxWuOfycfeZPG6l61PYrBLXzSE8vE4zUMkzo0/wiVfCilFQqe+Ktv/GWNziSxCiCOSrzcRk93haFCJK/SmnBeQkK1syaCcaBDmv0UdXFegcj0or7SxUiG6TjZafZzrF5eR3xaQeiIyfnqA5HNPpG+8rzHIGh0x5OLfSGVDQqPYTc6l7G57MZxwKYgvQcjd6WC8U4lNpxClDzYOGejjMzX3T0fxGRKPUX1jpMOCLcOrZwCL/oQNTIYyXkE18YUosGjkm+bqro/yQqykdo/P+HlkVRgY12O1nb0rgwp7i3eeTCYkK6KddfrsAbD/U9atS8Zfm1O2lK8wtml4Ted5RkkKaS9GeUMArhLhvqt6cc2LSMhiI6J9uF3UnKRa8ZtpBxdfOg1YNvZwW8mJBhJl45LmxNGEYntFOjEawwqe+CgVcraNcMUrFw/3mUVV+ysMmqb9mG7fNOR/GRrabeGdCd7l2zsplsJcg4A/bf7w9ooNU54SzLxJYBkEou9r7sTQCoVcVLDKAgpoPtQkJQUo+a3Gnn34jCO6FhhVFa1qciWlpIneNpsni77LYT95q/32jzaH0Q90r8MehobUvCwSt/KxG0ro2F3/MFv34llkniZH14k1IMlL5hS8AWxGMlQczX0wtVa5co1boUQ1zdNn5iuqdLf5nqB1xs6uTW42RM+upfvRkL8I7bER/W30t5uxHF7rWDLEd53wlw3Qhlt7rLesJtHNmPSuifUdcGS6x1T+S+PWgJsvOGYDNvJR/YIK5zhTRQ9Cx30PSBTVBBbe/r3gqva3C4l5P5SkluaMaW4xPgOwOr7YN9IMKgrON9Wg87DmdlPjkBLvjsxIo72BE5ieoIg9CnSaZtiEjavIo0TZHqvkQX1ugo+HKJC8Uu3Ev9M07Pj5ZN2VUxINFN3/ZEp2WmwL0KgXetlIaN/rAvhEss5J03u0wml76lhdhEkXX09eE9/+ty8nW38hsBFPRkiaV5AcnmIRhcMnIRc38anrtrtRbkB8tSx8Zfj3yZdXaOoX5KAJodYzD+IqGW/yx8ws1u2FVtTXgyVg4XBPoq53ekdFv+oMHsDqNE+ebb1sM0guNrtUGsIZHiVpPKVKwME6P67eaMb6b9ePAJe6YKrYVTbadcPVT7peGPz+WPQEMj+jHqJolzdkgemLAnTJQUnfRb2B4O82VTm3BZMAbngWf5k4PliAwYURU0CCNjY83/W9eCR+jSfrcr1qM+5qlfh+rgFlZTdccvl3Ni7tAt7navpWfOyF6LDuRmh9o8iimeFZMlN3b8ZNcnlwQelEfhBHnVZnmTuPDXelhItXhoZTn6xRVvCxinueIBfRsTWwLFjvI45iOJV17/ukyiTm3qEg8hgvEFq07PlzHzHdOBITGxbsPtuvu9/DCQwkCfbihCm39IfeNuQtwBatAcQZ9IvMEg47acrMle+flbdveT/r/4v1puwpTDl6tbYZ4fXORcyV2ddQkqUugkuh73OnlS8y980GDKy+Bt4eBr7NC6HykaHN4xEXD2pjGwop97dTpIHTkZD8tv8SOmDu3s+gr1bjHF8qrro0Dz7Mohhxcn24uwJtFY3KBQOoE1P0pfNuQ4paEZjk9EqTHEjoskk4S6zbnL2Nuff1NV180fs9y7e9HTBF8aMSfAW+vDX1A7Fa4KNhnQ99dljapc7LbLhKUYdqaX+IqcROROsF9OZIsjfqECLCQi2i21rAySoyCBi3ve/JJuV1Ivw4uZ8pV4FhU2C0XWM86jQpWaY8+X0k9f8WSfJUZ5vemeKAVJKZt0SvNocZRnJiIywSCs36CjWg/nVfJfyfOwwFcnfU0ZyZ2P9xdKnNnCBJ6zOnlkrf+49brZIup6SFa/Nyo8ceNaIggV5+GPodiSDWXHHDkZ59XYg0Q2ml4ov+WiWXEChyCR1t5KNIO3C4svMkOQgg8fbpw5gTnXEcLTHvvBf/PC6mj+L+LerhrQjwSAg3UJohZ55pA8zuDUktCfJfO8168OrVmxA5U59ij/TPbt3r+GG9WS5erPOFfoPAmYEgbWakcwZ8WALl/rk/fKCVaFA8iTEzKU1ZrQK28cV0Os9Qn2gDY8GiOYzCtNSjJj4iCXiuJF9oUIJM5HjHGmuF45EGEowefu4HKeAwhXe+34+U+aeJXUcftcJe/+nuerewvBBdNM3zJ2z0a7uC20+zQivwF7bQQ/+igA7GQATjtYhBsJ6hIyrbm2Bhr5lurs0tkPXl1EceJ6dEZMQEgSAO4wXBbXxj6KFenwdE/qSl4l7ut5g9cr7nSzcs8Sji+eX6hNu2KMHBEMAnZg79J6+uQnEgX58xBoT3rFWs4FVQf04i4Ef8w89IUcQcEcCRcX2Jv21gQ3PEav1Nu33MMFr0Ih+m2gSFnK2KZi7fwWyUAsLlSoAP17ppn6m0WGjXgbMbtO91q00tjnDrs3H7fbTW+UOUt3z1C0bkE/5ILukHqbvrfbM5Dlfe3/K6uuwsQCkap2PMff+HZ3QTQdgeSpuvmYT5ks8AxmIiPvC12k779rB421jIJ5ayb7kJOf2Zhdk7q7ZCIeqikYivxtpbWP0w1SH/iKh7G/8elre9K/kbwUSzxWRrSARFLa6wmWKOD1VaXNg1v6pKb8wp0j06O5AvHU/nwy7ewV/VkXrCz/9PX08CQ3DM+JZf/36cFPAlPZN6WB8qGMj97JQMqIzDHn+eMnFkHNK9/uURAD0f1QQGfM3E8XWdIcbLsv+4oQzQFP6/tVkOmzpoYEElX0YmUMcVV8Gmvth2482w0TSb9Jjq9bYSDBjqF3BS+EstRfdDoWd8I3nZ97vW+L7/JJw9z1vExeLGfnCI33thEXeweKESaWYvGEc0MMKqNFpPztWKYTTQ4MH2gKSf4LwKw04DPAnHU97p3uMehYBVi3DmbYNC8F9BxF6dxwnIb9TlGt1lHTACh07Exg1BlhkQqAvz8VC2bdq+yj1fHceQqoZklQupi4lwYV2xZGI10jqGt81I1YDZLOGRU2G0kDmlqxV/dSIrCh5lE7PgvB2o7LlabhEklg1hGy6Y++Cn4E++yP3O8a1F6r8v/Mrl7LLm5KWwEGC78zDfDroehU4XcULy/JHXdRJSX06ZvHznEl7NscEWhW8L3un0OxIydPh9VGHj1004uG6CK1AejlWn4iy+Cy6DpfrgGs3DnN0EgGwY+Rk4nOggmiDz3qzgaFtQ4hSmElWalYuWFjIpL4NUn2YWkVY1J3R/Anb7aEiL7NHlXg3QrELtLEnhOPlJmoph6eO8jOAk+iJAeg777q40vEi0PD0DAuoaKxXxzM4BybBS9JoaJBQTLpU4RU9jkeVohLzBN0fiKQ8TFYn4eBdkXUP94RYFe9A4ucBAEC2ILUHdc7xwQkWKQ7H9VAjcgzTXRYe5vn5cqChItME7FMkCaEGRHgf5n4u74mqVerdcHmDU5ESxqj32UDqRoU1moeHOX6zlTlJHmqMwiYB5oPPfhMcZdR4ips1HYBIm0PqcgBnhyzLT/15wFjmb1c7r7HR9KeWkQxJTZQZvykuqqFZvX6uWvJ4fVd1qSwKGf1DTlBImSyxe/UrWUfPo4G4BXmIWJuLNlyjAF2o8o9WKfYeVdTDi/J8d1tYMHku6GP1GZnyRwYMnVwcprDsIOMSpnkBWmP2WiAbzoP9JUYJleEnR4l1pkZlvakHe45ykJMqzpGNq5CULdLu1cs497NvkAI159WjRlgRNcGmsyKJp3Oi0GNdjPTyekWR2bT7m9CyL0kxpAI+ktYx+ReCqYsmjsQ/Tkvk3Com8a/d8Sa218xFabtNDD6GVGZ2XgUlIUP2yDpDooymRlKD4NcNLEIiP1N75yxI6WMf7roBjvHoBgkDtU7R3veP1WVoNuqAV0caUNyff2/SX45xHcyBU4UPApwEdkgm5N39NeI3VdHlxqAkuhbC5SfLfNg8/1KJOK141l1aFiN8mvmsv8gyYzffE0mSOvpfPHWxyjpsQLS4q6JoM1JigPD3OzvOfb9P8LwhffGMKZHl+DajDdd5iY1f2BsedOt9YzxGXUzQNfigphLqSGeK4TOHdWNNsGqkU4km3Bd4kdZm9OvKkffysQxX4+fWK7yB6QyIMzZiGi0WX2VYu23ixKETIvJwuLCyLt4vOLCJzbh54bKut/SmNI8zk+LA9j9OW30yPO8vND2LiMNkUF+CyCmZrJDigpRkqUl8LWCI3Aifm+SS6ZfOQKcoAHOGn7fA9OpvVJxsbismgdLc9txOPGohzHVC7trPtB5LeguVwWO2zL7c/8ZSBZKCJoau2t1/p2ZKUGCoFdGxs3McKP50yKMQKYpYeGIjFzstl8hAqG3b6vD01166AhxTd3qlOxHsdcwxBpYGcccTJ+1fE5T3YPABdQQgS/eUWPO8KrHtSiSBfsMOlzEMOlkqJwjwmwvF9TryVZLLNFUfGUcZkia+4w58q2do7Np2HCZ0DtUkjdEfKrKos9zlA1aoRi3cSxmVZwmwlaYIzz2pom/dDJfy604Mj5nc3owknAjiAuNb4njjqvF2kK0YDVj+1IKoGjOCfBFCU63aLjBI4oAYPAqXuUW7/uSmj03kDKf4hI3tEV/szcTn+S7SSlQzmkQf1xJ+RNdBL6+Iqv5li9XnywxM/2sFFSOPMvTO76fqQSd1aN7Wc74bxP9NDD8foHzuziMsD2eDIqaFNtym61y/9GkCLMgIxAYrxyUhIv6kmf3ro+6g9pRykRhPePEvt+dC6HobRVYbUL9Q7lO0ymFqqmgYZxx1MpEfPuME3ZVyeZPTANDEnb8LHlYcluKMiO16XgLDHR3U9oDjwTq+Vg4l/IMF4wf/ilHs5Pr2MvzcECjCruU/fMl9iDthutj/D0DZ/vXsCPmIcCS2Sd1xxdYn/KnxjdVMJZs7WZ+3Xi41jjOZHoYcAHh8eMwxVWTbheR9WOUWCaurBz+kVCyEZTjHff6Le52wZICsHjxNaiPEY9fkTtyZTI5yvaZ7zaM639t8gWG3ZooQR6dLC2Q0WfrpLaR1PgwnWGRSxjQOMObQDl9YK1eTi2a4UQsirCGECaiKUL5+9bDNir7wMJ9yuk1z7oeMMvpUD0qWIkOD87TspNwoUEugFhJsGv5vLguLRTmq/ndtOUBNVkyieujBeOr8n1FFyjbT+1J+6bfrH0YIYnAmf3yBkj9g9uc83IrzJK5OARaOZxo2PhdX4/vlPjUFuWWVhdpfiKlseye4e4emjsHJiySAkUIu6JMufGZ6iQ0EeipR+mHE+Cwai5ieZfbvT+ARt2hjULqFsFK6597xeH1Yi4wYfafh9h6BiqxGMK8CftCBwQm/I6xtGJz7+da73engaDYvWC4dEUJk/dg2k/AG5Xp1PT7QWnGynaknshTWjmcGQ275b+sNSaHM38MEMcPiVHK8qjq3Skt1/HXiRK+ma06GE9u3b2O0F0hT6IUedpHR6DfaqppMYnoUsLfr8rP+3MftndMaguToBGQy8XpqtPD4/age2sHzaCE94KAbe79V7E2vOIcxJN4T0/T6URutulncXZbSrAsEsQn3l+BVtxs6Q7Dxs0y+eJri0R2cLt5ETAcCJLghgUX4B8vcXzFkJkOwGu7IB0tVKJoOWOubqWh2nqX+Jjm2eR0/YESzjunnbRppwzifQFfy0nB9hqzaTyWpxt2RHbS85MainTgVl6BQhAc4iLaxCSNF01nTJP5A7aA5w35sCYTzZiPRPxc3WqVWoZNX0oJQiKG0TsM7LdabgTeXiHiTqY9row/zqda4Rwwp/qyujJ5Tkqhg6/ZRI/lHOAZcZFKhcKCN4HKYQ0sFB58bH7v1HVa7Rwi6gmkfgtP8lvvH8Bln9saRagRMTkqAVictaSjA/2FRv/NqCFQH/6YKa8m62XLpdT1l5zGXuWiwyxGHUTUYtQKJlHdDa+Nl4TxTSnuodkgJ14uuMQF65YqEdLR1Yxn+sUOq+F+2Ktz1xtqWoIY8FnuC+8xS3ZGgDj0S9ND/YSAy9n4nKWrEB9Pm0jcO33MaYYh/mVUjEe0P2H4hrTFdQcr5zV0VuWHsKJ1rA8u+ESnlZBsV+Af/gn/AI/oUtKjTRLaiy24cH/z770Wj5RzdJm5WjVyirUjDklhYDL3pXT7dfmFUlbTi5wvK3X4g9EtFVDSFz3wVoi9pNwdV7zTEeSXHJ1g6a2FyZVfD8aN0v/INBv+9wjyEE918/+iKvr6D59QdSnO9j2ErtWRL7Ap2KsAbqSc8oqoHbw9COQH8wfuP1MO3xqu4beQGjjOGNcyWJMeJDHJMadKda2oZpbP/QhfWPA8CSbZZzdnpHQR/ZqVMSz9IY4s/j+2n2pe7uq83WUTebC9V8n9ZD3Ms1uFuFlT76TmusVRQGAYg9zdWG7EX+a2wFKe+KhY0KsiO7731pi9i4MFpIBMI/ROikfhLeoFA3i/Of5rgtcDcLUHBLeqa91PXwBRdkDxTK2gaGTZYbxCmVB2OK9r5gBkaRMemUqoYB5rzrteYirXTc9OwCAbJQpj0rmE3I7Lld+X8n/Da4dZr1XDvowO2FOo5yGWMvEH1MqzufPJxwLZr9OeoVGhguMWZ04ETNyKwt8pijqChn81JNjTBSB2Ajj1N080+PPFaqTEkTI315+/Km5AN9ozlxHN4gRVqyC3uqo0ReXqECiAfBW1gGXIfmsq0cXgLosqm7jAgri1tqo/bu0IQcKLqYtdCy+Mt9jtktCDZ8PuledGpKlA7Ec8TRjDiMT7T088Zut00CWgo1J4zvMuDx7xJEUU+vb9TQFTPt9pXU+3k3w/dRTtGSWJh9/36BAAyGQC7leJe5lQ3mgo/pGno+0MN0oMr76mkBsKA9x1xyhwbibLbTLLQq+AvD+mxPZx1kkrvHQi93dxesZqmuB6ounZ2OMMI78NvTwIaI4xpx0vUQ6paxhHjjFgmZ2evvR0ODPU0mC3ER24h48KWtuEvmYeHZYgq2aFOasGINQnBb0JBWOmP9ft2SNJX8h+316KLFy29+Q9gs3pobxLb9dQTRl7zhpnbAJGUEukW28KhIrIetg4hjQ0KUgBhm09QGJwizTXHeKyBr0fK0OiCyHGxeTzRtZUzAwe5S87cdiU+dU7cIsnuKdfUbBGQcac4a29joVDZSAxxdkiI1ElXC5FvstIIvFX9/D/hOiZ/0Gc2wt89J743htCZ9ucTx3ykbB+E5tzWRywmqMGS2oCiupXuXC0YikUtkzj/1n9qNx2g59iWoI5ovnwPMSTyKDZI3SMmeWhg3SbdTzYZWYt3+gkfkISW6dtZ+dEWFm+R26D01RiZID/0EciuoAzF3V+3gbNQZJMrcCGFa2V1hnSWdsh7Vijnn9cTUPAnndk5gOwJEyIP0oQTzuSz4iJDfb8HHzqmRvxz9MA7hJfYZVhxCFe+KDRUlsF4gRDtPYrpapFnEDPpdJEh8Ps/w+T3aX7Y9pZrzCBJm1iPX+EVvOTQlp3nsEmO21z+6aNxvaNu5bM3W3PcNhcijkt9LTYhjmXA1/ycZD6wgy4KQWSeMGRq1gv4alpazi+jfG/ddZfCD2KpRLk00D6YmYNZH24HlEs7CtQWpZ3VdBsD4TuKs103YlCQ7QrDyT2S7dKJoO+AxNNhnAFJZ75RMnDEqHbkJUpqt5GyatATYQfqODPtQ1dtFDwhrJNg1MNceHe4PiEkz/gnZaP1wn/SBwrFsU/9lW7rsdI3a00ZYJwAbbraztuCBSow9P7ihAOEJ+nAc13/my1njat6/MeRb1pCEOseeKks+6Axkg8kKVCW1PsdKkXQL42r4yUlGgxN3Iz1Kw5lHb54oPGTEhuzgOgCeaZkH/mhlBuNyYviBe5iB2I0isEukcIgJuUPLpy2gFHHtjj8NQm24FJI7m35u12qY+2gygQXOb8BLW/PISTE+Qivw57/5nWHRsAtE0lc3EKHU64A0uZ7livzgr3a+zrxZIyLx7DmR6lXiNZVJ0VhlGWTHSrBUzQmf7f5z2d5jGrLItuRUWayodA9hXgLFOv2TbiNuUcSIy5VkuMZxihzMcPgsZW4YCwJ66H34dIzWnLR82X+ZyJQTwgFmlg7oo0XQEeWxJuN8xOXJqwYZtmK3/GxLjiHWFXkDxoQkMLQbmtGzEpaaya18rkUbBsOoelw/Ipfnvf1gVdLGTYz/B+67+9GcB18vRQdGwNTxVPdpUW2wA/7EoEc/hxh7S4224vSD+V9wLjhloSq0zFzXbGGJshKJ71NAEM/ls9qlWVq0+2rEQnGC6mXkk3NBdY1SpIeGWYAtMpz7Cqhlhqli8dVI56j0ux9GE1wW9J+9cN7hc01rl77ml2hQ/UaCmrngcZzdOf4L+mnqBlRwyhO5Ib49H9WYD9Ju+oAhdFld5jzLW2wJZz61JO3HQjUbxegdlJbwlE/+0GdMSMQpk882UZM4TBBEPVG6E3VRQvTmJWJxvpJnn2iMbs4QFtv8Cc7gOclhlhEwYXTAglOpmhVSHhabU0xWWBZerqGD+CF8xkD0SJZfzM1daQi8XMaurXYO8lsWzAwH3bg8KKzm/zIKMh91Op/3LiD0AGf9gtX/i8PvI7rQR1S/M6AMl76/REfm1nCuC1SAl6lpfOipZFsXaUS0H5N8uUKLhPoqIeeVG6H8PRW7fgVF0j/oNzrPQhgIUBXyAtvcHZAcz5GVKfIv0876DnLYlZ/9ERHlyMSxMl61ocGAoKrPOgU6X/s0cZdmCupuh/Ft9dD2gTD4yvI1XYUqOjz7TTD3cphiCbQ5TON+wkb/xMwo4rO0fgm7kMIhKNHA6b437Bxl+HiictBBIQtIcYFDwbGA8P5c/O4qcrvl9cUswuBOjPUNrutq2JjakzBN3epwYEo+FzluQ8VoSIg58pOiyAhyqMvwqWdlfrRHvg5Lw5mfGzVRA0+v1Pd8Xr0SFwq2mLFdC95YX0urxBZLYLZMMMRJ3HG7+AjQ0h0nhJGHQ3MBkfKMjeKQeod1LG/8JfUmx9G8/qBpHUE32uLz2WIB8klgEyD78Zz5Br0opX19yAMrf/7A1XRLgo8ToTkGl8jZJY4Cj7nEyt0vY+2GnIEmtv7XSs7iqTs39ou0fzOqwAP6wb9STKCccM1YCveaKeOXMWv11FQoxujTuT2kfORTtzcrjYzes2G+Z1APe8o9W4QzjXicUm48JSauhnuzWlQX5dk5VB8XwcP/PAI5+V/cPpHn8ahxx5DWbxnuWbfc2haFVMTpvxrRtpHS6MgzmLsQ7QomEBoImaCIopjc5k7tfhYjLZMR5CwD7psFodYNWs53vfMDvALud5SCffiRMyZrRPeLj2o0+7gNXFAknT+BpyVQPJrPs3UThJSnkZYikK+IxJmgWaooX1pgHmlctKEyqr0/mHTGoqDbVRfLJJI9qbZzR7mmQuQfpUQC12n+HZMaylOccyPz/eFVxsytD9cX6rAi0ssCd1yimCzmGP+2b5dmerhPIX+2gYBB/grT6WIr5X9A+plKgzOnFPDWwT9WF/Y0lhq2oynY3oxy65RzFxWqqSQbo2d1Q6zeIouQvxrmRzgES92plMQphswp6pfmE2A3Ybt5d4kGBbVr6gUOMSmccCaFQr8aqZ+2eQ8fhohAlskmFh5yIF0xvrsyL6yISDMAlTQP8mIUZFqCKuGcFyG1ihyS6j1cwpUU88oesU7yDH+3B8rGWYslDZKmAynbpsZF2Wv4Tz/jRfQ7ax/s4CO+gRsMfu7G6ZgAcpzkSNLEJwsq7NNP3Ehpd9e4bM/Fa206nqbDigjcVt88CpKwoTiesthfHJqTD39mUWoJyl9eePugqfwcUDd24Kg2B4tvAUGJcXNUoMHvDczmTB8i8trJBETfUgSP3/4L+IA/gjBxWlGVZisCr/wGxxWfkeKaUgdm6uGEOQ6HbNpk2mgAkC4hmYmd0E5KOI2lU8L3YI5nl3b86IyPB8IbZoHsYehyyjAsUnanohro+h+yF1anYpCziZkkyYvLMKQ2jIEnsZg1K/sruZNtTZrzIoKtg4XM2cWMAgvpQCxK2MSQLnDTboPMTs3oE9+y29fQmiWDnx5Aq/GIhq9CyZRzlXqd6lBUcIETthB9UQd1wo0LPfqAeDRBUzQEPKfMvRzAQbotYNs9lIsLM/ZbgCWYdFa3O1N2+LyYmfFJHJw4ytlbXIJlPIKeBkm3kFOX7yjCgW0X04SOAu6Tn0Vi4MVV3CqCCeU5daavc1ym3ntUxz6nXig862fjfYVU6dgsSuFdHgKf87Dkytqb6kw7PdsYU6YqWcVWdIQRVacMsez4F82iinZ1XoNOC6I6GI03BeKSYrh0ZQ+JvJ0d5gtAvGE+K/TqBLfxQ41RxqPpjgqvx2okBVThvq2z/RY3toZexzoCQls3j2q0BE/nFffiyM2u3bNO3W2UDRDpps9qniuWgFvoLrByq5QuQSnwOdRye5kkJ6+lIWrPayaNL/N+G/1jUfVn4PJ2/2ShFARl8Mp95IbxF9bPfFgit7BOZ74czrvomHLPViVEEq/IJWSiztgFkkID626mhaR0XJt195cKyGDaKWZ51HehNyrh+g99P5TnEhKIzFfpANbPCXAn1do3AlU7q7IRCMiOZ3Qp5kRx0S+oh8Gn+FcdKMfe6NLVoTtpWVwolHA9jpdm5R4+laUbUnc/zeB5fqK2aDb4IJq0dfWbhz8hGgNY+4X1bGjrOgsMmNlssfC8ebV9Ld+at03W+TZ6mJfC+76ZeCT4pS5TKWrYmmzcSBc+GbOhTciC/ku+M+9h/Y6pcvmVXEMya4oqGUKCP8++8w1kjD7OvDh97G3FZ4XGOHz3yVfeumyLprvrju5M3c5yfhLC2ByXw+TwikfPQKeu0j26m4Rh3Bdycovhv5AbiyIzHk/WIp29ZcVSKWGd2UpCZB3NaR+EpUSdK2hhFadngOkWEkCg9Wssw8Xh3brFS4OBOtVwl/sRcE+clxY2ZYICZ4BRkGmJkweRJ8q819grLaTeiIHuk7avbIUtVDt2thwVkP5QnvuVXFPb0h6OxamHZgsmHsli17HG4w8FyemoPiYbov964KUg2/7eUt427tmNQ+PXbcPyxXusTG8epLe+D+lL+rcCvCF4hmXDyYvWVPCt6cOnu/eFfLgx39gqUxJTsoA2zV4+IHNMZYvznGqIp7PZeBUMOei+BcZnqNVkEIJB4iYjK6ZqHcl/2IYtUSoTeDpGTqEy3AA2lFEK0T/ZE7CZDQjHm7+alMoFDq/HsPE/k881VjIpFO5gSYhKxw6YhSlHYH9p6Z8iBJUHbg+1aomN24CfvlbCz1xiH0DRKrfUq+0uJ4L/gxYHyaMdH68p5EujW+xVoUh04BOq2drYexarvpleLzGtBb+gj4hlJimV24uo5OBqkvzYILWspwS2sdSnkTNi2l7R32VRZn/TQIy20pw2aa8r4vWVjR3W2eS53O8KYfhkBowj8V/tdmy8gdCALKBw7r5GMQOLopm57uUtRiik84uJj214KpDO3E9uoai+jviwcZrrb8UOZkRtLyDWyA3YRH4kmtg0kbjraXjMf91a1dGIhB/bpHp5tRhvEdF22oPbge7Ty7BuF+fsNKC7p5MnJDEy7efdTPiT3UsJk//vyy122vjv8hdLTMI/hsWf2RfZA+tRBPvc8Z7AhNOBpk75Q+7mO9tJ7/VVML7XUHZCQM9//OUhm8dypmtUOZTEJVQ2mdaMeQKSIXZcoTALRah0BTaZ3zfRktTzF+rkWWCA1+Fswd6LAfZCDsWcp2rjDgG6BbOxfeVOPxxU4VmDumENt2U+S2zaUff0N6NXVwaRSbicTelow2s0ZMZvtmW/kKgZD9/cIQzxobZm4eO4QMrTCwlKMTKTNymuH34+5z772eax5Ub8/VZ4yX6rP5kPdqPBGVab/2aVdxrHNXDV9OrzlBFX8CEu3+tl6rUdTW5WhkykpXjjTQ/xfZQMD2VUZTo5/Q1iN+ByZ0FYfeWQYVZ90fX++7OFU6UZelpmftavc3MhIS5raYD/Dk3NoSvWpveFwkMbBMlELJAdOwNd3Vn1XrL0tWuPzETSr3OSRlU+Vp0xO09B166989WUz3zdkNd7+o1LXGclyviH02ihF3t4e/xOiohR+beYiS1GRULgfV8EHHO4AQAT1g8TlBi6evwado6csjYR8371S5Uo1eZ9Q9RiJwN08eV4u38dvfmraiQ+dLEmw3nfDtc7HVyyy8sgHMmBx31MMYHXCNDlFaxah8Z+ypp61MuP9fdrxSFgAYV77YnOeWn7oJYMOP5eB8qpXYt3uVvb0bEQVVxWp/cM/sfLiRGMaaGj3LhbU0kGGVTn2zxjWGIAk0bLYxVzEEXeg3jmRVPYGEIvSEOhDYRF52ujxrQSnhl871EKNqL2XlBGS+xZoCi/plEcMkjjqxtomDUBcKoZ9g1LOS7qAa/VblRd1/H8GjbMdWqnd7iI8XK3xz8Yr3HulPXCWlkuAsUk1DtNSJZ2tgJDkuWDgWMyxvhoKHaV2JzqugV0HOQOU79/wnByT0qrzHLrCsE1i+xE0sZISrl8ah2bdDUdXIrzXEWWdAfohD46QZG7LNigoHreeTr7h5U5rQrAIF/VFrIiEc9mkVe5QE4Ij7DzQjbYHhr8upl1unanNy6fad7bWeDJ1UvcYtWEc6OHS03LzP/qtq+HQnQyjjsvh7CG5lh5v8gD3Z5Aj+6/2xHXBxLILkqvarJ+dFKBWhKStMCUbT9jxKvQkIScsJjvJkmAVezSIa5bQSndQhPw1JyWnAiUcFR+eaA6S7N5H/An6jcc8TnynP4D2XROFqy/tzzHuDXcbpEuZj/mCohdkkOH/LHaMVIkQzN6mH8EX751CV8QkunIU5JxdEgHcsNvYIJRetHdzuKeIwXLxcp+Kj9jkZsm1mWlwYVPx7xziBFBpzY0tkHykU+okS5d9wf2GZ7AwXr8+KK23zqoZKtsl7RTva2bKXCYcj7+sX6gt+MceWeKkmosWj2Jy4lI295ose/ORvzaZ7O2fC+T605U7fptQojHycDJL1JbCK1gWsesF2XeIRORKb7UshkjCpzHk49IZEJHaTBEMwgtz0BOVpjYPEFkQ7Ly8BTK+ruLdlAEHnkwrCwA1F4OQksQQQ5QPEyugwP9JJwUqa7Mqc0NlnMCV0DtYj/U0ixYGvefHnzSMvoAkKBohvsKsl8UCeF6dStAS8hTBcilgo2BSuTq4EwlEmlMXo2Ayft0wI57HjZbPr/XDD/P3VPwjPnXzTqFvuXPvRQZWkp8wSqpfI896BmmBFRkFPa0N5PvVAgFMYX9Q/XXHimcRZC0SW7CjLwfMmzw1kK6ADJCDOZcz4QZ9r8/HYPBsz5GyuIti4H2mIv19CPNhjU3K6SgjKfdqiRIauO7k5rmjjayGbi14QQEHvAiXuCvG9xZmNzcmn38zKE5FPYO9bSTX0lxs8uyboRRmNYwOK6/Sxn6fE=" title="Mekko Graphics Chart">
            <a:extLst>
              <a:ext uri="{FF2B5EF4-FFF2-40B4-BE49-F238E27FC236}">
                <a16:creationId xmlns:a16="http://schemas.microsoft.com/office/drawing/2014/main" id="{6306F150-689F-55E0-7F8F-DF5C9227CCCE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 bwMode="gray">
          <a:xfrm>
            <a:off x="6366272" y="2649631"/>
            <a:ext cx="5484589" cy="3587686"/>
          </a:xfrm>
          <a:prstGeom prst="rect">
            <a:avLst/>
          </a:prstGeom>
          <a:blipFill>
            <a:blip r:embed="rId15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91" name="btfpStatusSticker577716">
            <a:extLst>
              <a:ext uri="{FF2B5EF4-FFF2-40B4-BE49-F238E27FC236}">
                <a16:creationId xmlns:a16="http://schemas.microsoft.com/office/drawing/2014/main" id="{9C67B912-6921-B36B-948A-A62D2E8F72A2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10100356" y="955344"/>
            <a:ext cx="1761444" cy="235611"/>
            <a:chOff x="-1630959" y="876300"/>
            <a:chExt cx="1761444" cy="235611"/>
          </a:xfrm>
        </p:grpSpPr>
        <p:sp>
          <p:nvSpPr>
            <p:cNvPr id="92" name="btfpStatusStickerText577716">
              <a:extLst>
                <a:ext uri="{FF2B5EF4-FFF2-40B4-BE49-F238E27FC236}">
                  <a16:creationId xmlns:a16="http://schemas.microsoft.com/office/drawing/2014/main" id="{CDCC417C-BD25-489B-EE73-037BE1979985}"/>
                </a:ext>
              </a:extLst>
            </p:cNvPr>
            <p:cNvSpPr txBox="1"/>
            <p:nvPr/>
          </p:nvSpPr>
          <p:spPr bwMode="gray">
            <a:xfrm>
              <a:off x="-1630959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Preliminary</a:t>
              </a:r>
            </a:p>
          </p:txBody>
        </p:sp>
        <p:cxnSp>
          <p:nvCxnSpPr>
            <p:cNvPr id="93" name="btfpStatusStickerLine577716">
              <a:extLst>
                <a:ext uri="{FF2B5EF4-FFF2-40B4-BE49-F238E27FC236}">
                  <a16:creationId xmlns:a16="http://schemas.microsoft.com/office/drawing/2014/main" id="{770C6E7D-6628-AA19-0850-2DE8C3CD5CC6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630959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A5D6AE7E-FF40-7DB2-D9B5-1B548F629C8C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5265" y="2598936"/>
            <a:ext cx="281540" cy="280744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C48E8095-84F0-C050-AAE8-396B7C1413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</p:spPr>
        <p:txBody>
          <a:bodyPr vert="horz"/>
          <a:lstStyle/>
          <a:p>
            <a:r>
              <a:rPr lang="en-US" b="1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+mj-ea"/>
                <a:cs typeface="+mj-cs"/>
              </a:rPr>
              <a:t>Awareness funnel |</a:t>
            </a:r>
            <a:r>
              <a:rPr lang="en-US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+mj-ea"/>
                <a:cs typeface="+mj-cs"/>
              </a:rPr>
              <a:t> Target is the most well-known and used vendor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 across geos; Peer 1 (US), Peer 2 (US, EUR/APAC), and Peer 6 (EUR) follow</a:t>
            </a:r>
            <a:endParaRPr lang="en-US" sz="3200" dirty="0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670DBEBD-A877-B100-6A86-E24139252C36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2829" y="2625535"/>
            <a:ext cx="281540" cy="280744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50E3E80B-7F97-6CC4-555A-19A0BEFA93F6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1865" y="2623700"/>
            <a:ext cx="281541" cy="280746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D8996915-77F7-EFC5-2853-91BE55EE30BE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1305" y="936034"/>
            <a:ext cx="281540" cy="28074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C06C8DD7-C749-C00F-AA45-069493AF309C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2504" y="936033"/>
            <a:ext cx="281541" cy="280746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C0FF5D39-B2AD-4760-92D3-64AEBD4BCFC7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3468" y="936034"/>
            <a:ext cx="281540" cy="280744"/>
          </a:xfrm>
          <a:prstGeom prst="rect">
            <a:avLst/>
          </a:prstGeom>
        </p:spPr>
      </p:pic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C98C37C3-C1A8-BC57-A0D9-CCCE85BE00E0}"/>
              </a:ext>
            </a:extLst>
          </p:cNvPr>
          <p:cNvCxnSpPr>
            <a:cxnSpLocks/>
          </p:cNvCxnSpPr>
          <p:nvPr/>
        </p:nvCxnSpPr>
        <p:spPr bwMode="gray">
          <a:xfrm flipH="1">
            <a:off x="3396601" y="3246970"/>
            <a:ext cx="1922315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56248361-707B-EF27-CF84-2ABD3C7F80A1}"/>
              </a:ext>
            </a:extLst>
          </p:cNvPr>
          <p:cNvCxnSpPr>
            <a:cxnSpLocks/>
          </p:cNvCxnSpPr>
          <p:nvPr/>
        </p:nvCxnSpPr>
        <p:spPr bwMode="gray">
          <a:xfrm flipH="1">
            <a:off x="1136538" y="3246970"/>
            <a:ext cx="1922315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96B47D2-83B2-D586-9245-ACC114DBF615}"/>
              </a:ext>
            </a:extLst>
          </p:cNvPr>
          <p:cNvCxnSpPr>
            <a:cxnSpLocks/>
          </p:cNvCxnSpPr>
          <p:nvPr/>
        </p:nvCxnSpPr>
        <p:spPr bwMode="gray">
          <a:xfrm flipH="1">
            <a:off x="9434238" y="3246970"/>
            <a:ext cx="1922315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74A7AD6A-AB17-37D6-FA9C-CFA0CF452592}"/>
              </a:ext>
            </a:extLst>
          </p:cNvPr>
          <p:cNvCxnSpPr>
            <a:cxnSpLocks/>
          </p:cNvCxnSpPr>
          <p:nvPr/>
        </p:nvCxnSpPr>
        <p:spPr bwMode="gray">
          <a:xfrm flipH="1">
            <a:off x="7174175" y="3246970"/>
            <a:ext cx="1922315" cy="0"/>
          </a:xfrm>
          <a:prstGeom prst="line">
            <a:avLst/>
          </a:prstGeom>
          <a:ln w="9525" cap="flat">
            <a:solidFill>
              <a:schemeClr val="tx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btfpCallout176311">
            <a:extLst>
              <a:ext uri="{FF2B5EF4-FFF2-40B4-BE49-F238E27FC236}">
                <a16:creationId xmlns:a16="http://schemas.microsoft.com/office/drawing/2014/main" id="{878D32DE-87DE-4E75-430A-CD491AD87F61}"/>
              </a:ext>
            </a:extLst>
          </p:cNvPr>
          <p:cNvSpPr/>
          <p:nvPr/>
        </p:nvSpPr>
        <p:spPr bwMode="gray">
          <a:xfrm>
            <a:off x="9415363" y="3512868"/>
            <a:ext cx="1369986" cy="398033"/>
          </a:xfrm>
          <a:prstGeom prst="wedgeRectCallout">
            <a:avLst>
              <a:gd name="adj1" fmla="val -53290"/>
              <a:gd name="adj2" fmla="val -93510"/>
            </a:avLst>
          </a:prstGeom>
          <a:solidFill>
            <a:srgbClr val="FFFFFF"/>
          </a:solidFill>
          <a:ln w="19050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800">
                <a:solidFill>
                  <a:srgbClr val="5C5C5C"/>
                </a:solidFill>
              </a:rPr>
              <a:t>Represents N of 18 in UK, 53 in Germany, 23 in France, and 24 in Australia</a:t>
            </a:r>
          </a:p>
        </p:txBody>
      </p:sp>
      <p:sp>
        <p:nvSpPr>
          <p:cNvPr id="4" name="btfpCallout991208">
            <a:extLst>
              <a:ext uri="{FF2B5EF4-FFF2-40B4-BE49-F238E27FC236}">
                <a16:creationId xmlns:a16="http://schemas.microsoft.com/office/drawing/2014/main" id="{D9FE0224-0267-AE79-CAAE-9DC83D53D44D}"/>
              </a:ext>
            </a:extLst>
          </p:cNvPr>
          <p:cNvSpPr/>
          <p:nvPr/>
        </p:nvSpPr>
        <p:spPr bwMode="gray">
          <a:xfrm>
            <a:off x="1366866" y="4128167"/>
            <a:ext cx="1157861" cy="360045"/>
          </a:xfrm>
          <a:prstGeom prst="wedgeRectCallout">
            <a:avLst>
              <a:gd name="adj1" fmla="val -58952"/>
              <a:gd name="adj2" fmla="val 46390"/>
            </a:avLst>
          </a:prstGeom>
          <a:solidFill>
            <a:srgbClr val="FFFFFF"/>
          </a:solidFill>
          <a:ln w="19050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700">
                <a:solidFill>
                  <a:srgbClr val="5C5C5C"/>
                </a:solidFill>
              </a:rPr>
              <a:t>Common churn motivations include cost &amp; perceived outdated UI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ADE6F98-3B17-10A5-2DC2-6B4BA34DDE3A}"/>
              </a:ext>
            </a:extLst>
          </p:cNvPr>
          <p:cNvSpPr/>
          <p:nvPr/>
        </p:nvSpPr>
        <p:spPr bwMode="gray">
          <a:xfrm>
            <a:off x="10615542" y="6231938"/>
            <a:ext cx="1087034" cy="224223"/>
          </a:xfrm>
          <a:prstGeom prst="roundRect">
            <a:avLst/>
          </a:prstGeom>
          <a:solidFill>
            <a:srgbClr val="FAEEC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i="1">
                <a:solidFill>
                  <a:srgbClr val="000000"/>
                </a:solidFill>
              </a:rPr>
              <a:t>Unbiased samp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893538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CB4B0205-835E-A30E-EF27-C25777058A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3401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606" imgH="608" progId="TCLayout.ActiveDocument.1">
                  <p:embed/>
                </p:oleObj>
              </mc:Choice>
              <mc:Fallback>
                <p:oleObj name="think-cell Slide" r:id="rId12" imgW="606" imgH="608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4B0205-835E-A30E-EF27-C25777058A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0" name="Rectangle 1069">
            <a:extLst>
              <a:ext uri="{FF2B5EF4-FFF2-40B4-BE49-F238E27FC236}">
                <a16:creationId xmlns:a16="http://schemas.microsoft.com/office/drawing/2014/main" id="{D85D92EF-5DD0-EA97-7870-BC34463704BF}"/>
              </a:ext>
            </a:extLst>
          </p:cNvPr>
          <p:cNvSpPr/>
          <p:nvPr/>
        </p:nvSpPr>
        <p:spPr bwMode="gray">
          <a:xfrm>
            <a:off x="9770265" y="2643519"/>
            <a:ext cx="321711" cy="170121"/>
          </a:xfrm>
          <a:prstGeom prst="rect">
            <a:avLst/>
          </a:prstGeom>
          <a:solidFill>
            <a:srgbClr val="FAEEC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6954E08A-703E-91A9-8831-0E571C8D7480}"/>
              </a:ext>
            </a:extLst>
          </p:cNvPr>
          <p:cNvSpPr/>
          <p:nvPr/>
        </p:nvSpPr>
        <p:spPr bwMode="gray">
          <a:xfrm>
            <a:off x="11180742" y="2644723"/>
            <a:ext cx="219733" cy="170121"/>
          </a:xfrm>
          <a:prstGeom prst="rect">
            <a:avLst/>
          </a:prstGeom>
          <a:solidFill>
            <a:srgbClr val="FAEEC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30" name="btfpMGChart598190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njZPmzVPPwFyUBDlDfxgncUkNpl6YIjkX7UyhOxikHnx8P/XZ4LIcekayZvKlH95iRFUhxtoqoZjAIVXAqlTLi8mDtulVZKfWFHTbWZZpCSTdLWHSV/kN16ZJVixt746mGr4JeuoOYoUTBHNqBKR1q6zqZz4yOEXm+R+TJc3MKL8lE8RcS2/CtQDnpaxxjxhHeo2WhUvwcWigOnpd+osp8PYRpaleP5J5xW6jw3OYB/8i5lf/qxvV7lWkr2g00dtQvvexG7CpiTqVgtLoNEOfQ+CVyE2huqlOWjGMqN3cdl9V+eFvgFB5gdAkUYTPIKQi3r4Xkm18aUPvhAKCWN9tYvJChaF6QRGlz/++kINGwxSBQedoYg4o9Y48yzw5sht1hMolzxxolJUMkrK3zPR5o7UltqJh9PGBX+ZxmfaSfUPE6YyA25ryU7l6aOMFT6U7fsgYGyASzWznvSG67OD60Ufhglfi2rqdsY4iMpj9M25uuyh6tXj9Rnite6z29IKxAw43lyNqLy/FG01SKjJqb+yspe7FPR40/JjsG+Zao8x8rfKZTEM8n09hq+mTqGspmaIQtAKbRjEBFLuP8ntz4+TswwwXk3E9FSfhBBw2qLANURyKPkz1cENNOb0yZZv9ScSNRtr2iDThFaMe1m4RtBwMURL0i/7SF+xcrcHOBRGuI8LlKZbw565LJbPw722PVLoK/mjdKuaYSxZbSsCZwdMTHAcw79yrif2cTkTQdFLA3vvmR/zrxERVapcNUOVtElhThYWwmJVtPVWBQHsg1mzjwsD/UaWTRqn5JuhLBQtvKJ1o8uYVEwakrqeb5oAlnm/6DmpXjtCuKSf64ZgoMMGgQkezBIU0FczxcIOqJ2HR8dPjMtYEpambFK+WSOE2p2vreRpuGgbWUhvMPRxPc7jW0coFqxbAo+EA3Jmh/osIXzBy4oo2UwuFGmCmUF6FfM9zLgmvM1NWoCUYXzF7pcOCFZuQo4tAJnqBU1ZTCfqXb8CkJFvNwjYjiX0/7NU+UWvSAutFt8Z/CB7xgWaXRAm44GymqEAs7dCGAWIVlnClJFPOczxeJy3w0ESb/IicqW+JZlwtqpBsiir9qyPbgVxA2CRJxt9vqsQF17M11FX4Ta8yvZEwhoHpx6Oxe1izIzVWBWTjO6UpT2VxIwisYuRTLGG1vgodl2dObAAX576/gg3kc1z1DDCTcNH5WdyKv39RIuaX6sJnRcMiWPVR7QBkEaTeE9tnKy6VfShWvm7am8lApGzjlA/WDeQctQzEhc8/3FyBmt6uWY3bXN1V4/e8Fxbv0kM5auJAYDyEy4gxo8TFBUGHUBBLSAF4b18kQbQb1t7tlRb/xFLjR+N5rMFlPy1+lYFnOYaV5j7RgWbDypA28p1NCx+AnJ6yZrvtKufCwnVgnTBwBO03BKsCpiqGonHyxohe7Tj1C8/Fx0dWcUvQeb2nikwinvujcgFwB9Fywcq40ySy29Hbjbr6u9WY4vq8Ofyh5ITT7Tk9O3+VBU4ZqbkfcCnqOqOT7DO+IxWGQUj2TquuqiDUQPX8jCe3JynFIyvN7yZYUGxlOCautx+LPNdCFn8j4M4pt45IqGqLnd3f8JkW0yVGGyZIjMkx9hnmVOSiCCYh7ieZD4ME7otMrHKfIrGdz5Y0c1zhNP1N0yWH/gKKz634EhCxovXz4FLcFkr7GUEkFp1Vmz7iUP5v9yvcvbPRAPWC4Sek4OgjvS2pwvdHMnr3JNBS1vn+Bnc9yp7dQQ86Ar4aIAsY5MlfrgsOqiN/BB6jUqA4Ib7jrPhVYY6PPkuDbCqCgv4HLBjErgJGFQsQOg7b2b2yvMk5WDqiZXLzak8VOwfJJzQCNzMuIXQ0A9FHgfKc0nCtDFcgyWOuT4A6FiOji9SBEa+4HgVK5y9iLhNFJUqqliZtm/xq9OMLF+E1P9lI3V6QwPgk0ZeuoWPJN27jmu4+cd39213bXAvv7+Fxq20Jl3bfTf06mTBKiCdMG9re62TCJWIzrRrKvDVKtddUrWkR58S0epei4Gx3C7WkuTbA14oNbYoBQwG9+gFk8wcwy8SQsftK0JTHg48flVDfYDwzamym+H+lOaRiv8l6oqYzcQjrwNX/k6A3/bDOKiTzRfnkliDh5HiOPU7aU6qfAyjxHwUx/2pFBQD1fmKJ0tdkSc+oBTYj9iiZxfObn0LWVlz6hBvKS/C/4LgkGeKvR0dMlDAhwxb53QQHo+z61jZiJwOV3MoS7ZwhZ9Z8NiaNIvgK+YlDP1Q6fCJ2BW1qX17WCFMa1TKvkGt0w492ZNrb+LM7BD+zqKkxfd2b1OG7qqU8p4jv/V4bYYJf13YEAftQMmQfg7wmjuNuqMDUUBHT+8alQCnm7Wn7j38hb0W71mfpzGy+EGEnFjCcdHlDSwWoATuOp76v4ZDNa8HbPKk6RfcI0/BNfdaN7fXVEE0hfqdU+ayvXL5johySh7UTntUEgr2ZCvrEi4TJNuo3MGnH6rhZmvQJvx7KsaECZcU2sRHhFvyr7VLSZMtW/hUE1ZeDJVrOJUjDhDrmC649YRxf8Npg/Wx0y+jlPtNzjwKi18XITjiOf9VeUUkCqwSv7NxW5wHw+IyB7xuxUL0J10DJGip1sk2zybOb/iWve/ZWV2dXGdiAf/g7YmMuNacekTfRAhmuYm0omirf1Ig7R7CiMW3rMjoNnDYpK10tqPU1wuifv85eOBz5ctOPnoDYPi1J22ycHtB5tCB2FB12MknyA+CJJsfsQ4dFWZf/605OS88RUpcL+Wy0WXs0w2UUEcQR6H2TREPvOTDuRbucklNEbPGOyQKKIiMx69wgR8HSYaMSV0LzBXuxH7JwTR7xJar6BAoG0ojfxaO3SoPtjUnyHQ5JtnDA1dUnUzCh0c6rGmzQ/dvoud53MH3/Rr1Ii1DPpDsiG6erOM6JZvVDIxcdzsHBE74+WaGv/kq0+oXSepAVrYdT2mbypQn1JK8pmEjWk6EXHIs2/YAV/iNqwhoT9YDMfsBzz5AGrYSm8pzEoSdkltQYmqo1n/VNFmZNRpET3n2000X4Q5VLOYN879R192WbNHMQCvvV1KvadfhJtFm5qIyls9M/tLwIF02t8Vt0KvBDmPjlmSBd077wtZ2F2/c3Q9rbwhS/aYCwZMe9r1hvnuUJQQDYjh4hlzn2M69nydgiREdkkmsi0GyymohY/u14TH73UqwcneyR+VjVNyzIN8lJP4fOzJ+gX83FYJdAeco5587KRNKWg7SbbB1qAr5zFwaUfAetqwKRr+XV32D6WGOJLTT0Wp5aJXemIoMOhfMl1xNXimQ+NdMwr6IYBz0qpi1UAfGehIzkDyBJrbN7yZm6Xd4pxBUz5zRMTBgxZLArp46SbdGsHz8+89sokS6RG/UqwvXn/Sy5xUcUUr5fqY4+SeteecMdjbZRV/XYSyPpitnan3ThE61GCM9y5BGpiPzTnk4pIn0dwvrNNjfbBZfpifILcBABYyuhU6KrFChi42V5UlB7pOyzv6h4DWqV2Ld5FJ72ZHdELizzuNKyAENuGfdIiZ4oToSl4RP3qGgAqS3PCxoS9KxRcEn+vVGohNn+fm5AGntI3DdbCS9slhSnEaR21K8mrcGA1ZWGrY9htqjQz5jK+AYiRgZDUqv7SrS1qNji7XDJMas6o1zgeKylcbJi5lFfgUIKSiCC/Ki881zXF2oMkSSQn+BprkJ6tLX1wbu6ceY5yqwiRs9oFpN8sIt6zaEchL2ubHYfYyYs+FWzqZ6xEZeT6PlkwQeB6VKfKsoKVYKQb92AQOusV3+VX5JddGzk1z9fLpvNuhb8KtKWdCcMzMRUF4TpuSD+nM66KnKYUBj7Czra0ZDO67cMogG44wfez97ZqtpOJLNEbZWEuqTZqhbIi+ULc2zwCsllDurHzJI+sQyZvkqYM1F5k4V4cgnzhNgHrCVckvRgBtjfu162b0YVA8VPAHu8kb7Uf8X0AcIwHrgxjofWJB7C3kSu035afEs2S/m5fObU5+DXxb7Pip18AIOpJA/XeB89M/EtPIGFWcyUvZQ4KM1ZCiNO0J0kCAAyR/OspMKzTRnCDH2hRYO6N87C9u9LSYzumaPzwYt/pR3FQxpJSao9XQ6wL1O7t3zy+9HGFG/lJM4E6swsbUvjRsAHXRpBLaKw1xuquhP81B9X0uEtBwvfI9qyUFqqkh4dSUWTkT4lIvShwTXx/1Qqix+AUt+zeJU7JkgbOYqH60sJ3Bp4nZ6Uuv9A2DD2EXdbyhee1jONOlttxIJ1ZP+IbbVhf6vutTfeDg/5XLrfHhGncxvaGieLPXBz8QFY5jGVNtCRAz2NczYZ55Yltx5nJarKj5C/RQoE/GNZV01SCsU4rAZtAVprVOFHIENl0dSsr9fcYfbceoX/4XM7MyVQkCWndZcedmxSoXNEkLvkkQDRHu9BTzXHbEyqpnHYoXiIBZbH+bjPzfp4YIDUO5XttyWzZP6J2CUhl0igESwnj/G8Z+EqNaEfkvdCRxjAQJqOeOz6yeMh6ubLO1DbS5ZiY+GICRXep60Act1zO+8hAu0RvF2MLHkpBFhxrwYcRFD7Q6X+seImgQG6KSrzP05AJGHoYtCHKF8hj0Xpi4Bnyap6XSy5+caIJPf7Do2tiwEaEhG88wt54//0NRw2GYGiHrz+xLPYOEMJhNqdRvE7SjZBWXDskhpyvmRHPtLMpjn/KjNeGW1OkaTH4mJ9vC/TqlddljmvkfA5LQ+ntOesui/GcMs1AkvYTla497/imSUnh3DnSdYMnVR8J4ZHm4AkpzaSg7J1g7IprteVpLp8JWORlSM2lFqDtahOusVSJhBff0QssYXe+gYJIEtidTMZHZJ7F1qFOOcuRxzfkJuJDjssp85p26fvCVKggtxnwDrgorr/sZT9ylc8FXxzBUIFyJJndkZa7UoYgtg/4x452gfzdCdeE4V+9w9Q/5BOnhmm1GcwMNxIIwgSi9dazJ88Ot4zsvv9Kol3/MU51USoe0O35w6sg2P9/lTmNzo3JcMBkTF8K5ENLPP9Kydox/3xBm4w4uFAl9q2XNgX+kcRis8q8DZ7/f58cRb+zKmR2W242AOMy8T4YLb+/nA/Hf9N+70h1fmhZHUaQJb60RgY89DtU0nZHgeHOqWVV/22rGqGhcx0fduHo0gxx3h0cJLznQCIcuwg/w22W3wQH52CXyvhUDm7bH5/k9/W+vZda5ENEd4/52nCOpuzFaY68hJIcQhBSdgWkvdGTd4wpNgNpjrVfDmeSbEXXYNGKaIkPvMw27xV42Hwvgj8MIfd0HBDodJBC0Opo1VjORTMtGv15eHQVCVNUufdbqpWBe4MjAcU79qyOTUWblJwXu0bE86ZEK7+xARhDd+0WBGwRsmsoPPQA1eeRPX+1e4rLw8RbAVx+ngd2clARPGcSDaJcASnsW/KsKW243BUn4jJXcyOVBer4VHTqaU2xR+VAuvOl012G+06JBXLw1yX+htKEZcZ2+ZYa/CgS14j+9aOMp6OVgJ6XbF52I5vp0owh7wl2LnSgD3xwpCtE6vI9RdtTC+j9QpoX7rz4bshwd12Gby1RXYy29g0Dg71KMe2CbIUOotrOM3iadIvURr1pqectVQt+/1i99p6aaTkrx0YTZmI1+F3d+FhXjr1C0P4A6zLW8WWwZJ6Out6ysiqM5BH4KXgZ6mOl+/RQY3Z/trBWL0aaoO4BpWDRTLAZ4Yr109QcXYTqyDQxWotqqDOl0+T7SOl2dZsGP0jR7GEa6oEHLX8/hPqN7j5YleJhft5nYNCDeIv1Hufk5dVrDWx/TmVwWp1CAp1bvOOoRzechG17YO7yJasBZAM7AE7pGo93ia3U2FYCq+aKsS9kpY6CoHezuWstYldOjtt0lWhJz/c7kPPsHyFMRviMezfjQg+qb+6E9xESI62YCNkwf7JMATdFYyjz50/sNWIzncDC9PnMZvxV5Entg0xeVDauHpDf36j8jjIXWw/NAT4241FcrPBHqJrdDa61Ajr71DrooVb0yEYvQM8Td2BVIFyJ9AlC/0yVRfW52VzujLTvcS8HIBH3rBF0u+lxmHDKPusKyNhBL3316GEgZz04ZxCuL0XhBzkUiaVwE7kv3GUTVAdmKOatwZXd1thH11eJrc6vIavTu/mjXl+Aq+T0UqQRPfzVFBSDuGr0YN6lSjgWmLeTffnkoNhtZj9OCyjSZwgRkE/Gn1W2xU4J2O6tA3w7T1IZqGDKphxQVuFEUgbaw/ygjo/LMTx8ha8vxJ7IsgMdP0V25/oJ6jkIyJ5vpRAjYQBLkm6QkN9HX2/KijEgqUQXrLF2XclPEyUHQfKgZtoS1ZIVP4Fdd/S3Vp8jS68mORgPBGNLedY+U7/lWsUPpVZxs0b3SIcXOAIvgGI0IW5g6ruIOqDNI4JSrO2k3RHf3fxayqNcofK8QaHsoW2LU4v0MUDTnFX2yawOGfHZoTqHxPc1ZpSvhcYBemii2Ec5Dz9Nfuqag8OXuGm1PgvjdVmI5NtP/F4Dx0Xz+3jdL6iFYbiFwigKUCt8WK1pZlqsFzTQV+MLn9jGEfV+jITqyqf4lFlqtldymffBLPZSgoqHzeLyG5YdeEiSWEhND4TahwjL0xnqx2qaD/71x9DzU29/D0h9NDJl6XWmst1Y8MHvL+RaCTbosTyQeRHMaqaRrHVAEnR2ESYAQXI/cBsxk/SdKwYnd5SAlxC0D/pDPYEeooaAdTwNVLj9IGCIQ59BhoAqHpjZ9vjOzkuhX7XrbUcFaJtn02S4mi1ugNBNJk65ukmfBDH4pnUZ/7q2crFcwfiAtpU8vmcpE94W1Yj6lnZQAjfk2/7qbi82ID4MDYyRv3G9YOFVXCm32q5pq3iDjgxq8K0IoVNSHS2AXZctgJtnk3p0+6GwBaWV1+3U5z4fDuA/TwAKZ9RzukAP3V+2nHZtI3TwMO9z8GasgL2MSkhNK0QtaroCxAbvYpLmgcglv3yTdQ1368bZd5LoWVTTBEj0/+V3VK9xmnr2QDS9Lh16e5A+Jk8vQ2ki0Ufg0xHkyUNysKGlDUi5oZBbcwPj6rlCfKbAw4Hz5ah38C9eTyvGwuEVftOdU1umBzREvS3FDz8JXCQVksZ0Z15fN1MkCTiBPZS8FnRr6NDzzmOd+y2kvKUnWFvRMz8WFr/uCDTpDx/I6Qmv96QJpzniAK4U/JX53pqOlMOODZbTX35RPcJ01LsSs8NJ72aWB7EnMeiw5ndyO4XolahuT0m1j6BCGMip9zUjQ0Ltub/A411x/a/gVDHxckwQWf+LRx37Gw5sVXQFvf7jA4GuloSzxAsDnUyBrNopi3Wr59eo2QraWnJDM56g9EuXnuK7VGzCPzIy8mI0U+BEUff2hZNfylNGjGWy6GfcYWiYbl621dBctplu3VoWSAWcbSVcSOWAArKwpIFUyicuKDMQdacVQBRIzVlv3ePAx1u8KeWc1C3/SZjQLoeAWoE+I8VNrQ2mvR5hhI0eqCbRTRwNMmo3OlhojEg5ndbyYGD8b04k3Nwz5gYLEyHh41RR7WhO9GFBBDzDP4OdRAix3F5X46PJg4GGa1s8kCDNnbnxrIfLcwGhWqPEf1TexnNLs7ZA9gxR4XyuB00ExKxZWuhPZ1J9g2pm0DJab8hK7REjiB8bih9usmDOtlmZS7KdDqhQwT/VKqU/JFuKaGjf1i+TJTz2h81xp1oeo1fr+zU3HMfVfYPwnPdi542qKASFXSAV/n8dR/4zK9veqjruhz1UA+zt3HbNV2sXWfJn7YfbnrPXxmIMhTWpyJIPSL745gZbhqnTT3jFoxSxlgqtzse9NSAvFJbx+yo6RkWXNBoyxGmwtNrCirwsbmw1f1/LTGCckmf8lhDS2hEyVSuQX7WjJNClBI04iHY1f4WRJjfxkREr4eDPAc8ybV5Ud/Joq26npPy6+n3Lzdl6sZulfuT+nEqEU18othFPOVHjVKlHH9UZkd7K2RM4Fe7eM4fAv3yBppjjTzDPid5HkwfDGI8h5Ucf8WATX5PcFLwCVD1jeUMcXojF6KXGThgnsAONHwVZ3Qx8rW+m6vPVYQgSD2wVKjc6HOcHgB+RD/wx7BemelvpAllJAMyuYXQ2dIYOjH9Y1HWTU0Ngv6xYEJTJqr5MeGTgbjRHSnMBxWqjodXspP/EVEBdLcNrmEIVhNgdiFjKw2yOPaPfP6+ySozEy3K0pbm4jhURpK99CcB30cc9TI9bEYz0uiEoYWsNWZU0E2FLL7FVnx8U76DqMz0/rS4G/J04fuodma2wbr18mXltTbUsjf3P/jSpzUnzU9s+8nkx9n4kHxOTqusqLuVGzC6dMYaAN8ZkFLgInRjl3KVx9lp8UDOGS4TR5F++9GgF2wa3X4o2KVCChl8Y5IwQPKOOteTcyrVYbu/6C/ho6Qu5YeccyA6FmtW2+Exj0kcO4+Ds2q61Y1829dzNYLNVd1BpiSbjVwU7FO1rqoHH+r2AeMJdNBHIPlCnSFQwk73Ka53aCjOIV6f8WiTc3vdrriGb753FyTHb7VGVc8zb3BPTwFKhNVdk+rQh3Sm6uBB00sasDHxO8h0Q6Jij3yhUZ4XARPUgfjA4sEox3adaX+vhRa5uG5I3dHSXWVpelesL2b15apfWzcBMeDXI9QGqAdP8hEmwPRU7Pf9Kr78ZStYUXpqrXfv6qqYiLouakvN8Tp1R5zf+kTB3lfY5muGHypP7ZpOi+Fzc3jL2YIdjv54UDIiEot3LlcdRyftiYBBDROMoAcAQWLMfR2ea4Zs3JNqDEaOZP2ylD+vI18/GdoenaLiWeVyYCa1UHsSWEvcN7pzy9+ACsg4tJYUfKhKPyndgfPJFLUoIOikGMlzKP+agVngGkj2fkDBLUZg/xEpOXqK7HXql65TL/b+KpCLmrqnxIgGMFqo6bzeYh1dZUmjUqJrl1n+3hBzQGNm0PJbxIlvZJB8TyWHOwIOs2YvA14SyRU1QnVEL6kcs49t+9HHJgFZs1ROmLSfi0qHUFLXWjKM4FglOzgokOR9sU22qK8tsIyu780cTQc6O2mK9/F+nQu9M2P/Wc5FEjAlJzT7a2DD85DXQLjTda8QvMfbjQOVc4bW7/3KLNJjonqe+BWzvZn5kzsqZEYib8XDhCyY7ISUMzfy/miLblgJAkfURFndPZaMsKrb0o9iRbl0YN3f5J1DGnh7AhsboHH7jmXP5imRO1a0/z0k2+6YB0lgOs4fL7qVz+/Xz0r/K91C7xOCHQMkA+eKYTnHuISAqPYO7V1a7okrL1PPWRHyYGbX6Q5i84ArorIk7wV0Wtjkdf+DmWvV7NCHQ9s6qBM24pBrKkak5xPcCqOIsBm5EiXeo5Sa0wxbfvrYhnYKxuE4bKJmGSo3+jLb+QxfSFq1Qz5qJljQgADhXImHHA2TOV+tJUQbNSuIr9R2j6w9Rrp7uJ6M6LfNF34b7fxb3iLodDUf3AU8cPT85F37XKWgQht83lMt4XxM99UR8ZhI5HsvgdtStjwYfPQCrY4QGshtVgloiIN3i12LNlHx9IHngeIcDA6D7uw5w0H8BoV25HiiUnxog8DPCf/OgoYLh9Mkf+Yy2GrhHj8m/Th1sCxi4Lq74yqcCRmAvPoF+tVfan/jNf1zbXnTpy/PcGOxzJodwa1LDbG2/ogv22b5aISWYzlc3EIyxMKgykowbq08nXZPjtbTocoE5o2MToFucj4KA2zfmKb9swvTFt6J8LuSjiqztuXG50vA+R8irOAnL60WFteXdwCEmN3j+6eHHqw1vhFy+4xzXA8ljYQvntcRiwahVVGox1/VqIiAamXzysHfhLtf3r5UwNJ74VeB70ovb3DqSIJDfTfHQ4s7QEt/BiQ0CpHPCwz8MK7HBfz1K4JlTKNP9VtotvQmCicT2hw5dXhFDwlKRTNySH6N4Lk/i45P1KRAD97x4fBweWt18pQditFYSKYTlkyf/rYqvvxb5gcCmJs/9etR82ZoshZ35IfhehqaZBiqNeqS/mOYiQE77zrDbSQyxdM2AkdsNucXRsH20BqjkN9m9zxGHdJbNSgAcopGW4WKt42TgFfFg4mIDraYtagOdMoCJYggzt/aot628y1nrnBBdCwqPFLMpeRTLE0DYwSmG9dz8Hf0Bw5HX8mGzLgEYbKpZooK9AVYot5p7+FumQfpgEjmaUy3sfoz9iAMcXDMz8eIXjFfTcVrN4Jhd7ONgY1LXZg+btFv+B6P7JgTc7OwsjGRHqAw/2/BSfgB/X9EScJS4d+/OuclNTEYG63IOush9FGqkPTABLIibw7UpCpmYIOXRWlYROug2UspYlk5mGFMseiW9p267VfzI/YxyDJrN7ZKwFjoNKZb0HeFtWoYv4hmUHYPnMU8eYPQ8WdblC0vKrx4QSENMAeA2+pxPzqyCtlIXAOCwwPmpK/AQfc/YMXZ7T02qLnMvj10/pNOV672BVN4kF73EvrNpMtlOnKywWTjp0erSw3emqxPllIvtn0jJzEsRTrJlOedn7tbNhjo1Zz+IuC7/jlJYUqzZ6G8C82RtcVv58jXBgNbYHXplYIFpfxTc3hzqIDDyzItqDuA6hfTJygmNyetmTPERboLLNTJOpGVBRcG8JczscOIpAZbymo9htB2jN9loRRXSYsA4BUhwmuvqJH5rsSf/2l1qm2TMS3jKd1FI3o5ZFzxfNpGNwYZNLMG5KxTDJgpHKcwuh1RFUk0xSlXjUR8mSGz//lZT4f6BzdNOS89jtGbd8K5SIEo5QFTelCbOBH8BAmzEtTk94gMBK5mWwy8gZeZaceNbi4j8BjGIM2HlMukaG0SmChOUxAZBO/ZAUrSa2ZnmF9Z6KFcmyomNvp/5OqGabvRO+08fiRJNq5WdyLSQoKEa9QDKohBebBU8f81atzCPgeNG1Q0xcxcFwtU7wO3HH9Ufefva1+snoKdl0fQZMOIor01aO6Ps/Zm2/KJGb68mdEDzGHqcki3V+MS9uLdcHoKcvkhaH9MQplhhIxcmPrziKaXyib+krQqrmkzyfAIX0YMAdL575eaiLPuLkW4S2UA6tiTAwFZ0ti2RX3X70J82CdNdcs3yLHIvJDY1OdTU/rP84gy4SBgY4n0w1oYpshRKBz+LWy2YAaThsaKxLiSYvigFkbKCnn7RtZ5c7fQFQzM9c6qzO1x2Q5SIRdValknzqZE9KrBLWuiP7ytNqjsvmJBQZHK+tIONW4lWZ/LWsgcgRlw3IRgI/Q/GHacCd7H8GqQUJ0ItSDwMBnWrh7A1mmgbMeFfHD4EsJSNmKGXn2qRtdGLbeiOkVk37teGCLUcMO8ps3wYwOHyAWaaTD3+QKxNpOHFjTJ3PDbbpKqRRuoJm7bIVKRU2c7uq9Ol8X+GG7/lDAsOif7uvkxPSKpIJ9uSCZ7aov9UsL2ZAwLf1+lZl+RK4hwhMGQmIUWXd6iFMcosyOI+kUYgPrRypgg6iNAw2Ptc7yqZveLM+ucWStuA5u4hq+JS1AvkIhc3kGoGY3XxiRToGYowTIaJ2LqvpqcIilDNKvx86rApwKagT1G6Mu964HcJf8i2Yhu8wrvjLI+DWKmy7spnMQq8QA6lVxKq5GnQbuig6tc2kWjQd34jKwnN1klGMa/D84OOGfGvZc8In8CxZuh2IDgDbT0gylvt2zRA8AedoAjhD+KJgnqcbk4WmLxfNCkmOaVGLrVaQ9QopcSAwOv88qCwDTVPqBnRA4a9qYeEErryujbfSXOzklDWRhNt/1FdHBNyDbxkSmfjVtQ6nfaZGgYtGrXzVtczsQubOOA+tteOH9IweHlcgo6JIFJMENlZqa479OsxnCZPvFmNmQ/yCsY7fGw2//QnbAqXjtTZiWU//ag69A0/Ydi+hsdzN9uT+RbzD03tLm+3EebEclCTXk/2IgAbXWn24bgNY4Jt/LOIoDEhfnjcYpFwcnx81nPbkTNqkt9anJtAbgDnIeoN8NBlynQU4ceSYpEoWPQ97/z7ntFQM6RDzYnzHNIVMNy9angwisau6MIH4EX2kiMK5o+xm/nLtCVc9TddsISV7zMEV88GI6o9dLYCob5WJT+Bn7uo0HQ5PnhzKE0x9PV9YAHFX+nyJwkm+fUvFpZohwHf3JNI763r0yzHxxNvVKklI+TMJ44ABqLP487SK5dc1ZoyVqTvhPKzTOqEO664S6oU3Rzwyjxuxh4o0VbmLj3xaYldo+l52z2impyY8ydAjxi0s9q8tSRl1YJV6hpG0IwEGbXYC4W6xz9EjQ0IaI6MidKkDD83883fWzndTbaIOVNieaXeOmH5EMPtnUFsOk+UNBlBA9T54SDEnPH2UmgA8VbuEmFEdYWbn34GYUtkE01JHe9VbRxlquQmD78EU8OJaXps6R0SUonEkc781hTRp6YntWt72qgQKIoJIsJ63n828QOGGW3n/GYhgrvAEdhFDEnnoXywn1UCcqiYpAupEGabEg5BukOIKG8AXxkBwR+JBmtHGFVXKvNM6qz2n4em43YqM31mzFxib+ZXQMSRI6qt6WY8+x39M1l7mBElvaSTO31CTvHFUUHUn3GnECH4JtUFgr+x5AfPnFPz4LR+D5/ENKD/fhfX4MV6V7KSABleclEuvZvD2Ja1hHooIqQ+6gXPUrU1xbdtwy5C2nb3g91P9hLnTRwqck8JRkwV22GFKfl30NNuKWcoIxjxkpWn0syZDD5XzRZhmb2za0PZd/lauEFG29cUmdpliX23fKv+m2CYxpkpJEcZZ5Y2f74Zx0sXFZFdie86tZOEWFvl4Cjn7YJb82YX+Y3L1cb7NHFOyrmMtEDMzVyEWUfJdGJg9bfURNS691O9MLR+l8K3wYgcIv4Dw9cGnDKLuUOge5zHHU1Yt9FwN2TGGh1syZ2XvrVADQANhBGeGBd3mqgqL6FtS9Uy4kBjNCMNB9TnQxwRSfP1sy8AT6Fxj/4qsdYXyQIJSX1Mqm/iHTzwG3V+z7R+Vxpuu3Rr2si5f0fVMfstHExZ1kB7vFQcSK5MX7sdHYSvvcREi5EkRSkpTwLKfDolqvgZCOtK35o6W+G0F3BN5JhIDm1VXOcAxuysZuw2RUJAsLaYbtgX7U/ISOuDrISwxxH/ywp9hOGYBzd2YYwj2TYW8XBzXuKIP3ZKhyDO/gvUUAT6NkBOr6JPuGrTUHgHxztYfy9Zh79hHser3Uf8jXh8MGZhJOZhD9GVhbCidwO30/cuHO/h6C8qNjXmpSOpfQFqEw2KHGpyUhsWCz5RNE43Cp6z7EghS+jGRKrhKIBgweKIXUCWvWgcGyvaI/uZ5hFxRP10BOWKZYsdQ//93BtTfFjK7rQozWwIu/uiQaMOEWnJ0xITmgGAf18dvMBz4TgAk7PHpzlVHg2oOdDKC34msWrjlmUheQwKtbPaD6c/cDDLAjX1th3Qwl/COjtD8WvB18W9gILb47YasHAlfczwzNStyW2qw5F2Uc4yLTgPd6aB2UfhK37JSzqnV2TbYVGAkp4qzcf1KO9ubNjPmqJ5kNR4cuLcnsWnJ5JnGFiuH+NCFAgzuBo5LAaIiOh4wnH5Z/j1Hqe/sCvxRVDslxxJxo75R6ymELLzrqucsXEyoFXdZaPzD1xyhX/qqXXbQ/UNLnHKa/t8HtQh4uzD93LPoo4O9iMA6Sfgp8XD7g+NPd+BP0lYjaYa52nEujEdFrapiEicpZhCBsWPTpr3f0DdyjX2lWHQ2Hj/XpjBxWjdgis0Aid3U6x4OCyTIFHipKQmWh/ps9f9ssD8Z094leewbg8ragYWZue8NU6ylrqMvWNaVVf+FeM4x0kSZ4tr3iGnx9iemVEgHUf00barKelzzRw2Iwv8bFk3gJQg8jmg+yDV59SZ0AkORb9ACUuemddSgextn/Z5d2DvGhd3D2QKncell/C2/Abh4QMSELHUDXjWVKjY+6eHCZ6gtjoc5qp99edWA+z+qpDXM/WphBTF+JymBfyrYGMM6lY4nSnwzCxnegRf8fGcnc0U1WdYvXN7k4zrdEOAXZMFE9uZnfgr+OM1++WjAqBQSA2OCK9C7Yn3Utf54spOGokPCwZDMX1IqKQhOCUn8Tv2J2hYtD17v7v9BapBKOynaUChOYvIHWVILMMo8/GcDjEL7CSCRyIpjkn0r/xYgJSIuMIJa70114kKpvw2Qe7HKN9DKVfypYw6pbaaEeVmXn8A3buAzwDmA5h98iKv4jPwbyHeg+NQu9rEqO+ST8+eJpeScd41O+9Uupl3Ns35i2ULOCkpu5Jknxo0qXm1bpUWnyiAwvIGDcvPJVYRUeZNV3bx4RL7vRyFVuwcVd+DnNyQ7Ds6GI32zWZcapxqniNWiSU2VD5IAcFKgeq2JbDZMnYUDmwn7lVyDVfOBWcnhOrFsFh7lYnGj5uX7mzlvkPRVjq2meQah4PGX9HpwsIoaYN6p+X1APujr8NKQbTP6pOjEkOdUvYWMrTaSdsOP8l5fCd/L6At/N41vY/TRHxQewFyrdYMiisWwdogUyY93YmpIi+4r20IP1HXa1HyfnahuP30hisbFFeI6eWFU4Dn4LpL4JT1/C1Sb0mKExxorS+mlKt4y9RQS4YD6/zZ8TCApZ4ADDzifgcDYwWmmr3gUhwKdXUOHMGvRlErRaKaCTaz7gvJdUsZmtzIzKKvhqzqIs/ypwvDnY4VpQdSbq+e7Pvf7nLPX4KT2aYOqFYS7UL4Q5XPsCmaGTq3bEfCHnYR3gYc0rVTCUpgCvJ6/ymYY8095RLlfBHB5NopNLP0NP/h2gQuQLmhyJweGMORsguecqKtHMQ65eqeNhbwbhqm/eeOOCLMoCWNZ1EaL6/RLmHbPLtLlCxOTogR/copm3JIgpvLACky3kj/ou/UMNv+fiminAIkeDrIS88rqf8ewTcLRR51EsVKhrQF2Ir34SRUkrdYnQR85l6yp2MVoaCqvNAXa9bfXiSr84PBfrExjpeNX/3xvDCC6Qv58HmmWHXHC9eIwX1vSDAtngEAlDZ0yZXAj/KrDLOhDl481Hul64PDw4VLBSh/r+fCPn1nShqSshTuh9hQeKfMILkhdrV+WLORoJdggfR0JGDBUPduD0RdtqSNVPj0GdjhLyU74xcEmSbI9VgQXGUJLOKIOesfwSC9MsKbSatYSc5L1y11l7KNS2tkf/6mvAVooYmOlvUi/VC1m7g6p42XvIz9N2x3IMmkYojvkc6dMRv85bRIMzJVt+Ey0FdvNLkY3DxaUc54OOV7E6LSYJ5jGYnmRaaB2CL0gZGhobI0K3nuowgrbP0IPaOf5H6isQL4ebQI7XchR7hO7HpmJAwBxnQSmVx3KxbzJEGOG4y8cg9YRDZaCYH+TiGXhXvr5T+ZumFV7AMPzeUgbttae6mpijv3aa8PdFjLb7Q7qwLeEuoMX12wqlMwo8rG79bijf0vOzb9/1s/CIaAM+JvMWaJ2f7LTYNZtoAY1ouYoNnucIX8rMYin/QCI9ZSeI0plqqzAnLdL5s2LuT6ncn9PryUVKhmBa6JdUcbMeXGmdrLBpqmg7IKmpwsWXyNVnOQghxhgNFFj4xLg9+lD370JNCM1v9Qd6Ka3SHFi5Hw3R+grUgZKrcKN2IWc0BAUoZVQZVcoi9I+JylF6q4rnQ9KuBgNoxKFY8ZKkoeL9GCD77HSV8ScBonlA4z9CWpNgfN6ZE8qdyHsI6dTfOdk9fjHrm1SiJ5xtoKlfaPX/QIn6pw45Pg/ovS9vS4PSHIS8n8OrH0XQ0u8HFnsActdFfhLybzHP4UfZu40zmLiBOGM0PkLhYecmUagqJjJVeDVVJOxBqg30y2TgxKWnOp8PyQPOireW2iqUAb44HnGmUePnkQTW2TJ+OHuUr9evmuUZ2h9/fBBoDwrwu5DrIDaJz7bZOaENEFRKBm9Kr+8tOUbaSh/OrK+vf/v65AJbmVnFQxpNbljZx+d4IwRhB+AE8FbjM587zXA3BFm+xM7xyXoq5uJ8cFm6l8rO+ac5wQgTEuEnZMhEVJsOeGBar1r6nW9T2Q/MGgLrRxYKZ3CLYfWUV3EfJUz2bHmedrB02jZpbqiP+qadlhTGtPxRrL9h6ivYSexzSDgGrI9rHr9UURbD2zZXOsMIfsA33CxThP46qsqATix2Is/ABtQfBG+QONMg/i97Mz4xuS4lMCY+CsM21F4MT0d39PEenQ4NdOpgPpBqaN917WXWV7rkZR9Uogm42quGtQ/8LI/mdzRMLlwKjLs4WraNPHA2zAJDKn4qC2x6FRjiYQWSgxFwg1StEcDFzK7IsU1Au9MAPOwU+K0jMqF5iuCIFa4Wp83jXiBDseLzxW7meBtzBm3J5wxR/b4xWCyEkxsU2+R2n0kyhqK2+HXArl7GAvxGPdCPa+GUMuYUpRcLN23zQApMZ4k+q/u5KTe6tZRghW48ARUzJE7YeV4ugp/ANEr1AFnCoM1sh4xdJGzIIdcwGgzmpHR8SPd5LRPBfVMQfqPWer+Oh7zwUAgh1/NlcsigHbeTy+R9xRMLAOdM9TGJHcYW9CbW2L57PQZ2W78/ao84OCd/jCiMmI+i0od9bChjsJnp9G3rKNvkbKZo48v88ovSEhd0Kw/MhYNuM4rT/fQS2EsK7YIgUYQ9Xwrr9L0GSAVmw0XAomVKe5h1ECA/axlffndirXxrhayjd0c1nERT2d0G0BIP2C7W8TmQcUuuCHpSD/2BlQWquzhg6FW4MTufRYLWD4YzpXePDxAxTc7KEYjEQy3YiCAGh4be3jt1o7cG2yabqPVL7XOhNOiAMk6tKH6mfAz7qhxEYLgYztb3fyhwOx/KlT1fVP0btFI06twCeL1TRmPSQ5A70eoXscIYGA6W5sLxJSOVueh3njJkAdQgQtCyuBRwoD3/VBv9CmIayVtkqwu7CadYsvoMW/INeVbrhOnB3sxt9heDL7iJXcmMzgsYHJdGowW3q2wY0eP0GojIbAHTBEBgATk8Pqr/+THPnBgH/zadNmMZY+tZomdUpTm352cfJRoBx+NhtoTnIbpumQkp+R4T0sYY3r1MwW+SUWz15cPGRHP+74ttqceaWSOt2nHR+ov4l3U4xOOUbqQauc/iIVaom/cNhIsU3er3IFNnfWGf//1IiesRvK0zHkgTfT4JmthhQPZqh3iMvYLeA2DojNZCFRZ2k9LKxluNyqKByheVFgb/Zm+4kvdtd2MSGZhADZxdc2tCVQIk58bJ7EcXdFpTTqcuEVEvZqVvYk5nKhdldJHF+nO3vqUEIjL29QsjIwrBAH0PkfQo+uFvHtccxzMdrDRdfmDWzNWqGKDBs0MJseUYBx/8L2OzIbiZYbRDxGqgXUJRsc60rMx0+1HCDxODwrlxtsjbecmVE+qJLRG7+1ufPw6AGYG2hGOE7YmHEfEW4bfe6TxNcExqsL8POgWPwM0c8XOF/+S8WJDL5fmgUUHo+5P5IUc8R4dGYHa+gcsSEn0WEzzDkFgeowQDmF4euVjujuryieRY85C4QKoVcxWhDzrAatpPnuhT7o6+nHE1V6SG29ilUVvweDO5XdNsFD1z9yZW08Wjgx9vWyQzeJc3V3RPpLqsmSE9QQdBDAb6eRgBvK85rfTuyeX0NOjTKlXVFWFd8TnVVcmtEYPwBZAB1QNh2/pJDXFw66dQG8oJmZZ5o3lzS9eciydQZ22ynDdotBJv4+AaM66W/CatfmueoLq3OuDKaPUDWX+Zzp0YV5lzixSn0gauwawBg/IU6rHrL1eEgTUIx8ZJbXZ3/U2XKGifxQL2rLk2Z/iPtjnE/rmlFqIijmi/WuqJL1phTOQNRlaodwvlj/wLv50+j2W9KDsrtvDnMSoytPyKI0yndMSY63cPi3oP7Pj57NnQq11DjxFfhxu/XVjLJjmv91biIUbb6hn+48eSKyWNnFnI29sUISB+fmpVK2lEfyVS5+s8yxY2s2yIGYdrnjTl2j/24NG+NTTaCcuoNOulb8Nl7LsXwHLJiYxB5BijMUneIQMKTxVcQ1cDMl49HyRkUx0zLrFDnw+ADUwnuW+ZodpDhemcEzxmvU7zRD1xORYIgvw+mvK4Szt7lueTXw386xNBHBI+JRfI7XVXIqObFroIirX8T7fIGkwIOaifsyJ9We4WWuwNBXmJEjkCsPYPbUzwlwfLY2orIPP5x2g2mzLDoom/C6ikNz2RbNG9dKO2JwdEk8z98IpU7fbGni21ZXyXOYsu0pA/Fho8D9KXsPx0wzmOWrly8E7+8A/bPKoxTx9fxxD5EX9YF3SjwfXXmEwfOcqgOqnaipS8+jPmTPuPMwahp8t4k0U7mFuJneoMB5bQd6SqhS/UA0cgFDFWAOwjWPcPNRyAO+vqSMY3B5nodE8clbS8xxIUTFJMAE4gCVEasczRqSxgmWowe3pjY8mTltZkdsSkLdoh6DVZpt3f+iFdg7tQ653LKFODmGj0rsNAmqVeFRiauX43tx9a0FFwMMdJUiB1LvD+9IoYPHOp1adCxEo0xWtipaxrJxFqJceRLCJ59hEV4ff7nTr3BAtd3ZkhLzUDjkv3WMXZq0FeUxNfC2tYOzGagC8+c6k45TwefO8R02C7/bNDfGwgjeMwrgt0EkhCGzENPoJNqt/sA4J+XoL80l6emy3VpU/lDTlt4CMeWGrNJJdTuOJ93+2+bYPaqAwdY2bZEm+8S54Hw+1BDJZErXyJPmKyjZ4P7ZGHIVLLkIsmesilQ1lQGiZZVUGzewoObh1v6JcbhKhLRopLgiYjVjg9wU97D+k14hALha2EDqtHntcfGKlHGH69UVF1nnVVckDfk1RfRPVjTByohS87YxFBKACVHS3ff75urCv2nw4cguUvirUMzZKxVIYZ00NwpS89WpEc7k4R2qg3/2Jon71nLPVWpP+TwsNoYjBpiuhgloEjK+odouJJX0AuFBFnOvANotO68Limo0QQOk2ctasFqthAoIeWV85T6TeItmaJDeGxwFLJ/CV2YCzGSbZESaR6yiL5KRSrH1tMZ5AUK/kerSwhDlrdOUE9XKi/GBsXAIPEDugo5HDuPMXl4fVuHIOP4OUdw4BLY/u/9wgwJqsOfInFz/EMH2ACieBM1ts06gMcb8CCnAaY+doI7r6ymv9skrK71vZk+ZQwHQzoNMz8Z3HCDSRAWp6JGxKjJq0LICB1th6VLcuIOZYIhvBSIWzjhjKqJkDROfzhGzFLkR+zpCQz3udG6dT46ac5OIbwop2zOob85fWqwyRqpV0cDbF749txPu4oBvwK8G42eZXuO1dNAd96lsebs3GiXy+d8fnF65oWPF1viC0vnXqFgyUEhGiKRGUXhjtgwLxK1VQ1kSQ78FFjigCUEU4rFivGCImSdbyTSh/QyMTjA4zSwFYLjaqHVO/WeiMSqLBEiVavYSdTEH7tta49xTHzdP5hSMFJUzrkQQNkXJ10QRqIuXgN8ms7mCSJZCuBRgF6+1Rh59qPnA+jGLr0j8zsfwux34VDnp9W3aBFv1kONdIYmkIIVnTvRkOiwMH4v0ZXHoGfrnPWGX/IV3ERGIUCwuqqmEXh6gANxmc2rzSZGEqB3peQXipv7NzI2oGl1gSe151l4P/39HKr6DXS3VTLoJcxFceprEbsZlp3FFyjSCYF7VmzxdO3M7xgEXqEOnl2l7Cetl3Jf00IiIw2kpADI8B3737qdvCN6sHwFfgz8Xnr1CMy43O9dChk5FxvidoiJm6nWgRR9FSEOcgtNZbGgeF+fd/nCOwOiAttckbkLswElcUVvsz15D/lCzjiiW4j5YE47JUg81ykmvYxAkUpeK8ReWYYZ0EfCKO14rreheXYwhdngzii+rqOx/QAcsbzqgM/rnIN/dHtYbvZ+GBUMmS2/Nf3pQg8G4UPzv1gvENv18unSvD94PXxbE77ekodCrgVp7nCmCRuFNgTUib+c9EQErVdeBQBbAAhMELlciNOS6KDNYOHo5DtoosUETV+fwoyqXQBnjp59dZngeTGnTnZlreB+8lg3/XDDpNCf1xpx6LzBU5f7kePB1l/Rt3HQ2o1pyzLBlGwsgWoD4fi/O7B3AMZBO7BD2nCCVHTRM8GlE32AFDbHgglsYDLVjHoUI0iqemB0NugvSrbiZ9YqYSdGNneGGJ22nhmDkcBkhhtlJNWxgT2Rqg0jj148MykmQFu1slXyvX2yH73jjwkis9GQPq0TP2lHqSMJxwldbstwOYtC8ZQNH9ZatXRGGTnV99WrAvWepqvBDt+xzNj0PfDn1J42EMZuFoQDlC6LbUryDb+a6bAmpFK/Dfm0KIE8XiqP4AHuVtzqGHXRRUIqzfMqPsi5z7t4D4ZRpwkibuqCAAfIB68vpWEIh+1TilZI3ZiBG8O/l/3gE9epwH+y8d/VkryggVlkqyewoiM64lj8aGhQJfwSPaF3O2yoAZ4As+Qc+loATDWBeVe2qNd3ROXtNEAPLKcIw5lYzWQJMI6KlYvT+6aj7kFYcp5qKaVEdNq3SPRzfzTguRGrXcyUHqRDOd5CjtmExLr4qeSpojgIuOkmh6h3FXFZNMd6AC69ew+ezupas1k0pZIpFI69TeYo0vTiDC0L8arfG8vSaxxbIEnaFqi0RsWORV0/n8ev/CtXCth9FGOq3bzfGwnW8MelrMRCxLMmr92nxi/XYq+pK0OVWXsaBIpvtI0utN+jgQlkLlEcaY5icc8ANq1MYo3sIK0JOpTaUnOFnLQs3sY3lstH92zT49+fyrxc8oVEZKUWswFEExzUi7Q3OGf+fUU94xQ6yboyzwdKCsOb78PYHtu7eqZC4l79g91b4aFh4ErapnjMsmkjQGuo+CNu64MIIuJtxxh2nmMi8j1vlLDyxMZMLO1gi8lIJhdCOXGISyFnIscGnJZjQ/g65mFELLMOwgAOErW5RCZg4yzJrqLL1WmtnKPV47+fehrjP83khNbZZQNg2nDLdouNiXlGbu83W4NlcUJg19ob8MFum9Cv3gs/DMAXWWQ1FEjx25Jnk1KRSuQgM3Rw30MijaaQj9JcA3gENTs27yqly1sMndw+Ip/1Mv3zBTE/DEVHAKW5Lag81fcm87BYkaYvM6bGo/CjMrLaRqbeLUiTUGBslNkdtV86a8S0l/MsHmr2ly9p4OcGhm2jGutdWzxpyb1nL2TjqeN/DMW3P4V5YuAPSI2hVdee5Wlutl1rI7497PlwX+gysq1ESqQVu9xfC0VpT0j6qLlV7ojnyuQd82Suy2KjEYgUsiQHvRiimquGsJCrUnnvRILJubWrMB0bu1W9XR7jvnsLxt/YX0rp7L0NU7oYc6NkojeTvm2FdprupYglIjpuPy5BT1jxS2O24A5rVwlTX80HBgx5LPkwqtvsCmaoQUrFVeCGSEfHwMCTvpsqw9CnDHWJ0iHARLb5Qm2eqSQviZvb93MWYAoJq/gRyCRlz8iB6JpKSdmcrY0BjSU/A0u2la45eYoyXMpNIEdMWzgh4a55v0m4nQI02tpCqyYMNcooo6RsU28boiugTguuoZYIkKfyqrsSzWuUF9cqG0gPjMjUn+Dy4oBcdk/K+k0sP9SCmbDEcrdNFqiUbfFPaN68F6zBET97fqyhxcWJuruuTNsX0Kbhvj1UtxWgotFmzAuX2AniI0ezgmWjWFORVimV6BAG2tjKNrYM2N2eFxVPUJkYVqYluRgn3a9PHEMANvInSxoAH321wJKVcNTV0GWBiLs+TRQfbE4l4HuqfAl4zKQ6hLKxi7mz3IQ8s0eHSV2HICoRQZxF3z0C72wH3jNZl6XVzTezMQiqBzEcOvFf5zNt2vbG3Xat6z28ko2Znjnj/xFo7pQDJnRRxA9TcWz/c8owXUYFzT9mkLsYVUmGK35O1ohaGj4sFmbfjQRbM1MYoKdGAWA0p3tMqUKh2kcgUDIQeNLDcnUD8P6yzjCWA2BSBLjcbrQfXYT91Tz/7aDYSxxFgQ5yMV3hPY35hcXksUyJx7YI7lKHnBVGNbLedYOHM7IWfat6YKPrXjAGy5g2LbQ9Kdl+vikMtIMv8+L1y4uEGHDUheQ+Yzt2zkpTpteMlLKH//jj7Waixma3g7F+IJuR51sMlZpCXwNBDtq/JL4A/w6s8OlOKdsmv173DwxUbHh+s+GLZ32u4NhL3Uhc/tGPxmYzPIYd7tQBz1XSYAPxJTrY6f6M1U+qy/4i3sRrGO53GdgmjG+UxAXpVh1xTNkP1H8rJe3D43d3veT6QVljCGmwPc8FlXcLLHuspT3skDDk9Ss1ggDyfQH3tbXk+a03PvZIo8QgVPbb9nNeoArYnlwCPP6HvWUULj1JWdTmZUNgDME3evnJz6iYsXmgD1CT0KAZ2tysIzL6okg2jw/VnQm0qL5rDzmhtub654un0fY4MPca4ftwhUL3wDfBoDpproT655J/qiLA5rRNTQj2lVC09ck9Tq+9hG/xoL6W4dkmzyoii9PVO7JJdaXr81UENhyL5CrY+Msd+vnk5QALc/YKAd1LL4WdD0WSJM3AmtGt5GGQNHXup60XVpSvQbBdqdcYUie19JDtLJMeJSdWHZTqD7EkCgKrR8ZP7u+WKf0WHGaPDViyJVJtRVH20HRh6yNzuU57c/sHWy1ANE9w7jIYtLJEW5iQreMNRSIi1vTWI4FrpcQvlvct4obOEtBapiyFRkwgtDWEQwbjIKaGROXpK8BvYKzryV9TnFeQm9hvGD7m476SkCsf4Epigb3y98D0mo8ywWalyAkGSkTqn9yRnyJbOSvF7s3BT9GJiZYmzVjK1oQYA/IhewdDHfOSSniFYIzEiahKrXOGfnnM1H0oROFuw2W5blg5KWVQBf9F0KIZswKAnxgRSJ4kpf4NqNCMOul8L3M+8R8FbE1sT+ozhCHHJGLMPGU910bMUH5JX/RBia7TOBDP3XdhwefHW5otoUzsGWm8Ywts4yWJLUNy8gaQ2bkiqpIemqIIESV+fEefQ5bj++vVPDJ6x2TcuDg2GF1gKvEVNLRjhZ7xCc8ozq1MgOuNAis5s6xqtfz8WcYLY3SANSKlJAFlHv/qEPxGc8ZCDGDCKZ1NM+vOyR23u+CL2KB34zJcUkuJ6XPhQn59CGdFZHXThKBc1EUgKl2xM0OsAVY72wEKLM0Ir4b7bB1of1jv7Q92TBqWN/V3Jl6WHIULmtWsY2X5fFde81iIS/U70OBlNwT8Svl9Ob/S1VEYzqMbl/rkI7RGamRSNFu4374RZUc+/miRbPReaiN8YWpUrz2jBI0y4cqpcjSh38msGUdYkO1H4JjQoa0OnS2yvHJm+fFrY+xtgN+A2RkBQAgk3vR28zwTAGEk4PGviwWeDZrWQDIQHkjpaXrEubN0TkzHPxjYwcVdiWVPrNvkZud/w+V43g8bvEHLq8Dmlzsjgd4dfkswJwIbW83Exo+b43QlQ0wKJSxDXhx2iVYftaX2EDD3lga3g76eBjlqUoq5fDzvJqlRvpyoTGaFf1xwHB1acDuB5qJ7AhdB98p7Xpm84Auadt/tONca/PetkR+7z7H5CsNv5qtLf0/abMhePQAFLpyo7pvV+eGTXCN89KVYJigkpuVehQf+uSOQ6plebDBzjvdap8QS8bF4ijgbS2Mr/Vv9fxpY1YisB+189GXFCPzMnAPg5Me6VJoqcRLnEHbEeqeyCNkbKjWQr8VLdy5WcioTmRzuJv3gGU46uV3KfHcz3owI9INT9nxinYuJud4hqCJZG6KvmIQ94oQ9wYjryYa8n2lJDfaH/UzhQEe5CaTj/cMJEg6cNTrz8kWsA8Spyuoj2RaFWlDDTEyPlnb6kgTxHCaBPxAk9Ybh5EAsdpuXNEyvfYELuzK/ivgdqAFRmYEUKQyT8brTAl3wo9eEaD9xfvV0OxWR7c6gHxtUSenB3nTBbQZJu/HZWIM3yUa0RcBNSk9CTuXKADzObWo3PDtlHPFVgJdwXvnfr4+Dd3buqadoEDZyBiGQd23YWz6X8zDn2IlOmNlimy7fXWoYBNIjpwkxxwbu1t0RFaDt0UFoYd9yR0JfGceMJygHHyhIWcyMOGJhQjzd3TR/5mZSLufnKgpicCegxAeK+sWI2JmjdXQY3p5xpIsXdgaO3OzxVpK0TuaFF63eQcix2V4C1kBsf1+E51ISEfGIhEJaNz74ftuO7d6ZXc1VEj7J5RK0uNGRs3pcmBuR5Z08KBK+IXv9vEuScw9vQCMzrl5FZTrmxty/ZWa69gc1eadBl52fOj9b/fOzD56dWSh7dkTN3U7aCk1xRT71EpuWf6vxjqMlAzhn7AuuqUMpR0VOLksuKw805UUDPWgiQUEmObCpGBeCpYrTnX1kyKD30sNxigLFjK7uGLGlOTNZuHRW8YOX1VmUTdQ9wHGUyOHCRBl/xZujR6ZZ77qhx5q/ozFkgDIQ5kscjOabRfeNoJJ9/W4fZKR+F7tdPPND30ZJqNz8T/otwk2zNWOvpVpRq9hoqbxrnIx/GHZRlIsFPgNwCoX465rQe9afmzdtCgCHNV//2PJI1AhO2ACfE/9ptijDObz1xz+flHVbHhsRv8i/3s8+YQM7d9Ny384iFEWbUJk9R4cXn5tfIjoKT3m3oDDFg0exp0q6A5JUi/BaA/b7NbhlLnhV6tqOeJ9SneSrnP/3m6LV3jCKA/2odqru4MCwIEZWpHwlulY2WhkKp13c1jgDjo9FnuNAMeOrxUXVoQmZzsfDPXBIBOrZJlfFhXRDIwAWQaOnniQK/0JonZdj7cc4qMF2rSmkiJZg58bjlEepsJeV+vt8y1/Pn68LK5mpzCUcWyS8oIQSGwoWDs1mfFrj6WGJp5vMgvlnm6Y+pkxzMnuZWcFU87ohRuK4wADMUw4dwwh+LPp8QMedw7GdSM4wUtOGFfqeFGwqoZSslC94bbS6XOFxGM4j6v47FWEGojcvi0OzC5sYd5KvbjIq8D+Jf7+xBE3eFtHh2gXkOZtaqcUUb0VG/efmsuUzQkxUhVuvwgAX0jgMVYWlufD+k+x3w+6LPT9mwyoiubPuhUwPRtNmmqdT2WZtlm5P82Jv68DciGnERl9mDZlFYrhemIzV2B7Sqyrk3zP94HdKG3dgXW2AVwvud593ZHlBvkeSDB1qAB2eeYtvhyLUcJCEzj/BV3isQWii0LCODzr3AnUVmSVGPZEPbtennfAZHpi5uL8EuCqoMqWZjoMc8dpOHGSMytZ1Ye7zThIUgXeb0nCO344v/UE3JopqqHV5CW/azBV+mEydZ9UCKf1ks5u2sE95Fj+nFnuF5J24DeI8rRXwjtjOvEj82gtGxW29W+8BqJrEM+x8yUDGljzS64w1bXPDweK6YaszeZrfKS+oqDtkvf+AikB2ywZBm6EumcBT2yhzkO7UgrIgpXZnkOkbXijTRcWlDYjOrxPwCDF/2oEEIDnTAAQq+dBPchAOVQc3uyYhNXCS+WNTOcpXvs9RxDRVmA2HdZTFFoWCbdjoHlIwINgPABTuqVpbkKxDB2pLf9I1gkIKj2MblSyJnfE5QMzz3duI5MO2uIUOd6Eiw1ll1X5oGfMyia2CPcoF1T3PAZfsVTGx+IDUZsIwDnWForQXRTNgmG0qr5naJ75NKr5RDE0aXAmmaZFs12sK8ofWeVv+Kfurofa05K6PmMnOH8m2JJuM5eU/jv00oRAWajdbu9Mzf3SY+asPjiYsd05P+pTs0Oo6XfI4NSHwxJb8LhomOzgQ8m14qmh/M2IBbnvQ4BtjUrKgWeEmPPLdQzW+9eieRdnqq+Aj+zK++04GVmAk7ewE57if+ZpybVma/neS11ULuycVt3ddjnGSqejB+UczgkXxPyKp2ei7GKzrls3D45eSk2tClk1oMMJYNz7emnSH1w4yNROMZSE4cEuISGtJsZgtQ7w0XDQdGvuAeH2HgfrN3MMahXJVDStsoGUmeMIXPGWt7qSQlJ9/zcu/FnPRGBlWjTyon1W4R7Ks9BcEAL3LTNQ9MftgfrsKYHWbxfeUef6WpZjhk+txziqAE+z3bBWVp4+DI9wUyuD87boQIE4LdXmaFUOfBpxGVoy+Nf3LzSSluMTDdJcYjxFa+xD2L2YXJeoYeXYSeqmOUuaLOXiE7Q6wJ4z2Hyz/+5iX3g+MXltV9GXJNPtVEWBcfdTID70Dm050fXs6qPIoY3TDW0hMGZAsk8KQZcEN4WppNgg3p6f0WDifVes/+IytvDkJEuN9T/nYiGNJSpxX3sfmpifyPoaEhFI087NZT9rffLypTV3N4twkPuQ3mkEXB0PWC9zH1tKnQwnSrQnno+FhGlG6KWIS/34+MdJSEss0QLB466F0ijAEo7RYuPCItIMtLqWthPDesAfs+OIxUtkAAZxvS+REPoopHuys6yZpFz6eDdBJXl/439o2jHJlUNdxL77e8zVqQQRRMKy+u/iRT9tvZx/Yqs0ABhXFM0vrMF8FEA1VHzL4OAk5DlObT17eSFK1TYSwQUleH/haPWK+zc0XYdKs37LBFj7II9i+XzFbfORLVWwUfE3dADC0syu0PqcbkGtc3Thm760aX8tWsIW8gLHMwfEm1/i9YFOdRs4+6/BH1eqXVgLT1oAaHu5TMSh/TBQ7IJhmtQKmBoXNwEbzddfSzdKRkiRRuWOlIiERn5YVD5Jyt8NMFiqSygPS0WA1KPj5txXy4w5IbpL9w2v8ZRRnfgAbcTCfpXomnhWEf9erbQz1TKB8NSkyluFAg3Bkdj8zNcGVyXcGNOYpV4v5we+bqAWBHcNmFMbjJoMneCl2wMWXu30hUrm3jfzG3wUv4YAnRwx4fR4S8D50Goqbee3bZ9iwTpx9a8efUYLM4P9UQZdYSlievlYV015tOw4RlQ/V5YZq+siaZwjNl1y1Z4BVTMXSHXDGB8j/vSscYYZzyjdvz2azvRa2d1ubBngUmskSLJf7hmtBzzupVF6ZU5HcDiSW53ELz7gztaYViFgn+Shv+GnKzoH+CHAQFqnR85mX688R6KRKt/Sdmrpo3GyXnvDBCJKQ8COMSR3sfocyC4xuscx5swxxNqp3t1m5SLzfEDCh0HNPLxbYTuX3HsF2jceWlhI1weGsR4hjfSuPYtQx4lg1rsYirGKui1FNBe3rhtwJWlNeekXMSzTdVSHQIGRsFgdmdtxRzwRE6H2cviC6wwtSfmof6HotNVwHUT1n/6a7VxsrfpdRlQ1RY6PRJavII3L5ZtGMPcBgxmxqJKWZzEi63TJ4oUU3Zw1twXOmam2BmYoLkR5XNiH1/M3XvblmNZILJN3Lw+1UxhAHO1OFc7xRhYw1TBdKLNeIBk/gC8D4hUporiT6XlqUHzl1LxSmep5sBJ586xXvocjPTp9snvI4IlFOQRpiqWmbLnpVsaaBMY/maQxMHm5BnS2DdLKyvVd65hJF0fRbyZRt4/LTuisPYeep5gz8XejbnB80WmyySKWWFhIuNssLsfrNyoTQhAs3w/kW6kkoojEuddKQd6+wJdi3DZmHsf6RHM8NmDbuv/jKeVj/Oc6N4bp5PIlEZVF4y8/DAYgoTfos7I46FGYtfPGDX96ruYNmBGeBfQ0Oqe3M9+kwdezLcYHWgLAKveKRw0xWdYgkNp9E3pVSuFzhkv3KF1rxXQLOq0C7hWlc/tZgLpbDZ9jZePOg6CnKvZRUJlfw1Ry2F93wa/oSAnsrR8shd3xqz0ovHadMQudTAkS5q9UcGY5rWkANSdtpYJD/wNzjvuTAj3n8MgJMonoUWexbrHd2snNvbzRdtdTh4jp3m7S8ZEr151lza2j+b3WySJ//W/vu6BmhlBowg1RPkjHmqpdZVK4EHn96aPDQsAEm6crccdM8G8dge/Llzh6e3+Lax44mqeJ6ItnWyAWjnlM4WA5MSb6nFCoDpwyF943R66Xr3hDn0LAObDDBjWIuEucMlJ8KREHWwAiewoO4HSuQ5XReEbVlRHDmm68uLDPQRBJQyZEVc9HKnE1RdkBBEGmoTHw9gxufCi+KyLHCb7bK1iLwnZo0vQhZn3fgGNLEsEliiShoh/VCquRns3VFhatKs4NRdLujU78KLVsrsHsFDr4jiJgi0k5qqiJEMM92V6lkf3oN8jwWFpvjkZypPc3LtH7gQlmcOBKkgCHOpLTpREhC9Ea7oaYrykOasxggbbUEnJwuE2pCaWK5bAX+Pn5lI/koMRr+jedd7/Hvk6/+pef0HA/0rVc7/OWfpBLBSKVsOisytjBdejasaCzW5mmzpPfkGhDSKbUXkbC7IzFXhxiE6JNIbrBIGCwdNx9ML6adsYpvOq+IXWUtqA0HbC8FkpMvJDUABosjsiMvXc6UQIGkpoL4Msw6zl/eBUSA7y+DCTWzkTDljPqcVNpXlMmxLbRALHCOvgYJceI958jEFVYRnVqOAKnNBaLk1PJY1wUAFN3fGlNIjbBXkMo8jdzulUVrmkTWtNZxMyOwyAFyYUGsuwv+Tq62u1UE41NqWZPryoUTVtQlFwMZYaFXmw0wjs8JOWyO6p2k8Bf03cc6hirla0N6RAZ9bKou4YEwivvuFzzFI5rG4GAspOBWBxnnGGqETWLyW9TeWDlKuqnHQM/fNsdHrkUMLsDIl1jGNpBNXfeSRlKe3RAgbzKXdLpIh6e3KnWpD0s7QJHS6eUJU73NDFIplPN2gIc3YMsRFdL7qe7dOhoL1ZFcyv/HOTIzrUpUhc9sRoKt3QHq9IZrHwHGM//NsD+2mZV8AkEH2FwpvKy6nQiGsXCqlzk600lkP50yVHc2Bh+zVoHKAWZlzT3pGkUMqMSzXonKFQsa7SoLk+g0O/QK/5aNnNxO+qAd51lV9a0/uctN5j4liaOqg/A6TeVtowsFGIUQK+uu+gT+DDb02AztXb32zYCqPoLjh/doWH8KU0sGtmIethM9iqBpj8e5wQsvk6iHP1TjLFNQ479VZBsA1aMJyKa5qsBXqIhLaXcyhhC4D+2A/tIKrBG4Mr3pl5dcQ9xzMuFc98/zAb4eRYvcXmp2nr68H3+BDCENjMvLlWG9Wm+dozo2fCijocTY4isAG855KcJlDDsyZhhp+0d5SFHko6+7yB7rWmkgG96bivO3lYSm5U5nqGek4VfzmKe8OU+nPYPXvujDEbEtOkzP6JrJ3wsNexsUwJsRGZuvWevUChaBd7DLAozKcOY8jleBxNdJbBVA66hMmkoliM/qSbROgMLHIwNL2/E0RsDXelUUNjnLJwcdhxhMm4Z6wCkLZ6plQyBi5urinGhYl9GMpga8+2qun4qhFCqG5BpeOEifJ+7SsewXyUn5QBkVQO599qJTJ1tr59Uknw4OJNfponvH9BKx8UHmssnbZNq8Q1Uzwd44+pklbdaJFEhHzsjXhHzA83O7+0zGZZmdq9wosVya7PpitffY9jwctrj6IkJTeFQx7kyh08wKVpz0EdL15+T55C/VhqAE0Mz2O5vyYaMcirJstb8oFXD/439YSSPd4b+5eihw2w31+X+bisyGn9rsng2rcFag7r0DmAxM1hQtSwMRs4qIr/6aT8JhcykAYJCvTwzNYj+O4fO3mEsYfsfzoxGl4rTqDSDkKpcqIddoHqwcSDhkTtbiSvbm5rW7mmnbd5Ut5eJ23YEypPapwNob60v+CWK3BWBjO+rg1+8SBvevjfY4/JPcPAO8EOiH0qpDgMvSGTJvscWidOtq5CCZ2yF092uZEcwKEPz20uKHG+Vyya8Pl1ge0zs4suQ+YMSyoPXd9/sJ0LPgzfTgPducsDMuyzsUMDidfl1jXOzKmI6DX8Crx3myJU3Ekc3VGRDUNorA/QEEDh53UtQAZxFcN09rbtv0eUfnJTAxh7Hmy9+FfVCqsjLemCES+YIPaBJ6cBaShNdO8t+fKGhN8FT52rFlAI08T+tMOz+BVciPKMCJ1hzmm6GcCP16GiDpXHa9AJ72Jo1DwD5I0z/BNDhFdhohi8tHDo5CnUlt/H58VSZCttZyKRFVrOvu3n09aDaHeYg6xAdhOCaEIWJaB2xVFw0NIPwH+NSiRsF1InRmcb7b6u1wWWqKJ3vpHUy4PvKL30aMrNGXZf9I7D/rlqh9MA6gPvE4qdTMFS3NAcnP0t/ipv0yphOBduADRbPntcQbbUlida9BQ2v+oAx5SFoSVh18qu0wCMr/K7ZJPi7Y1ahzbWWH5j3T0aQCagg/IYwOIFvDdCL2LiDmhPjAyMu2zp+uvRzVwlrbKsmAgG9qE5lpyFjBemTLnN/q9bwcYbgySpGq3V1zuIbrUHl/qSbCOa2U8BPiWceQuP8m+1abchwRzsMBhzSGt6UPWPGyngRHgaJgPMsM1kY6GcgUNH6dg1NEsJ484Im93SQbRgjo2FIp/MqzNtKqdMNRv05LRpcikELNep3QsHTirLneSSRPuPwsbqiQKJle1G63grDTARJ/Ic5Y2rCLAiKXy1zLFldCJlLTbIRqH6+7VLXfEkxots0c5mUn6s7nWzOWByI+R/tmBHh9JdfSw1LXoMRssTdOyLYP9c7iwlaerqwaskxiHz2dufDD6howYjBE+O+Nl7ArS/N777hv+uPZLosmCEXLkrl4NDQRxfOLDpEBPhA1jdH9pd+henD1AYerNAFBcJzSq05T8WAnnmj0CLnJcaI+QT2RP7w5fubwCP627JtgKxbkq87aE+NWr70c9zrvKPoCuLu0YXK0pov830NqmhHNDfbGBlmrWZhNlaoVw9+28ffqXVZ+Pj9si0nEausRlR95euQ22jfTefkHA8KVnqd8gM/yzFNkm0BK4dtbnehpuPUV7l4fzrf4YRx1ydGmUHoZy7KMENxa+GiTB/PQ7/HYB53iaL1ThUVX74+0mZTqqWUClIlxcXOOAhA0GOvxC4jCvYLXa9bQlj1yr5NXTGeoBMmts2/1nOwYV8T6tXlSra5kOsJbzftAG+38Vkzne0fyvvksnB8fgurZPzq6vQWvh8HPHJIepqm1zDZMO/thJykwWJRHbgzT+cXmYofNn7W7zV+NVf8kWVLhagxA/SRpPIdUrDZa6GRm1EGRtfDxbKTluuAvRCQKwNXe0uIK3lTtZdJVOgzM1qZ7DMb1EkKJnuGK+x/wH6JUjLx5ZX1f0PkZIsjOA37QwHJ6DOmbr63oCWidW/Y5wrokwCru3NoF2nTsIj2G+YFhERFGP82V2Ecpx3ePpxkPDeDeZuf2YueBUx1qp/7Q7QInxYeVeVPC28JoNjeA9FsWMmASyGYblSCN8zBxwz59i6cTiLf5rdVY6ZyScZ8nHhMCxaCcuAcAPfpOTKWwpI/dPFOcNB+L9vh/RhNf4jMl4lmpBWu+uonk1Lj+mkPkpZjAro0SRbrs3goYE2gBSGTcPvsp17OivkIm7IAzMysIhxT+DokyK5iDigxL50Y3Fcmw+w+ToYNUXynezpTYOw9fHb+UNToL965KKAIJRLPYyaI0/JjIwCU1Z1IF+0YlnFJgjH80dud9s1ezihQvXCWjEwNPFXTYfHPl5YST97v01nKHNH4KYt7JrPNStXur2mTER6COMc2yKwdsKENm9CgiVZQCKEeF7dG89G8rlJJwmQQfx4QbOJiirO+ff2SDR+e4pwDrQVdlakYJATBciVsPoUtBYMwA3P+sulZ8HSuYT5/UMYdHWNjy/kQPj9e+9FL5O36hMW0z64BBqz00BqCzyrqOK1AHAVRyV0EimYQ5bPTKv93mWOSAEwW8GygIATIcYK79aBwA8Sm+lB+q/B7nQ2fUNGGjHs1C4+/DPaOtTbcfH2cuuEqhaEe6HxOrL7nSrueKkf8tmzqwQOffC5w1HSYvXrHymLGuIyyrxgS+MeSRTRQohFE0JqLmLOJMptL1P1ueJaTjok/YKcJzO+WgXjzR0DXP7s6M12GRX2WYaBn5mrKFqc0jVn/toiaku77QXPgee+foYGcFlQjD/Ozgkc8wrST9sL6vIbVaXUFj/mbM1Lwby3Ao7YOUNf+hJonkE2m3oPfxuxtf3VchipvraV+uBODdM04Z9nhcvIchWqK060nNVYc22lihJe6GFmJ6AIr43HsyyrEhn6N4i8vkF3l8VaycBT2P4O/YnNcPVXOybvBpF1qqsQYo687j9/IsDy7rNH/9wUvTRvFPeOKLWdo4i2gfonLYFRUzBiOw8tH4X1MkcSfcPlY8Gri6IIe7uY8P9N9bXXUBkhDZth6c6ktitBWMIJrN6P7UKEiq0QF0oN6+RKvvFUIHQc250IpW+zhywSX5Ss7l2DKYVbrGJ6HyawXuKflaR8QvXfix1ur3K057iXIBMQdCXz2/jBa9/4h0Hk6kEm0r+WvFCHMB6slCnvoFUfuXHOYYFZC19EQoMnTJfMxJnXqPQl9uUWKITBbKNSy3rjWV/rUcG1Gk16DKByp6LdgTOzVO37Wlg1JggIgFo8p0K4aobu8U9OGwHJuneVZmPEggl9PICyGKtnlzPeMYrWzB6k4TkrQGJROYesNbqYUiDZVoOLutEcWUWK8hq7EuT2G/SRqphszgy2dLysso+wvAJZwP4OX9HYVpltQIJRX5ilSHp12pbp8g3koyE+h88HThB1AHPTR7Ko6RkFFQLrZ3fILZGdRHO0jU6hutkOeiU7ls8hankWOwszOolunrpGlBZkSyjSuJZr7peE3mcwMEJ8W964SpP6Xf8346Z8EwEcCVy33tEhyasY33uPrMN1WZMbWlGXbsg7GIRemWU221rcxzwg+WZLWetAnAoN5VIi60W2mrm+exCPaE9JHoFHZXbCDa7E1Nqc1pJWV27A87SAosL0dVfbr9JXbriPzvX6oUVKY1WPRzNXRE4ZzuhMlM5dN2tk7lQ9G1YjbHCM76tfDcLUJa2iMVUgri6l722jHKJTUdT55FO1ck8qGwA+Du00WQyCN2cBLiobQTBRdIQheLtZTcUvo3is3Gc4dZK/UPkpisHp26tTFmnWgYGDajOIBlwwnl+GJsRk5SKf95DLIIxq104VYBU8lWs9v1V47cUVvOKTkp5HBcDjYGJ9VtTwOzP0yMEvcobPu12Wh3GNEfG/1gY3H0KcJrhg9Ax2o77/xkthzdtJID9xM3CyEHUU8iGKzkr73l0jpcZc7S2HkalQgwe7BBCU/fX5NwJ/7ieZj24X5aT5gzempfvU9XXpHEPSefjPd9RhxkU75XmQK25h2x4SFyGhmr710CATlWcP9bi0sBZ0vWR5Myp3wil64veEKenWIlqXBPaA/wNajDMs3LSBZEXD7yv7vx1dZUeiVkNRHyYAF3SavBcSfZ0vbMEov92jx/uxNL7UTkqe4Cbi3DEoQ116/D2IaNtG8rquvZ9Z7KwWTmJBTCJHoX+cbUSU10iLqBgNXMu6xam0oGU9tbo5SvPqTmmU2FW79aEXfJqv6NgoXoy0ZbwOX+w9/p5vCt3rKZXOZfrk906TcWmlYz+/iIzI5M846mGHNP9q7LnwVUKZVJrpM7Jzm7ZDChwObiPkddgvTMxC7/6kd98BG74VkvYFanSKGVUCAz+UwEH1gzpXCZlgM8T8B0AIdss2hzQ8I6vT+SWjaiSesgkoiyPoJrxfP4Uh+7lSD31MLTlrInALStuLjT+7eJ6pHtAA3QoY5/5e0UW3YNiMqDDFAGr0sEZA9RR/bH5n9Qt/pyWKngUeXGaGOODt5D/Zb8AjSLG0YlFEFy8C+0ZzyiHl3V4u3aFgHTwKdYmSmUVIHzA0TZii+OMOcv8rlz0zxjK4YT73vsFWJ1EnVRazLH2GpdCh+oCIuSgvGcyn8YwNSy8ZVX6K/6186ZHVEttEMatEcOg0kGgyibIvVDQSUY+yNzSGv0MbuZUpfyR09hCDwOAIOYEzEX1F/Hyl8WfKG8qpjd+EOIbzQ0di6yQ2sNW2WQXNjEEsDeDsOlES1Ji6JDMjcWGZKr+LXKk0GlQ156Qofki0l4ztkOEsE8aZv/NdGS9JaT81Nu1Byl0hnycF7frYYWxoHITBNX1Qaf0riNhWrPwfO+2ze/TlfyMV8N64O5YSN0sCwsdp3vl1qyn7hRFuAfIZJWHzsq7Z3BCRiAllzrPvocjP3+X5f4iCNrq6CyxVS4g8Ffz+zlmYkJCrsStJNdf0C0j9CYPK5VzkFDQEnlc5QGs1KJcx4QO8Vm1PUD8Su3lln16RGcvxPDma2yVzkyftn0arkNpM28/2xkAS8s62xIxRpcg0QQtH/9J31g0zGtbq9BB7PbSsBAOHmJcLAg0FSWFZ3glX4HbPY0p0i9XRQqLm+j7dpj0Bluse7ldpTQL3Yj2ALk0QLspNPI5pnLVkvc41b2Fgr/tzRqAGV3Wdg+I0LrLzY6RxDORbvlBFKDxEeCvB25RCLrTsEVyimFzNYEVgY/eVXIKbEuQsK6MSRoWHZfnVy31bhP+w230go5O4dBOZD/avUVBMhj7SblV4VXpobFMPc4Q2c5q9yMnOmeQ1lJsI6a1h0UpaceGaSGu8hIkfRBvQZLXfS6zdR9eM/snEmi6OAu/wiCjg9Lvmgx3zGFUPA3hgzgsVBZMLDViIGX5fVT66eZChwulzVY3u2QKiqd1A3zkfMdiVUGdfWcCJHu8dFSkO/0WYvVawRnL9EsHp1DfhnVFGlfyPPEla0yekmnEhutUXUPJMouCK+GwdgeAxryBqTBpY0NbAOgBWIW0iOTC3dnhjW/HwxS2lm1Ui0Ywm7opJ3yuN+n+c0QzIEHN2S15tju2auLG/KftiEmRLW8MPjvlCt39vLKR1LnUwOFI7b2q8avBdMJKRJGcyZH0CbX2oLxqhLC9SBAghoQVXZw81lKma5bI79JhhQzvrQwKfX5F2pAzbf1u74+ILGnjRfw3eRMDLHsWsOruNVt4OuDvQgsZh6G8VKU2qcctQRgnFvvs4iq55ZehtMxF8SxwzyH5qDGDKHBimcr8xyo4wVdMy2+I5a1N74CKYSS1F2tSP2kgKVtuRPEe8kUBvyrEcgiairRLZLumlBHdZdCDZC+yNKSV3ppcKyf8pM3j0JgCcV3a+aUVYNu9lklFYcP/m56spRChja16PVY6otBzhEfKXiVuY75pfIWoum+rpkv251XuQCGYqmE1m64eoE+Udmbmctu/mSfeTCMOV98usN5zWseO1nPz1OS+EB3o6PKbi9D9Dbz4EXFlWmR2nSAV4TTsPLZzkllvPdeXO++xoSa4WvT+WHFweZHZhChSYu43qxTjL7rOAc8NdI9OuEC4YslTcbhJTq2eyCkNnzrnFhf/m9giJmh/94vfQuG0fJwp8K83d0LqjvkQh2mNJaWB7luUp5e3vor5i5izsQF+z21YvB+EBbA3nE7H7AP3T5FdJV/ZHGfxxx+U/+jIY/hYQSRCPnvBGQgjRx96N5XLX9LvHZB1Tq+TsHBiaeMgVYDQxVeOm39I+1TlyAahvS7q3WQSPVffcCCJGOIZYB4MEIbrzfRWeJDXDGUk3RgurNUQaqlxyiiKx6MK3FirEwiUwX1Wt61wGYb2OvWNezec+zshG8XT6feAt76tvKMzODmn30iepVPZirye0Xcwfhm5DCdDaDdE4Chd1Nw7u7tG7vLcnJpEADwO1OuN8VmhyLskInLnmKjC1BMWkJi1zGiwk/BmiH2YuAe/XR/+vF+E7Z8yTCZBsQdAurYq/2VtTZMIvAJP80aXMIP42uy+pMUhcx3CqMKMvaJbKKbr+zf9yAeVTvGPOcN0uegQi1L0MR6Kndov9Mxkrdk9trfIgEHhzbGWB/ckQthxWQAx2c61bKN5uLiCTR8IOm/GxKIl2am0i0QLu6mP84oE0KFas33gCcXuFJg/V2QUcQNHNCid2VxD6H7StIJzcB6G7v9Z8kMqQUJde5sP8mGhp8UvKK1siQcS6lfjzxeDl0mBvTMfUtL8eStFaFaKFY8X463DUtKAkchGQp3aSDJOw9+07GqNfy46w5bJPCH/6NtQVNottCf9y/mhmpne4eAjTxl6/LltOcD3ATs1jf9DaSBb2VySIFDc5djAs1TcBaspvlRel94/T4seyAG2IYmRV1s8oDLkk52a9Gr+F9dX+nDlCCHUTDVkh5+qySgtDdH8T5Nd1yikD7DnDWH5wEdjbsd18fmb23HkUrTRP0wuCPgh7R6gLlFCRg7aCFjIbtfbvitIaXFQ+4h9Q6j44sl91wDvwbF4dUZV0dFnB5IIwBnZz90MyeFbvuXqAQ8VGD6b3pRusNtyoiVPsa3HxS/2M12i5xZLJH9MOU1P4h0JVBA8aswM5I3CCSTzpiIprFB8IHByuK2aFluyRfvFjMU4bXnODyhKg9kEFPTFZD4xpAoL3lUDIUFRJPJqlUtiCboAA4jnwSty9GYwCtpS8IHAcEny+F7e0054REOl3UrxR3Pcsq2B+dcmGcVDfW0XhRsGhs2yLHyPlwQsTrLSwlZrwg5if5IugFxMVsL6sVwt8G93i+7/ZvlC3pDTsVLknsVnLkQSOEozJeTClUvSXk8PQFrj2VZeQxf13dlk5w5ANpTJz0Rwqw5757l0WbnPl9CqdWOuKm9y5yALxAgxDlSUOu8TEv8N4Tf4hDNA2ZK5/O3kmEDe12LmOGNDFkOQf2VUO9YFQ0VcFQ0ng4Zg8xihkyZC5tegK0/fuH2b3PJBNWscyq1/TbierGpSqIJRA3BXmnDEAvsWLjLRUloLQQ4PZqLOdFjmVNtmEz7ToMoi9Nt3FnDE7YqM25km5LLolNO6zZXvuY8/N+CbqZsnY4czuK3SS6pFIc89X/dAoWbp+D9JHOaK2eTWKx84eGyIW60+6OK6vdtiaST+ICz8buKw5hEV9adLZZTHsktaXhlN31Yf3I0+cerWV3Fe1A/7jzL5vN5qXecXqexeY3slsNU5vkxA6f23TYMdqvvrPOWi7daWzak7piarmxdEfJKdZ7gHWfMQAt8GPFAYfRjke4v9orrP4WbYmVUyD3ccEaJS9koupjfcYs4FPRsqKCNeSxCUhx62sWi9Vl5b9EiBgVM8fnscAFImTCKbICRadGYfqN5VrYbH6aRbpkSlRKyHVDfHtGQOX/h/gEE6PcNGsZ515yTgaiRJJZIkSY1LSyUbO16aZDQXI7kJEHwdYOOrn3WSU5ra/ufKVkj12/06LllFMB9NzsnCqpffNIOgg8sNKU69XfI0JaLttiBlQvAmq3nvZyBjHd4/tUhPigg/v7x/5SbQG2fEYJTEyQ5lzcTzFaKGBlB4IpUbQVbDjfUxRw/W7P/svVGHgY5MibThlfsQ9mZiFi/Fhu1zP184zAgVUN/8E/F8drrer8VpyuZFrFyCFA4kXo4DwmkDiJeH9vCZAJcl95K2pvV4trp7NZ+Bk9qMxzNFTAcXknCmomOSy2uefRqHErJ+nJHl1ranuv5JReTMlYI8o7dysEYDSgBiI2/4Kjv3ZPArI2OS0Obakqeg75Ei1cs7cTvtLANAjFn6z9o/f31uywRmG+LGGwwLbqxteZJNhLVB241UhhyUSuJqF4iSuWoWVMTIxe53jL6M9Ef3vMUsFZjqgHBLd+XiRmDduVGBqvkObpgstdx53WFZUjupjVy8S6brsDp1dwlsGklfqXsXXFizXpa7bO0Kysv3HxXyNTHtOlhjuPXOcX+C5m6EAPlfqsQpLVT6qmWKpQjaVI5tsJ92VylPxAy0C4vc7uIJ1/T3moqT5FBXjyU1cYv861CTva4sdzDnLgPWcl8mnB/coSpRyuEPPS62Zll9jMygAF6llLPow5P8loERwQ+ENh54UbSCszqq11Gc5BUnZ4ZMcc6HuSNboerJfm9IA42VQYJiXSl+s5suBRpKUSu3k2aY3alwF3j9SxTpM+3zeqQ06lAWvdWkRU5KCcK+CyeKzQj2sqMhtvc5NIPfkIK/FG9D275d0gRxbn99pqLWsFEOwjMEVlb2SLvLDCcl7Cq1ephxH5veu+XZ17hjiN2bWrGJRykV2qWIl8EIg5V7fu6FIQCeVcWGSiE9SLWA6DP4Q19rcvhSJJkvciSiSLFU8AD8nVEJwP/VZX9W/6pbD3jN/P4KJGimEbyVuI0vP0e3BWlJsQQIphcz2XLIwiv+Yiq+cR0BTnA9obLm/RAJJYP56bI44TXtUcEV8GZCYJl9teJQwI2be5UQWaeBNO+4kFGCg0BRt8xSTRFHpAW4IoaK+VZz9w4FnNGH5/q8fgj1oHR0ByDk0fBroe77gbbzH5alvVVdq2aWsJNrJ5OSmKnCOpo+wv9iyvwJLdrRVT17FRpFkx5kCuAeoU36Jomnb+10/65Mp4PbJ7wcJ8L7dRujSreWiIQHYuNiLzBBSIrMLRtBCAS4Sn8JlVG3Aj76NSI2Oti9thXZuC2odf91rvv3m0yzpKS7zP0r2CuCgPveXVpaYkb/FJLNcJ51Z/k5Lf8LFszZzVb1Avs5TvLZGBf9skZvgD8UppWEYQftqSWQp1gSjXwyfjEe3Wuqo6Xj8KySL5gA8N/+7OvzXNqY4O2XRzxh6coi09x43VyyQy8qB9Gmkth4voe87CE5tJE14ubDirKtfs0WBNBGdRFc6+eqz7RXsPLe62OZBObpclwVqawsjn+uUSU7gGjf7LEpLqyzpDZgyu0D1cIk1tv2fqq6y0kJOcrX17TrDAqPQ7fN+cOEMEYhR5smb3pnYLeGSu6kXe5zk8Iojv0Zu4GCZ/oD3l5xskRwCkyRrVLquEXgJ/5UvNsAHIDiEANgBQPk7EQWZ/Cie2AVtBIOTakS/Gu73/a0dGwN6LN5COs/R3NUHvBmCUWPtbIEavTVDwnQNIfVWdaCpb4QIPLRia44ppdMU8V/cDA30yib5GXhOMH2fPetBPVZwaGT0sscvniQcrSYYYa2lL5+iTNoXBy5EoYehpWIhWgvTVAQswXPB3TEFetOyCVNVdcamO2aqIgkN54KmfKm4jbSAXrtH7APdjXwggpCRoDRKSzQlWSDzRTK3cZM5rnDgFCgGQ6ppMWmeYqFFuqe40ncW6yMIdW6YJf9mulivFU/PmyAuRv8ES6nembDK01u/y6GEbdGvEsSs/mxh36qAqluOk14hSJvMy5wNN+T2IkMtYkkaaKINuqOhCEJ5jfqnn2XuiIbddIp6/DCXazyCvz92BWGnsuMKeUwrje00ZJvEuxPztjprurp88fG0W+Y/l+5Fk3OOBeu1JrLaL3ZmpHYneiR1+rxYbiJqb3yrglwBVE+9M2Rv+UsE3IU8gxvAtaDIVPSeQsvatN6bPlrRiWoCMVw/VpfKuzyJB4soahFivsPcdWYZ2OOxZRAdPRl2xxdQG9E8rskGZK56jHyy8kHGFHgIiViHbtNXnKXqwsRGQKasfqu7DPa6Lv2cGNcf2paRNGwHXHTeavttfP9XryGTFDTrO7NO60UhCgGS6J5MjM9XtulUDO7Pqsc+4HZin4MGQGks4ukJgRnZPwWQvgTyFwa0b95lat2hBBhEUhJ6ZDVBLH8MjkGJuvqNtjH38ywW+Uif0bm0vGKCZbQa2lqIbiRTXv3PagOMpuTaNypckvTzTSRrSUNCQhRRFphZZkVDpn4UGd+vD+xvs1Xam1wfsCTnJF6WQ6YoJj+EV7g6boZ+xxL4MFwQ/Di94YpzwUwQivfs7hbbxIYDkite/BxzL2AYaSi0x19doSSuUTL1pLGMOVLbaxxctNdpnyRIVhjNY/vpLMkczO4vfbrVEcdRRg56t47kGJAo5uTsyh8BjdSKlsg1xXfIRgpMaQKTBg5c6uOkji54cgFxBozXRK+i1YxoA+umasloSt7TTfk/4gvc2R0I7U19ArOg4XLWxW/WEw2qCaFI/maSUX6QFQ0BARlwVB2Av6KF+UkOur5doXkkNuxQD4mXV6rsXlDXGM9tAvlPDf0B/TX3G/RntcS6YRcYYbgozNXbUm7kjlG6Xut7lsHMP05vGCd/gAM83mm8lXjNlgG/7SMP7Q+Jrod3Dh4gcBgfcZno8kf4qWw0ABQaQFZGeEi7onsTdKEPLwl9OchMI964LSKvN8p3xaTM99eX5Z2eE1YTP2wS0C7C2w1kIkJJdDK5L57dSS0jUj/dkqI7ywLmNgg11FUcDxpCOPPY/GZtUojl1SVfxYUmoiMN8pB9RA0Y4Zs3QlGrxNsiepRRkhfLlWxczYIRbwrm0YTF8Uwb97Qan7epYNMpHesmLyKvxrnLJ6kP4xbtzkrBsi8yxLcydo3LdvuirbWmLihSCBIgmR1YwVhZaeHLggONsB3QJqCXnEBGJ9BjvEw12Cwa2cXNRdQw1crQ2NzPtqKVRm/6RmY/KVyX7UsuASWU3hiCKidcTYWkkWeC1R1RC0jad9gRt5lUhMI6w7wvmpASJ9QWq6aSmt3uULpfUKR1PSv82AWCwlfXONoHi8eV3QFxds2r9bSroQ74AKv1ee8YeVD0Adf4IM+9pIylx+l49jQK6rWpAWViQnXsWioZXhH03Rm2gVX+ji8eE3LmydTniB8jG16tnOyte08UlVUvOtql67GZL/1i55vDoL6ltg96tTNjgXuS6fNOdC3nl/9X2yru853kbOZBJlYjyx48qKzfZmhSltY8VY0WboqifD7N4DlGxPbTRdZ6PnlsvTUJ4UL6Y+7OEwBnnMKPrEu/ecAFsbHOGMtWvG3lFYf3bx+4kIsLu446JLVJ+Gn+EaP011RCoNBhWKr6wwmNg6nbL2YAXCBejxqMRBFAkfCqO9tZhXOwr5Cr3+jzMPjljLLfFHol5l+kTYixJmcO8SIaS3UQfGtKGx1FYlOuZsM68ZTvKod8naLvENxZQu6ffkPcWddKayl3J1tP5aXUhu2poBfES2g3BvVCpb00mkwJP3D5eFvC9klIkqM/W0PR4gxQijUTge2kRfREUiQ9boSDscZUONU1ywigiFaU3maQeM69IVSB0SlMgu8kn0XZelf0rS5+SRQqyMEOnFn9+k/EzH9rxyaGIrUxbiPNr4IF288sQC0Jy0TeYohFSZNvvklAp9PibrnyX5Ec6okpSVoLolWkxSVhgeIxR5YtDU+C8aVj1zuCqL10VCVvJuqjx4kovlRe/eKWeMOzjhropPjGWCaYDIMhNpC/wYZU/b8Ubwcv08U3P+rR3EtFVH2cpKS8IB2/dpm/l2WEt9C1j4oXEeIUzH6agDieJBpaHWYU0h9qUO3s2U434Ve4ejVWXNPPZCu5rKNfNLpA6ApXuBITwBHVXrm7FSzFzAwtdHXX57dAR7Jek9uKgOM+USuB+q4z+4IBLA0IxYkOKF7Gvl5DcXm0DphVh9uhxmhAuqlB87HoZJEOlDzJxBwIQ4pjXmoRVM7hnkDLzV3Z4irLcDe49rUlezLwqzqxM6K/IWYYZMPs9Ic/cbUP1SCiCJcE+cXauCvS5SKeHOoQGplTrw9JvlIx1DdGLhck6C5es9YW8BiQyt9kE721k0WKFrTEP9NHPOrs01BU31ayUREIknriYz2JtcZoHPBzgLnPRAI2WQYTEG+ga5dLEaSrka+alxUai9ngVEH1SbtatK3uPVITOEUCoDzF9nU/4lIgVo0+crdHuzfBcvgycS23dQJVvVjwqnArlch2ilSXpFGoFrsfdF3Do2d0Gp4T8HE9EWxmMqfxWMy6oQpqKN7ZAM68RRa6oE2FK7CZ24y0U63IVBLboayabQTFYLkpRJM8ceHnNwyUsxXzzSWotK3MXmM0W1pVsKDTSpIkrjCQOg2S2Rz5+c/LAYms8QippuR0WXb4+Ik1trQI3H6Moc6UOLPmE31kVTStD+WmE+H7ItEgyZ+qKHyye+s1V096wZ8+4GJL9UCfdb8TQZF7UdXZyKhYA2dGuapVIcWazVSKAuJliEAmcbk4ggwSYWqQbgi2naPngaDH0UNSi2AI5XdWx0qbLEKX01C0LdtkwUtX36qtxyWazzekvubUSheCGrvvwqHe7iMc/t7yagTW+p2Q9tcsN9+DZlYRqfyw2A4NOcuZ4IgMjYOhG9a2feQyTzkuNdm59JmY7ig2WHoizE4UBToRsoPwvghzCfaPc91GcJMS3l17vr9bPiB5G5wAEgHxeBHMBtvr5tSZI/m+bMbGbbkbSg1hKEwfCalQ2d/5mEccgSjxO8K0IDaBi8BANU+66fpM0uzr9exmtz3kYlIl/IDC6sEM1pAvI63zU5MKbXq+BWecGmMGdth063uQHChjMobw0XC/4Ut3OSYB8e0klXbUnKvinQSiHyyqqYLoDflOwUaAfakcdi9XoHE/Yjhpgden0egc5roRqYdwWLSZr8QjIarkIk/MaKNg+ZnaSidTzb13xGhwxPPrENZqbAndSuzyAZrFr/U/6GdnBjGlbhHD6Q0NmSmAS5ANEn7z7n8XmDku67Omb2n5DpqvkS4FzhdqCwcj0BpM7BAU/19j3rPRGgKsZxdb/ljpaJ6yufc5Sj2748nGgxSO8cByVgON6drutrKugnKhbaH78l5z5HQphgaEiP7UkDGrWhzSITw/B/pEvNaA0QtZMrfk8BeVTNXEFMpjHE+Up4KOBeoGczrc/eL2ZhYOJijtUVZZFWxHrhoCkm2/YteewFoNo3M37MM2zO+iHEf1a83cNFj12Y3YbRPT4IJXDazz3toUHMEBhozvQSDYP/3HhrH5tQ/X97+6SsGTm5avDxFoiJdtdVS1rQZXqBz66Fh+MKVaR65kXBtlwMKZ18VcEY443f8WdvWCWykddkg7X0dlwHNDoxnU/PTSHXQOtVQmEYJZajjPyIYa+8Aj6y/SCHeEfbAVyLCm7llUzM/QTuzmNWknJfaDsb6xQmd1dovkVHG/c/YjfwCf3IK5cA7LV2xWXq2fFi7nWfeO4ZTPk3SFMwOIzH/Ab9IG6QFjp2i0BUfXLyiwvuTDsF6iD+CEF0YrN0VMOVxXmu703KmcM3mkRkSE5pH93tPXhRrNtn9QabU3HZ+eS4enNMoiR8feLaflwbRegX7FlzFbXx3womnkb207fuRz7n8nyNVlMU6bnvJxjFdEZ9H+YgiaBgAuZ+YPFCfvQOz+D9/dMnhA1LPqc9HjaAL00bcHnYsqude+c8MwYkmDwo632gPUvKAeCBps0qqly7Ai1V9PUZHbFXvmfQ9pD7K7B75ICuZCANdpsmjK5NJDQCG2nyDvCDBiWP9YWT6lhYQs9p7+2BOX6mj3Mq/iGHsLa1hvqUnft5jhemZnqINdAvCzSmpa09vpxWWmQbGl8pQGKJVAn6yQqV33VxCDf7HKM8PezXHHXCVyji8s1WZM6jUGzE6Q2kkZgh1WsN9/3hhsxCxH/niZ/faB2n9dUl1c5Fp8nDwqctv9cn0iSKEYwSATN1aN4jMqMZLVv5S761NY3BYizmcUe++8fAjzagG5zeLyno7mvZ4Pps2mQ32DoUyO2hELCw3lQIakMHE1CHzGwnNPtV0tRq1+YczBpMPNG8STYOlxJaDIA2E4SleSqrXQpV8IOrMEh5/OdcrMPX3aKMN2XN+GSWWi6MektN+AHt5rmFs2yt3oymn0jA9C+XsXD4bjkIMH/TCtyERizeJsL1lpSSlTEC0fqBxrTgp8qvUeH2cUGGJyMt8EmiqGlEDYCr4sAqKFGf+PcKzpA/Ls79u4Mz5DJZofUSipl985WXaCN+38YqJUayd3sjMFptXd/PrYvlgqpDeJYQcX3PcrKy4LSuon860PdN6cE+O3aTYAKxmqwSAiOR9MiPmBobG1JYY2YnfWyOQkOj/H/RrfsyokhP2WOLFUpGLj+vwKdkTi3sVKOg1/2lrqKDmSqXr8oD4q1FJVZWi4VkdRjoMe9CoiW99vy2zwbmoWVEJZ4F3yFdxpzb/Lv+UuK7/h3osDXhMRtHmCCZJ1eAUfynxZXUvDGt1uGYsRtjOKrvczD+y+xgTVykXRQV+0W12dKl3nPIvABKEpJzouzXAlwEoaQxj9b9vywNKW+dnFz965/Yb++ipP8F+7s7UIhGrvgDySw4j/YJs6XGLcJYhYu/AFtVu194ZXVie1dvIrua1lSMNk95rCvDaTNFsENU4Zqr4bcFN0nkweKQcXd9iIWBJmHmKXv2gdm6533oRuUWx3Q2+9uF+wCArm2NzMzpS6+fNY+o28tbh3u2j5IdZzrpne5uSyWMc1MxgwfcVUq33OX9zn0At68IEgOF6sNTAR6CsOAX/noMeSFQkeXy1Bapbwo1OUhRp0JeH6kRyRL71LCiXO1HPGNJtM2ZFvmmkz/VZYT1x5RV+NqU65o514ZDfBLQL/14BXJN4Z/TRh6XiC5RphStqcaAwHIhx3HLzN+lJWhxe/+JnHjF11tqOFWhnmFMqIp3vneW9pRCTnXsqiO+IG+wO8eN1r7NTe14USoWcnLeeFzWkmp4BKYAeuvVC2ArnJCtIA0ZXxbDTJgC81dUv6AwE8y/iIQPOd8ISdKLbE0BVnNIfVe/ZW+vhmQQkyfLQZ6PPpcLzI4UpAeyF8mMMzK1aMGyaUwz6cg32Oi5thNHyS8tHds8kaZCxdS8GFEt6/9JPp0t29J/cv5UOypedAgTKi8VKSIre/3xfqUVtcsPK9T8AnkELca/7VLJMczITyNmQeM4RjsNO5FV6tkRb3Nt21j0nI+eXQoVpyuP1huCsmm1XXDdudupidpqniuxntPbRiFt/e0YhGZZFlpmkHHURxLKRlj3J62eUDm++bpp+t+DsCUiaDwhQBttM1jbgzirJUjiOG+yAFZjTkBV7m8K2yqmKTPLUcC3gO+nO90DKPDLL5XnSTpImyKIf5tDZtQI6LwtffqLH2elmcStak8Ngo6r//oq6z2vWfsJrpX6N2Ws9LxnLsthvGfKhcaAjGyv4LIqRrUnxYhJbN5FxQSvnrpqlox9x3Swkje6DJOCnMs23D1lxcLz0R3OeaV56Ol9O1VJoRm77ylc+zArQHmOPjGf/FsyKMcMqsOvdonKqA9vZNEQ1UKRoifyz75W136fnUNpxEOYPsF7+PLMhh8yC38NeOLhx9J8165FIW9N+UoMxyeTY8XVzlKXpXB+oOjzrivU/0nwizU0U527l5R9GXnOYuQd7At/gIXO3f38HZ8xsWSEzZQn2gWugO0YuIlztRrT2bVX6og4UMHsf3lgfknWIbJkI7imyD1Ccq7nJmJITtDZCY/QHjpsk/vi3DFk3uZ36ko4xM0PEo4vBq6wU78tUjrI3aFXy7EI9/YC6yYmmrgsFB2gp3JwwEkT/q9nsNZHaMCseCNHp5zXg/j6a9uzHr92Rf9oq1n+sSQo0MQTrHyosbo/pHLJG5EM2Gx81yjc0+2PJtpCPM1mdjYWGjQm79V6eOIuxdRoykmmjTHMzSyeExTDjHCQ38JtB4J3E8pCqilXc6OzvW27PUQDuLVNYN7TgG/OpAVN1rhH2/0Pg8ehuTAFWccsneyLP5Zdvz9n612E1sOn8sCoRSxpjwDUJ8FmWl7srZvsm5Fp7W2XKJW+Na3CrEyLIr3lQlbaM2TVW2ff5zXduLSagu5qtVmJk1kMsdu3XbKXzwGJlFmOpwRF9V/pY5NYV5z7ZqhlzdxrMV2GYeVQcZiObv3xN2dwPGegA/oOsxoKf34pd0RlEwaQoetEl3xirr8chnUdnT7kRsiDYE59ZAiTqf4TwoxoHAKxE8ZzQyhnAKye7DxUz5caiNXUtdFd4cOmxlHprBYAFnaGauv/eC8GbHhqnS2xZ/Zr+z9L8VJe/oxDIWDYJGvMo6EmZANIFw2ySeSJQ8BryBbt40XGqSqOsI6LsL94ojvoT3k/15rT/f0RaSB/px6rWVKONb8MAsYbjk8XYHaP4z5e+aYyXr4xxdN1k/GkhGfyYWftlMGoEqD2PMpVC0/TRd1CEElR5nOhtEn4oTFWHeKPASsmwf57H9cDVEPpVMTn1giwQGdZrIDojcnkSMZpckvUdcTMLFSk8VBjYR1dCUXu3o89Juy/+Kf/dtanH7zYz2V/QcjLec46eQOsfbBaKctep1OP2Yka9iy0KMRhaDA2e3+3oITPWxyl1VsvsrvmuS6La1tFGA8xzUqbNVCMh/UTdRflGMPK0BdMWpv5l0tVPLTb0Ls8Lgj+db4gqT1aC64F6IPUxbYG/2iyLH6d0KqHd0vCsSvVxCAcsA5TYFFveed6QJubiw9yk6QAj9EcNHO5T30W5OVGPkN9CrQTDkuz13Cz/goAaiL13ZaLyPrr0OBszI9KcqLWLi3CZlepeg9H64spDPAk46iAfJRP7XNjmfgvQsf5IQGlgI9PytUgS18lhc/SlQc5t6telegWwKw9fOYAuCUvdKxVy5S98t/rBKLLBuC1oYVRNTkfM7atJdJhfpdltEDaBuuy1g9hBrh4Jrghu+pqZqUk/gGii25TA7oJBB2eMs1BWhlwoxZ9yokeuG29YOB4a2V6h3pZHbFtyv73HsGLH6v0folMc2d/UYqqFn0jNfcN1WvzR8QCkDqPKvlvmrJzOcECLnFCxHvF/pWo/D2/vE11wQqnLfjZkUruKkXDKDYKg0zQvXZRbDk3kRWBagBv6Pqb1/ckC4zTvUo34IJxgh7GrcRjynGNa1bkBTQAeFvkWQtG5qeRClOa4nN1v/Zvdo8ZFmUtAftwDLdjhA5nVP+HCBDn2QdjBjN7k+SsnRmEoohfps9G7+qs4a3LzvuIk6Lp8/AuEG7UaVSfa9ZIxjUdmaKf3KetJBXWwBwBS0QdPSOv7e49UM92emeXVW919gzQJZF56KCXURrmvMQzqIauhsJD2IT5o8FvdYqlyDIbTMKbYuqfPh5y5BW/0Kvpw4D/EG7VEtAu1das+aV8JMDhdz2N8T662qArEMecwLVNkMBpMFru+e1Ty2INdPu0xAvYksGm1zTJe+jn2DE9pTLEUV00nwVN6JB3dRrW1/P3KO2YiOkpYMQuRGPUCi1Ej6XKSzPrE8D5C1V+rpWv2py8EpTxc79XeatfT+mGa/o1uzfSm6qq937o5d9rKulUAknSkYyAcJI0SFJM9hHzZD/Y+jLD0SYUbmWwzm7EoMCky3j3lYrHkf040XT2ukQF0m+Yt/SJ57wNsD5JSH0PJnSjAznWK7qBx0NBH8puxhkxn7/KvkO5Y312gT7jHGvoMJZzclBFKlgxqpxpr1wNgI3bJDXhPIxyTyyYeoELPeI9ZaACUGP70u8D2mAX8vCft3cJ7N1UHzVIBnPUPCzqSCGaF6F1KI+oZ+pMcrAYoH4kHNieKCbhxVxGvYawYI2WJmOKlMO0HLB21zBUBDKoQh8HHNS8QtE4KCnksHRBnjIeZv7XX3/awWa/uvHmsQ9lP9z3V5n3mnhoktqU4XADsdw+NExrTtc5E2pYIwD4edudXravd9dOHb1jsJWz3iflrttP1egXMADE59MLk3EyC3u1YpqJxL0FcC4/StvDQLAshDltFBmveuAIpIKratduzk76uxNZF1GQNM+6O2wHGJ9PfuepNXgJwpOE5LwRk/gl59Y5xdyhunPSihZeXD8TFO+dGpAqQiWNSWYtULf2FD+tTuy51+3VmvlO4O0K9QoZYbwbl7yAMJEHkiMdF8Ypkt9jQ5PkD9TDkyhuDppq3lNlfhjgIKW27+FMadmErNVwqvPSUDFqR3JwinsAgdIAM9lQqMaNcI7S1soQJpmywFL9Ze1B0+Yxi3uySWITNvKTqIflFKpm8eUyZlS4qP8siHn0elzlaY9yWPJyEMN5kVVekg3UHGgoqsVtt/PDxDx/hMGg/+d1id7FP0fiJfEkO/kUGeqOdWSNx93jAxC5IOM82YaTgNIp7dJFynePRofcXW+fIEfb0AhooLsQo+ypZy/3pRC7laY8scRGjfJ+e8Z0EkxwPNRk4Mu5MLwfN0Hmy2D/NmZQaVD/8X80s1REr73FoGIyLxyh7TjbIBc0ugEFryxaP/XvhBWv2+idSsm2vCJEUpXP+poS9BdwE21d6RpGROzMkXwWv3YefJsQ5k+WD9VYVS774W0Y2EptJi/wP9r36vJd5MRe1Ow6LpsRHecfzSRLbtBVPJVi3eYUJBSCWRDk4gmBIJx2Sa/tOY9YV4lAB5imI/3HULPvD5iMo9YwJnTcBqIvHXNDrwYhFc1Z0zbGzHj5SPg5jOx2ClA7fgJad4czJbsKdWF6cUW4rOZ5gH1NX/MPgTnxoNx6dRSRrm3vgLcB9rHAhgXr9tZ0rDhAkbGI/fdnVWz5tuOiufhRHXVvxEyx+imKxnNS9HAjbMV/6EYpEt2weLvY9RFEIi7QW5NE0PFf+uMcraMrzA7T6m6EmeCZQqdePiJF0sf3ebMdaRqOIwECMzUuYBy5/xrh1jq32/cnz5isxoQTNNrsYofbWw2rXgoTreCa6a1FYy/qd5LfQnDIGH4Iu/CvwoNCui7Q8wF0cBO/Qw7zNhroRXzd/2In1CR+3z4ChzSVJe2jlOauv58QwCndaNUF+VZu+GwE54yACqgmzBb9McafAFwOCzv59jQTZd9S7n7B8VwwaUsLInSB6NTUN3NlmGModPs2Lg73AJ6pp71MJLndGyV/ypsaq3oBp7I70FvW/ODu2Gyh0A9bp2PUnhTsLi2mwlY7+LVz2NBoxlHxHeM5T365ihi4+NBGKiVmfUTn6XAaT8tnJAMFYcnTnNYvqiBGaq2OA6qQbo3je97Pgqwo+7B2FBM6CWU2hClEu/hZqa+3GCeENcLcCG8m8RYQ0Eq+O38i7pR8U9V6Xhkdz7lRNh45Ll3l54R3UC7q/OfWtRfbJBs/3moybjlsoEKIkhGRWhtMeKvYlxUfRh8HdZvXHRWsRFHJWfC2EoxuUrCoAiAOI/1j1zc9jq+lfIOPKqaY/+c8hF/e6wDb/yrtrneWrvBDy+NIIOg6wb+kIpj4LzKZVeydq2gyqe7zBhL2g8p7RgLXPi3hYzPTShe8djGmst+YlA1kSAp7vyN5iDGYu8/xJBdlViYh4MzvtR+9vW3a0ATu9ZjcA1oepHnfPkVuzVWAxXLD5T/nPUJgM3lXEl0nlTeDwsrTWxpS9+n7yWwk7vlZtpZ7jsfKMQo0Ws6rUFbDECIt5UQlUTqg2R1vUXfFYrqqu9Ura+VN814Phsowmw3Scp0bAapx6b5sk72ncA9pVEwjZXuZttC2Dy5VOyDrHSffvblIyua8rGPOpA5OB8orGk9RTtvMQGBsLySqHOAiOEikJW7zYwh7lvAv4Sml2+6MOxZ3xypBnk3Pgw5JAlY6JuT6UYXmAHfGu7ABZSBtCQoM0cRNE/tT79QgZ8BrvYCfKNX6HOuHCDoelVjXJ4rBpoTFL94oS8hvCev05+MmMzHl+6QsBmRLjxAxLvTz0Eicpim5sDIXExLzECmhknasBs3KdbU0Zfnq+wNCfQRDtT5KbqHHlYTPTwlL6D6qBbaTGteIsWTt8viF+LHfLsZulYnt3AJZrYwUpWv9gCRDFMCiyRbHDG05hZ55Eri3yyBJi1OlrETuxA/IRGPbZX8USI1fodafbu3OMY7Xl6LBFfPTMwp85EIu9Jt7TN68hwMnPpWhPXwYjd6Jbi6kdQTncO9RfOzL2rHcA+W+Md+ixP8SsyhuFHHsjONh6tkud4TmnfXPVjWwPckaBtOnCDZCy2RRTfJe4d4bNOmZFyX9rCL75PORvErftxLsaTAj8TGN0Q/nKKuKiQOi41wJZ65LteFyI9DEXUiDnfzjYssSOBoBBzgJdmJrokHMHMnIbQc+YTi29Fd3smb1BrBgZrR3JFTDSo7NeLSsZWmsAF6OmSF20sHOwsgNiJY425eA9RX6DWOcW/3+F0eqjH6pOb1zVjVR8nenqp7ITO8vkz/PBXId5dbe0p+tg6+0TgG7jKaCQp7LdzMlFt7+K5A/kZwvZYrpGzvn9P5dTZGkrbO8jijozYhu7nH409X84ZR8HKEDXiMe8FC5VcYx9O7KkhnbKJbUrA4f4F09ZFgr/EJpsVhnDSY/uyqWpwgUht6m4zkQpp/+Srb25b0EhpMOKawc/SchB/ye+v60Dx/yoC+gmF6AjM9qV6fXqszw8TrLPXKKBi7pPqS6e4D3NfDTBad96mommVUc1YDRI6k2mIuIR4Qa1Vk/TR0h5tq7TUTfkffrvsJs9kQw3O/FOcepIluVcO/bc2Fld97WI0G9H6sdhatiWXBR/z6FATpHfdUCADFjEaSFtkW9S3JeYMiUsmTnVBUJUK8Dslw4EzBQLLslR/SnG2FmZxPuphDEv7QxpQXQ7iVRQPGdjmO32Txq61tu2Bj/exkUDakPNqC/YDuit7QX+WJhiDU8JJw/o+emCSNRhY8MhvWwrPxH5fpAKCLS1mi/AdYJsJ2A1zM4skVgzRjhDyCJAXFcDKQHvaVa2QN+qiJ//N8NgYdN8CWjcjizKP0A2dKX6SyEWZRM7Dq1PV5Gw6rmh1RYAOU4eI6lVJRyIjfHRJ7qH9FtF1LO1dTSeOZ8L7MZUdJEjAJgB/m6GHkI52+jHmf8VPYxbO/E4MjWKsMoMSLzH9sl4l8wFPFO2z6KX71C9nlR7JDhOxhEYJNuxx/be38L59Ta1yxcSFmrefdegeYOX4erE6646zuTrfAM5AqEKodWHiir6wnTbj0ZdcwDzYOImKnE4XSyp/uFHwI+s6wv0u2DlJ/ThAC5o21KJXJS99Sj0nZd1hGquCHGhwL6eIig7HTQJbsHS7wcKmCVVhHvVqaTW3CL35lHYIgiNSgELGrIhMYHSIIGKhlEgyT5JGlt/54ik2kLBJzu9SVJjzbQwS8jf9md0QCTMTWBcO7YutXSXE5u8Kwgkpl8gk2W82t34Bcp9DTbP0gcDqCdPM+DR7EtFBYnrVSpE1SoibTltIuQgmP8SPE1bGpGNIdxZcK4Ft/bKAztnJXssYwc+/oVHoYzJwsXvPFOwIva2XzPAg/58E9VlOCDPdMAKdW18EbwDJ4TULa0GWYg7XKOowIYWerI6gN2zvMWzarsxB8zOx1vBUizT216c7iwdn+ikrHqewPWZC/pIA890/nu7kTzJXG0gp/fv/ZVmxuAAqSKnnBJgGWmrptrv1OjGD36zyfcOfYTzOx/ck2Ze8hOoUDjaVhBqD2XGQwycKLcBUIzQ0XvaeKd7XsTDFp5hPr/QdDrFM8KraJSwTmYg0G3xxvRe4VerncZUF1w0vuH7JaU4GDecWWeEJ+Z5fESLLGhKeiNCrPkEfAaSLYXFKuAMTQJZZk52CsrUvTLhnOBX7xfq3M2bNVv3p0wLIpRJ9L57GNcfDNIRR5WotuTz4kfgi8F9r6vSpyOMs1OGAZT5dr6wc2lWDQ6DPMDCURTv3LNZz83NAYYMTJoa6BP4dL0AtO/DuywFPwc/sq5bK818nNqfeMgunVk5jSQReWO9/ScAeEcXakCfPLeHRI9fpLwN/C3x1EkinLrc8UMOohxqhmyqyqyvKlundiR5uJrPhjvW97C6Ht/FRm/EYXpYUGPbj9APLA+kJ5K8hFyTF2UIln/RbrAapTKgP5ziwdfRH3f/aKJlqk4vkuyZXMTjEX1onqNe/idQq+CFEUnJUPfWMVqvtdp/ZKzOYJ1E/Dhyiz3rfWbyy/+V9vF1SgLSUWmOn0osHndmgS15KF7j1In2lAH3ADrvVcj5XW4nOvcMT32rlwRKJdrw9ZATegjIowDV9W7fJSNIOV0UU+Fny9QFPyovQLjBnx5OG9GO59wELSFzKkn87mnAHPs/34p5R66whz64ESfZW4zbOIkBP/S3kLpBbfYY3pm6QMX4PBOuCwRTEwcSbwArkC2c9Uk/+OuGpOgl7mIO7ObjYHEicR6+yGYVAUyE9SHwHgxu+huVGlPQ8EzmNfXSb6zZedKR9JAuorg/9IwvQ52u+WQQlvyNeDlzsUoicloIon1OhZTml9o1456U1uYuaq4rr6Y7nCXtEROStplS+1uqz+yBXEFYIEdYlx1+YClB0yDG1EhqI/lYveUVL3MXaIBT4K/siM8ucdn1sjdBnZzoeHIwKeS1/CfIp75T3ZGHkuWitRSAYvm9E47WhF03Yu/mHQFz+WeycKUYTNv/xmmzLMVf8uCCWA1RRr+twmhFDzNi2UsHUsCb7Y72uj7Yn+QjhUa1qiLLN1SUyE3Q2CodpEIrg+RhNL0UcTmmeTM4LjX8UOYVGU3wIWJfh8ecGJYfbH3EFyjaN5hVw0lz0uprQFOaOHMNWiCy7/V4oBnTmdo9MAtp+OtDsvrtdpdgJTtMXukozoyn6gLuZRourmrQmCSfuAktGLMccAW3SoVWDBr6GvKWdFG/Z82rIBZCTvHL1H9u739LOAyyVgPNHzQfwyaB8SgQyulLmnvG+BXCfyJiWrMl27aNYL6vGvOP4sx3NtjQ84SiWdYSPNrDM8P/14PRmy8TrCjorW6C1Ko/3cnLPeYzpuHC0ngHe3eJEHWorQHrrO5rTsOc+eEPO6XWqusD2Ow6xsMaW8V+H+6YmtQg1k+m6Ouvh2CoOavm7cSEiGXfMaFqfRS2+RIPeIz6viGEnAWEUKd/RswdQwS1VIVtiwd4TzM9Z2655tzjPsa2NX5VYcZsgdkiZwhTDiHzZ1q0MQ/Yey3VS/KBZkTsQ16wT0N1OSw040zneJk2ZAuSByuGqiLHw0cMJFXVID5QPOdKpShlniTN+RUzvz3NKfLCLvDtaPwqMG+BGQu/QlD33fFBGh505ZhUae56u7lx2tvqNaPLzZbIwai0QbHEJu1q5sA6s5UGrpqNmq19yy70HOxWhjU4syelpro6D6VI4h381AHFky5XxHSrqpGyd7rd7DZwNbfHsJBUDFmYKwE5/c2BPJ6g0aBQZvGwZye3ZG91v0wF8clprLDmQWSdFP9HJAuH6pBaK/wKybxllBgCzGenhhDR1pVxDBZe3OAta4ZoUnx9H9GXSKW10dlVopgZizuICUVZFJCznS0rF1XEcSGVinMf/CgImBu5j7G6n5Y+JSGJb1/U9ODmN4qqqvaSqyI8HDw8tOi3O+8wUvou6vkjDTwxy7KArZK90OMh8d69TunGH2De/5OUj3mSPr5QJ7bhTOHX3JUd8AMNW5xQgGBCRRPTbOFrrxq6SAjZ1WOttoARBYQXrdzBo6GWcmqkqOF4CvyWcY0+7GmYV02HxdIKlNQcRsd0qzfBZTT9lIxuGS1GPp1zGeqjpuvD9DVSW+33YRgrNBrCvlejmjS+WO8bd5D3yrtbXUj+vjONJf3AqkMaQeg1lAnkY//sj1aG6KbJULonfWXxgIquUWJ0OnyjASHRR4T0RsokCbwD0rvvYCNohuEPw+3SLXSqEHgeXKdQuSKuvM1y9kHTCRf4LXsSZ44uvXOU6YC4OpSNm5Flat8FeueV+3/kzjnSYwxEBrSi+7RgQP5hlKHy+kymgCKtc9d+VcbFtidX19ZBIAjdPP9uwIxLK9oND1El82lZ0lYLtrBlaGEaaGBMOqOx0c2GAKhNryoOpOA3w+JYCvvVBCwQsjCe6RQh9A8qS19kAzmrWUwqQIP6sH12nzOAvJvYX/Pur7Ex2f9db4sOWODKlilIn4k7E8XCvYdWL0vc3gDxnHdUUMU9w6vHhsSowf5+k6fbz4jxzeYs17gJeifPrpHeL1E/2eYHBcOebKYX00Md1PDmVKZONwDckb5Jd/kiSbOcoFhIPuOrHHO+dVSI1QgzNXViEVaKjJHrPP63/Hl9S3Q/rP1UbuKbDg63Bz4ZzKdOVyf3iLXUrdJ6MKLT6JjreOzLLtLa9UA93jE7WZTqFVuzrfZz8+vjg7sdU1W4Pi1LZCrczKH8OgX2S3tCI9wVw3i9miAR1GwsJLULYWNcrr7t/rhBrCZBVHMERJLHUpRRV+8bZuiFyZFlVqVjv2uExJjPRUrtf3uxF04+/zlh6NpVoTZMDfLXKF8fdnQOKIo2RGrp/r634iDGfjKUJZWFggI41PL5IRCGGN77YcfwgUq5djzqwFj2WHNzL7mTdPucb/VM/kHxTzxVcADpmzSwosA4lhbB8AiyN+Zo2AA4J47+wOp3QNwr/HYknnPaNutyNA42XCPxj8wYkKBFNZEKsn93iR84PEmhavIO6eSY8WaXYBzUF6Lr7yhhjsVsaq7XVGhagvBbTkRncUNW47V/2ng3DvKL+EZwmxWQhee6T64TxUnSDWSaquwp4zuwJj9ArGur593puUl/GmSdF89WQjYoaFpQf3nmq5R8WqT+3J5pcdkx2IUH0nANIK4qsKGNcNcxTyslujEV8wXK1ayMx+rxcFrGm6AUFkxLWuJulXxscYmzGb6pGPwDEjYsNclaJgL0gEikJqLRL1fctxP1w6ihys/7FLKex6lvB1jGE6P95bDttb53PAOU6q7IC8RjP5uoHT3OFYZL/gWmz/jTCWW43l8Lh6/igBT3zt7p8PLS269jqCovWaF93DCHbza1teFa6d1afT/iRH0fgNdSXgrKW5zteGoddkDWjB+Z3NbMXPRCFB7DqTrh2D0l0frJc/1pkDCLIQVr9nFrq3DIl1I2+UWg1nijlARQWzJRP6M3hhZwz6TuecOueMl5r05F81414Oq+bye2bQuqy0OagsZX3onSclwYxoQONPY55pb18DXhamE7BjzthAbhgHIyHUFN5gpogu+/LcYCyTSwN+0wtbvNXoPHhZsNj+dfljBIambD0pvuiC7nkA89svbYUlO5/5vY7dAPYQYCCizI2Cg1TVb7Z3acNu0AdyP3rZN1cIJhWSMN6VQBSpPLbh2J5DgdHPstfGlTLn3p4HaNu7VCiZNNbT4j8SlDCPezglKBNs4KcXqBI90UFFHOlbA4ge2ebAYpSUzjf3F7uTh6JbQRnbxPGGtEEvIX0i6FHg+x6ASC4JC6uP4I95AoAwMc6biHEVbYF6pK2yDvnpaqOSTSoT9CjwbfdrX/KtlvF8r2oFHhT+2R8NaGaNT4BsUZzaUzkiyr/ceklh3bb2vAMSwQjS3yvJrpjw3WIE/k/1npZ2kfLI5rxBT6GY9i0QfaJ76NsJQg/mCAlxu2TPnb2jKlS56WSt79/9Qou4ShIPVNqQqwyhtnhSM5cOwZu9Y9vT/kvOtSQZWeujJdQNlQvJGha2HX8yrn42euer9i23RmBc4JHNtAkGdlyozURin7HZ3QD0foEhpfCafW4EbM8N8hAJEW3vF3K86OlqzNJ2cFrceaH5QSqUKBdkkKfx7ZLLtLfUUvhVypxtlPmmch5zJr6LJL7rq5aNkGOkjrWERohT1FmsVnf33SnASm1QKqGh1ge9AWeYqTtX1E5daYG31E7d/OTsTsHaChsU0rIGHvuSedXNZTx3WHvkKAXfdx5FUnHGTckERw9aMG75zsZF/ewAItYgRxA32XDGw7w8RkbyTcuuO05g6H3Vr6LGVkl49faGGqpDgmF9FDVuh3Dqr8BFUQKLee7Yk4NcPEH0ZgL8oCY85eMcrcVPSlnvovK2TCNHSBQQJIkm5mBHQ8BNoOskfzh7FS1NxafusVvdgNv6tooVEmWbhFWeNBBtTlxBGLJq0WQQCQLjUNX/FWXzGIcmU1bLpY4nmR1/ZKuXkg64Wa8ejSDoKomlW7Xz3tL/3evQbtmrqJnZwcclzAGisyEX58Y6iw+CaZseqMRT6n1JdGzYxlG8fV0Wx5ASkpGFdwy2q+8kE/1r+CB9Q6hZAAiAg0/nhlVxndkK1i0CSo0TkD5JtORpRxdMwTSnGwNKB/kGVBK8edRmQ9eFvqkk5qvuNbd/Blyw3l4ydAHBDv6m3NrzXM1c/AFWpBt4x6lGlkPEoCH1fMGZpuXYwy9od38b96Hm1oslTzWETTMRIwe2iy9osJFNoc+sSeE5c3J9oXUBck7DXpL7KTM9m3L59CLhlN+YG8hjYRAL6lMjjJKADb4E6oFtYWYfsJu35Mi9WKNnZA67One44RhWt+eh6qogmm+hdhRA50GEnCf5ccDZsLdJDUpZUUw7a1iO1BtkKGGJV6I5HEziemdiOgW/YEsumVL+BjBIWy3OgRD+oO4vvWpB+7L6K4UAotnzoAN1nAVghztTIzjWrE6mPdjaJs6Pk/rIMGtMw8iMLsfEQYRQYcth6eeeePwnWaj9eyP6mkOErCatsEMLhbL4MHCArLkBJMRR47+3tsDVhdikuqL2jUpC5/Amk1olh89tHcxv7WndcoqbKR/H3e7XH3gfjRsSEhzDOZSKoAsmOWtzVj5EBKrQ/zRiHrh9dRcIhHobmKD5AKyzEptRsrFocff8RrvRqnU5fa3pNP6Lnb5++1LZL9zkt89ZwJwkWTN3Zx6JREhiGC09hDUhrYcxd5BL3iV/GMg6fFf1XxFnb2h5Xyg2hUjC4XKWVnXub8H/oxRRwx+XIZyEekMj4AKg63Sh1D0ZblfGRYxPeLD7Lc/BZmAReoZGFVBpqlitTLFRsxnBfD7k6wOE19YSPfvAfZXAPR19ZDfiPZHQmjBlkxQ+ig8aXndqYvTb+hidcbPjIpy1gWj8xXQ6oSysPdo2Zw8wyDOPVJwfak9vT9loI0IAJ1VJKIvj440FBeVQmg/GvhwEPRmLk+Na605bMfQ2EPvKaUKVQyjszTztyudfJgEbDiQVQL2Sbtfe0zIJTdFWpuXF3uhLS//L6w+Dz6ligT7sqwm5VceBi/57Mg40muisHmC+lK6mnbMkF1zP0R9B4SMefCv4eSeheMiP0COWjWzG14FdAgV55I7V5zvhtvS+0b97bPfC9ikD6c2yTazPqUdLo03J6e9fxDd0hKqqukTGQM6B67yPfOVR8lNUnTnKiJKOqRKFZy7vfRY++61a3j3RiDd0VzHoxuZKDFeD1BzvGzDTNNrXHm2hqihCB2KDvuNP0XbPIiiOU8XZo0KJOPv7s7l+yU04f0lTECDeNHMW/cylw47HqlRYJvP8aDe3OQ1bd0g2OHuBqsPsVNKyEZyL14haMokIIfQxe9G1GiD58SFHUZ0PmU1KMCAZWl7WtMUgbUUFcVC2grKneye/pge+nm/KzG2+XVopimfmoiOk8zlQ+cKCW1xwgySjnMID8ygaANgv4BJV0VsE/qgcGHIFRJ5WURlGDFyUmhIzvU9Mc4k+zzXQwYeS5GEwd8qKzyiUuFlyYK+Dg++Xfh/KcSIICVL0o6BRKQYi7uXGQ59l+jOT4w6DIQ8JTAOEVLTvhgE0hdy22ZhNF6zltbkLVcunrrHbfSSk+WN23wKfum787oJ+uNLTuXPRVTjTsi+o47daOIbEn0+l6IKMeHnDKF1biQxrNuiZbW80Uky71Q7Y2kSJzG7XpDMCIwmUtcxX2tZhlcVeqFD3z2s0Lq2YTSI2Qi7T2tE4hCE/fdgo5M4lejaXZwZhpEOxdVBezhMwAXSfFtR/4sGxrYuhIgT4toEq+ov249ZrvhNRr1xo7FtV+vOQGPXvwB5zRg9JFiKPk1t75mubkNjokgD7QzDtGBbqWAqZs8A/t4fVqiFmmVNJmTXYmmijPNzFLwjVcu4VbP7kxjO01h9RbxAfX5G28dn0FCG4ecVhudonRGeOcVkat7TXaJ8fE46QJwkTgzb7OoJBOphBHMJYSsHbFXWCONRWCxACOVFlhBiYEz9GaCNgyxc6JuN8Shm86Rmlb3GO5iGsjX/k+0QLuh/BSKYtIxJgl0rav7cltgXT1iF0VegAwzv9ONsHAODUmEnqqHkjXOoCOwtOT/h37jTDQXSyWBUDmo2bMSV2TWLEBKru+DN0cmutPFZzsdo31PoGb5tLG98k0vADfdiKqYQlTb6b37Kpqh/imwEcakR1vYcA9RTWSXnQ0St6n2EjnZfTlNZ9pIyZCkOr6m8Nmrhta3AQOSSQzJtYjf+iz3LvvzESHqBu5vp0ys/0jmHIPwAbfs4UZMOTnkmyjqHdCLUw4KnEL0EF2R1znePbem97sICXUGL8Mq17ffcogLINSIM9+H0LRd9LI2VZeauDMx8SYRqF0ptd+/lk4EoViCVr0QUSvUW9NjRwZuotREqKDRa5NaUN7S4T1ODt/o/hJGYUmoK8cgKNBQazmfi6LOZBkyYjnsYcjwtp3Dvm28Xl0WIR5cgQigzIddgbQ59hucvsoEEJOUl1rKh1AY5gSWf6n7S2/33tkZmtkGpAgqoGIcsL4oWoF/reQDkSnRj4en25rjzMTgPMj+wls/TEiU4lzCR4j2W4UWvNDRQK9iHuYG9tLU3h1YKSyS+Hd+9fAAmEU/kflZIlQ2KrH9CiX4TcuFPpKsAj1Zz1Rl/FQfTDk49FYpKSVrdOLKwbQQptliJOO4/Oz0Vh9A91VqvJw6NAnexzsW+18dWQOYqDGPRPVBV1YkydhrP0vvrw/yYeLT2hPtTs/NpVzAtSJxKHQAXAvdWBefmRRpTi8/hbYuH7tqASOaSTzLD9g5wo+oBsHvdU6678ql9nrJoduVARtcGP1DeO6AM3CI3SBcFdFmo9hR9w5Tr/amBye2xgrQmxK2zL0SOWgyX8phZLVe1oKugwvK7AO6zLALCOfmIZxvH3Fqw8MgR+/a3V5OUfzoOH/BSZsTk3UoowmunR16KPpcRWDUWE5F8z8gFde+e0XyiKJ3AzQ4JTH+Eizvr9JMhGP9WK1MRfUg8OLInncNMs8tEUAxpCiyri+H5MEm53Le9W+DsBd0XEBMm46aG5KlsAb6n9Umg0tb5FKXcsCUSXGxeslQ0liI8n/NRGbevEtumzTur8pi8GZ/ut4uXHwGFsQQA7lxqvBERDb51taFw3DEReSNm+1NOYxRSup3Lhx/6kQaJRBEwjD8VtFrbItQiE455JuMKGykYRtdqEKVSc+5iOpLRuBDPBHdEVhsAflwjtm2o5tFdeP7WAAs2wprjE+L9QYCYmTbetj0I5U9dJV4jLVBODhSD6XIGwpu71Wf3tH5isvuv4++11RYzQeL3SRpTn9zj8PxMUbm7gLZYBdrQ7EVSwhSkk0ry0tLUoy2EyLj5t4PGTeD4iljcqynrC/3pna9YjgYbtK4lB6kgkYzceEmOimQxY9cJDKlu5iG8sml9zOIBn+jQQWjCc5IooD/egvSUZDQGRXAdLWwFkhTwnA7//7PtCjP7bd2jQVtQ6BHuIDlUhduZA/AIu41P6GkAgkDSbuecfs0j45CPkx8iBkdUItm2+n+1k1+K0VQ7Vm5by8I/99bMyUCj4PozrlvXE86uq3/uJCrnsaAAtjYrXHbDmKQwBK8WgtCRs86TDh7EMlCNYhJ3O9ncGoidMa3BZQFMMz36txbbmw3CHcdtU6mshGkun1gJ4YkFSCoTIx71TDXqAzHII2z6lKwgcGZtaF2rTJpibzcHh3gBfcGvwozvz+nkAUIeT+dwJTHKsPOQlWgNXmoJWDR8E1TFjrvcwMFXDGanpkFvfZrOEEf/BYSY/chY9TeNWbGugKOtSDCUgtlbfJU40vjwHShElH5vjYBuepfXYW9FTr8qCtsPkxfTp21IBbTjz/VJNLJtei8PDloefQsI+Z27LNp034Mgy20gpoCW6jDAAIhufgCGbVjd454ev5uvNTZdSaB7L8ngTLFuJ1TicSVBttjuPjVANi/trQEFLr4Q9SlvXsq6mzubJ3qRbzKYONFU9z6IwHAVP0FijUAbNdSpew+nMHXiC2j1u1elKblAAi0igKe0sV4k7nWyJ3CE6M8R9EnAexzAAp7D2QA0IcTFs5mc9+9gqb2pv/eoKmffUsyO9AcUgmWRC+BGY7r19wQF603/c4g4LGrmlg7dbFrE+3/hDjxuTR9UCbU2Ux9jji7WjRKCffP9/yJ8uKzDOmzdrBi4SNsn58vXbxKMrhhc61l6bHkhQzSRjqcoRIoWAMxJjIF27HQBEnxjIQzjLWA3YqKTN9TruPrK8tERKEob0/j3HFDwgGM9wKMXravcckFlOAMB7D2wSWO4YQt6NiWftiDNheFI+xrHVfE+OAz9EXO/9Na+3RfBo5hKfSRa4/iDuAWnDiN+xOqHagz3KnBS2S6HTaI9/IrfSDlhBHGGW7dBpt3Y8nUuRCaBzoiQzZ8zw9tsFvtrUrJOvLhGh8Q1dCUBIrlUb8EvJGcCYcZICD+G7/OSGZicfaqJYPYRNC/LhYyxbgKJWRraaGZ9LR/2+HpHZZ0gewvjGcnZ/OwZ3CAFCfQXR3GwVl41sw8st06D28Lur6Ye9Z+HqeW2ylozZW9hm0+Rj37fgdSXhxbyL1PNcWkr7YLm+w9pbUHclWX6gxi9tehU+fKAm55hqtbM2lntCr4pCOvgWqaiO/eRbeseyaBntGzJPc8jq+mas+J3c/yaMVRbBgrK/xYbPpjVkKl79RzR4D9L1LBdZN32c20vW2fKG7NUND7Qcub5qTifyL05dDJZTd9biyORBGlw8mSQ5cYwZDnnzxJQACMWqKv2H0s+TiyczobvbFvJejRhAfqjG4ULwjLqG9qWyOvDbz+NFdascRK4evjb8GBHMq/dVCsw/s3TEYYbksmWUKq6yMQeUHl6y9qloaTNO68UiTG1aEKb8n3BIG7rdj30EdGbc+snesKIoVVlCK+Dep8OaWz/Z+JFWs6QYL3d1Ai/KmyOqW5BDCyuolm42CIDMX1T5QzY0EV0b0bjCAH/qL90wBtGWSLNx13l8zTLRbWXTFWdee2Qfdoe9xvzoRVLpQPgwA5HhxuOoXO1ueNbsm6uzTPxFbBjVdADDiHqHt+LAV/iSVQPmFyZhLIFzq7VY9Z/vt/Rm9EyqAw5ZjlqXihogdYzUDE+wpnpWK0hniS/hu8iEZF7MEZwXPgkWUjES9q3osE0uTsk2eegJNyzJL9E9mCEl1fsnjzympMN/4iJYEPwT3W3ZuZpSJpaWSx4XJwh/VDfRrNpWo973lYWDsHX53JW3cCoFr93cMLWoYiwMy5EsCVsQfi2NflMHCKrzcOLBV0ewQ4u8u84UxoKXJzM3pqPtPHywvDR5lSaptEYSZx/gF8ZIqvD6J0HsdKfnJt2lrVQqeilhAK+OFyhDTurayqM5F8dxmOVVUOgEt1t8WLkDODi2Zl7igUwAVkopZNR87bjACFf3hK4KLdSNbr8Wr0xA4NDb9dj82dpR8fEGnD0BzGzQA/4BQaZBK4Tj0YIOmIJwWdz6UnJdDbjlZ5uw/97/FPox7Z6mVWVr0z4WG+D8CrEfpPsHsBKfdP5UT9c1K2aMQrCoezU3/c2PNsRa4o/gUysU2yQirbSYqn2xJctf2m7Sg7qCCuTXUNKi2VDdtG9CIfnJ6f66rY72A7kbEg1yZBF31YXqZ1wiJNltz8UHrW1O6wRZ7F5hejogqKFDG9FI2aM0FZWBVN7kV/wqWOhEX1G2pbvg3iesygYhfB/WsZFfJ8PFZbS2qfqt4MpuM5XbZD0G9/QuTNNFh4EisD3Wel7nCwnA9dxOIOIear2Jl+CRKl1RrRX56k2PF956Uf+6sMGYh+r0j2dha68C1E/ur7xZmGwklPV/AeDPFBrMLfiRO8jr8PiSoTFdHGRc+vEd9+20d5qt7/frf02ahTFQf+3lBT/YLEFChzFTSEOgYIv6XufCvqYAgG3PVP/4M72ypc/BhVGxV/vZXKM3garJAXT3+3djI4MBAfz9rEgv0B12uiu8UTt3dAX3dkLrv13fVdSgE971JtOtOvIY8SUHaxq3qlXru/xk9yOCjTpKMY2INcetLXO5hLHixwHtmvtaa2ASMiXTMIT4ohrkLdcTafPcmXWNETJ9rNzhpg38th9185glxVouAgMbtKIfxNian8KwOtmJ/lIe64qrHtvylw7xoCkfBpRQiaMckLtjJCzXvulOaoWVdjYWowdpdfp39SeY02JfTsOsO6B+g+sYANENV1yOkuTacrToStrwinnyslw5/3FzE51OGBgIFNG1i2WRlMaWOaK8NDqwi9IlA+1TekslPwgkqx3Css19vJeDHdkF3ooVkrGkdOEraVS/CTlfkF5LmG21NS+0UmtbRs+0qYRhlYmp6jvDqA2WJFsYh7vy6+V1Yi4AisB+7XFtXZW9kL1LDIJbNIMytNZMXwhhcKPdRD5rk7QtW1+/KZliwtSQmYfpxS9MFVzOdYj7syeFuqvd+A6a0Cux/v0HQ/XQm4JSiFigGl+QKZVlf/kfSXIKICL4UM5/fuWLUTrZ7mB7VE7fduGR9KNP2Myv1+yNbIkjpxWFz8rP76i09qqfcLmch/E2dCZrPutkyVnGmeIn7uyeWze8EgrwLRbjn2Mp8aA/faAN4CGWKfA1zgHYNssBr4vhxQ6lLHvhxYM3HZFt2U2fIbrT9aKgmj0mfnL1cxaQy/WnGTlfPPQ0aPBLVDASCimaP9E1vYEGWp3y9dF7QPdP/YqqK+GFeSG1M9JwSpnZp46OYXWFikgxNKdBlj3sd8PNE9Um8DWzyRQGoVwPeu+Ti2iF7jl6E31JEYDMLlGaWC3jSs65QY/A96hHq4aH7Jg0xwGSCfoeuDi3O0ilwe7vuYiAleksFxoOj8+lWivy+8pIdoVbYmCnxoVVRtXpMAXf4tDPJnjqxjf2uJWIblhhYYJVDkpKpZdqxdm987Kp+bheZ8BxAb2/jqasruPkqxVnCQdvAeK2cjVxpWqm9nW3bHOxqVmRI85MvLiYo040hB53TQLz0ZiPXtUZXHt9PG5pkr7LnnpUZSZtp6+lXPuSKB8W9wa0kR5BCjb+/OVyt/sGxWtTvWMYWV2Lt+6qhQvD9t7tKELwPNku17IQQguvpmBHLF6Q266+vQ4Wp/v+BlM9Y49a5RoyNdivaxBRLAiN523PJaWfvgXk8zZ590gG4GoSS/Zcsr8VklE/whzuRO93rV+HYqpa8cdCE88UP4jRflYchODfKDr0yTjxuKL3qhJWOf+Fsps1ZiIuPEe9CnNrP0i7jDI9icFRxmZYDXuUoFGLXVzbKBzzLbbEU2Bn9qP5z9BnV7IWM2aVw8TKUe0dbr8+SaH1eKGQorFOlnhBdQEE86UmdnkQEPYP/8O59riqviDD8QfyFRvbcmnfzfTMiNZYBUD8gzjbnSO0hpyrd22/eLsuH9trhOjgx7N1RN5IyK6joAm5BW+dqnMgq7hIGi32Y8+pzKjIw/xDH978h3x8l6j9SS/ST6xHlEcihD9VUb3mpH7eFP6nUiaDi6VXlUnnrXCPEI4Ci85a8hoOt5feYK7AoYrwymwDyAOVVyevz1Msu/pLukNu0GLNikNMJn8wXHWNghfmROi9aFAmu3sF+jn9gAFBQg2BDmW5rrlmIkergEUsZ8LWdanbTQRlxAi34mt9tfeMoZ0sKdh8KgJDOqJQWLMo/umHTnwCnXGZ5cnbFLv1V4Ssb70r6wgKMEDbFHNixVP+CBTGlfw1hHZjMmdQjpB+hACgH0FE+Q1vtsI1+ZEdfMJMzVfQ142E9s9bB7BGV9xFp3MCW2QfchPNfJF/tnLOz2CB8STj+xUDCdaaJZYgpnvuA3ajfAKudnkMbmV/Bj++CHoW0wPESgIRmPwSAMDTDjJnzKhtmwlGojGJUkP1dgKc5SphJeXUxmzK6oInjmo2Ha3h9tVIXPO6sOnYDt29SYNrM2J7gSzjobuq8Wt4d83WrSnVKS0Zgm0s5tSape82KUHYP2wyOa3e8fWrNj1Gms+rugO20JdkM4d7igZjD02VQkYZvp8MtLsQweTN9U1t5IPkmlvNezOQWX/zPrXgg4x7LnFs0TStwGSg/5WAGjVYo4SJitKPcBcQ7XTbgpMNBcpQdjdrZWjHx89CYqsaTaFjEvB7Mge73d7eGsMO4NbGnjxyvWLeOUDvvnOhHWQZuHuX/Oox6ChiahEfZ/apYbLJ2hotgERZN9ukU/Flr1KdyAzoULLMZDZq86zd4ruDXDDW2i/1XlLEHJL5WnJmrneWRt1KgVzfZDdsQ3j9Bqemp1ypvhvs9gOCnBXnjrHrmqp7poOS4NDeab5AxQ3UI7uAHyVM8pQSz2qElndiSrr3KtrPQNbryNGy5IbWLcxs64VqfTbtIMjfTP7SXAfLMnXAmsRRwS407A69wPhxxRErHqnc4/ZGYkshmh1VXDYMuAoYSDnwBw2L4LRGy0c8Vl+F1BG4NkytcmrnOSAxiKfAa+loHRJ46pBLS7Joh4miaCCNF4vF29IAMRFNfC+YuFqtnURk7iod+q2w7c88Hz1he1QutcQoly48he5t8YLMZFz/DgA1OnLU2j2j7LNDkTnbTgJXfWd8LD747Cby93ULPXjpVYUuqY5PcQ2N9lOrEVO+V3dKVGjT5VKAOg1xY0AM/eVbVO9iadM0eh8q30zIe3XYhhsUlprd4Zs4edyjHhkTu2yE08f19by1RnCCHrRK7tLmcYiwJEK5xad4lt7HPZCg/MsDZnDIRSBBH9FHcS5hfnMm8OKmrleYzDD+QwUnA7q+b/fLcOqmcZY/bgh5CVG/jgFxmUclh1cDvtntMtUFShyrpr3FEoRKG5WzyhN/N0AenU1o/oS1IHDGbdbwoFb1v+wNCaNCwzJUNmeY1/7HYPXojMWrFCDlKEEA5stNlNbhO2PFMi9gWo0ooYpES/lawfnkx5wS4/p2uvglWRXH9pDCDiX7caVt3VpRSXr4GtQQgETqSSUfzXRPpkDOy0Q6fMYP3mLekBvznkSihoyskxCworvJiUCT3aWraOqeqwlWCzgEi91mSvZ4hP/u90B30c6Zn5dBxR8ogD6vX7HcJv503IgJ5clx1139APZ5egvUXxGsAIbozKq5OaTApkUpWmdr7q+7FEzWLNSKEMKKqgOB6zsz3hNO7jK0cAuaW7DK61VNNDfW1LQyAOhmaaA5el7RnciRLGq4Iwcw7d3FxrT7F/VWkAo/Adk4e46Srydx5d2jLhzx54xK1CtrEDn133bIxRiaGr0qwxLj3vw/mW2o5Mnu7prbAxzrJLjy1WG4/vmbdmdXZEqIK2L56EUmC4uqgBu6DDDLE0ZNTg0+92+0MpOr46NB9q1fOPK5rkXLMpgdx5y1M8OsG5XoPYARPq54d1uGigd0CHne1uFQXqtLK94/f/KDK6qRaLHMhoIJzgEsYeuyEg8KwF2JWAtPf5gTdi7/4IQDNH8os9iKDPjO2oFBM5g1a1sd+M+bg92OZyiJR0ced8xJ1LsG2gZOMcJmMKZ8/pjoFJ7B4khiNRXqldr1aBigACxnS99hATEsxZSRp9qL4AGmvbhH7eyjPKvJMD67obRa4+xxCj+PJSmgeb20TjFhjPQREp59c/Ot1FtMrneS4MO4ytPLe4uNHrBYRwmDx6BmFsevhh73Czkn7AkaYU1TGKnmkODXVE8xMV44O73/YFUZrOBZjotaWEu3ppJB1VWkmDkkxvOfA2yb93I6bJEHXjJYLQeQ/oEpieUGzXqdezpc3hMTE+PGotjGQRqR0rlYW6/L5XSylzd5FgVmy3d20a8SWHEcDV0VhSFMWv/IhYc/J9rR9/Mc2jydMPRkVusSK4VXCHk+SCxd+ro2oxhOvH8JbUf8Tjfz9vWt+cfx3gJonEbQ+TcNnxc9OSHiD4nTl3f8auRfYY927wtM+9Ub59qTUAxoQcjm0FsU/brjmBBDdJqALtPTftj1pkBGQKNUkcp1fyUN5G8iBBqbAfIyXqQm4RejY/6G8pX9uJ194LnL/rVpB+Gz3fZGWCGKiig3B2JXqL3UKif4yTkyRqYfs2Ypl7AZqabEQ4dHF83FUjaGuLVET3H70EsDANUdkEMZ6iMbxNcv1lD5zXY5nopYQqQXjFTbYT+nBd2SQEda/5Fo5BT8uaWaayIm0VgAZ0CCXDT2YQWUAs1AvtMhT2TCBVqB2uzUWo3QWixHNYhfb3DPAjd5nt7Wzjg3pJWHN/7qw2/WfGhJCStcBSLH1+GCG7yrvmsoEwgZ7i7xrcegXQga5xDRm6V+UxXIBNaShT+VYefDCmbaQ5NJfOagDTEh9H7zpTkXkIgvW7c1UbRkTO4lazPxfw6Wra5tSGz0u2r6Zj09c7Y53AUBCcjT9oo4qNnUaybsne6/+nqxABF1fdJhdFTznvihUa3bsBa9yjq7oDNzESfx9cZo3GswUIgsMv+wknWqOmqE3ZQrk0beHLlyXWsLkDyqyhZmhqvyCbR4RnDrdYqXDhzCr0XjPfvfaSBrq6oJJSX4YiKMfbjYhN1lnYhzY//felkdp+doQMhH1LVOj5KaGDdiFti9kCiqV2obV00hBx7oILG/0HZ5D0OG5XL+Y6WVmt4Jq2vrzU++w4HjWCwox9Iqzp1VpmmcCsW1u8JtVjvJ/QwG24O1n0Cr0HMlzewnxrAEP6QkadVfJEdQLkGqhVU5KUGEjN83InJEsZYpyJbZ6ETrjUFdRHvzlhl5mHmdt1Z7v/5onJG6XdL9iiVUhGCPKtjq/laa66ZTZoDu4xP1aI5Dq/CLTWnRf0kI0gDz2yiy6HPIlOkL1ArxE5p45RHjMkPHbwoMXQ8GJ2oGWV0i0uZunA2FTyoB4u2Qzci/L8Q9aysU21NR9OuA1gJ5yU27WGi81ENFihC9L64e8v6fjDtPk7cjnPegUm9KAoorTu93ZPonta5cBvJ92URh8x4SWA1J2VdAD2WXMwDtHWgEBR5ee37IASFNSDHjKcl3vrQXn93LZlbLTAyFmBSTfUqDAa5F3mDlGo/cSz/Os+nGZzuN1gQmcvxXhIktai3OrQAHsPxd/k4CZI4WisLZhqQaOV4Bsq9PRBktxAmXkdYOSo++mIeCTj891/A2BIXs3vL5LRho47mbrx7ZZIPvHUVkzz2nzuz2tLgthlI7X4TDFamINCzh6M67fhIHegecUl7Bb2GoqXDtMZfjPL0XYozWtqiMEGgG/hcjQwKOMcYaXpV+/7XNHHS9/u3pSxgBexRU3MBKVAjNt1RfDMzF3PxD4Wnwzd5YwJmvBjHoWCnoO3X++LBVOoSbfyvEKSEowGn95QVsMth8u6tdwT+5mjI6b1ojoieVPJemNMutW9UmWol02EqDigG3dCqi+PjrRYgBTM5YrWO/qodFMYSUyg54sgE6D2f7Y9yf382LQBpd6PYY/vXGLizPCq1KythzNODFz5tC6Eih6vIO2IJaGqkyoXncQWiJrLTxfy0Rd8dLN4W9d81aN3E3UOgTLNBCSVz33FGlSRac28Kq2oBFTnPsr7+copGNXZKM0PcnKXckFZy4x7aU9g/8Zma1CGsKGDKzPnSd3vR4BlhNnr0LdYF+QNODK0sCrWGVRKNvXCe6bYdaP0dOQ3G6ubiH0ojDJEDNSjHm4DeXJRZVGaM3nZIUl6MzFVB1gJyQQnthlgl+ExGeSdTXEWqJBk/Q9mfRBDJYM5c5Xrrij8rZbmFsTFa3qdWvCjKhHaAZ3bPPYRVf8kHY90vDKDhqMtw0TsyqVT9w1D2BfIR0YIb/HzAuGcvoBmBFV8WmVONvDASpT/q/90WufUqaOHmQmLW2zRC8cW7wpAbM5qWEqizRb7zsMcYpjQWFhgMbvdD9FsbT8AjU2ZDRVFBwWdB2Y/24eo59eMDa6GA8QECtp1ikmZi+XiMdghiWDiGsyZFs/uC6UmpMjvlNKlmXdd02lN3v2E1zQcF096VTC8gz2zk8mM+vClnDXaVez4O7l5ffNHvoUpg6ey1wjP8hCQ5IyFceaC7dYt7iXOp061A3Ppj/3gwaC0duHQFDz31gGOxKRNkxPWj06H7+CvGZWLs0WCk9xwuLqgeqphEHc9uJDUKY7vCNq5ZYsHLy9H4p+XV7oz6KhtqOtn+4hiX84yXKOgA4s3IYly16z+3+IvOULsDxYOq0q3gm5jS8aEUU1bm72hWZMYZ+nKSyYVP4W9Dtd7hM7x6SKaPbqocqyDOZVzF+l/4pFpvqd6teJ1QwoQpI+M2QxO7H13IMJo4tWoOqQK/aomluxMhyNPFmjqmpAVhFUfuB+dBYI2DD7orp3wG/+z9GYAfJUeixauTL6oL2cWOvanBG90zPpHjSCuSXvelp3KbzKRjKOix8TquAZRDXPDZ8t53vplXgciGOrNR69Lh1InMlODgHyC69OFxr3SlbzwGvg9yARCQ7Nh1z5z0qHDp6GAtk18pC6t/ilJPx3BA0Ny1O+h98Eq08GVVOHrY5QFkENIhaeB7+ES26DO+3do3jBRKxujE9aFufUVKe5Oqvaz2Rtj8TVXzHrpiU+uf/rVMXMRXYkTb+wND+RI45CHVYVrU6cb/3gyUONh3UfRpyedAN92NLl2XmPi8mFAFQJg6j+isefaHfJihzcldnzQJrp442ue7uzLCReylKjhJ5ZP+hexhAfAKQ8/p5RRIp8REe1DGqRX8mbBUx7E3znOvsyvMq2m4rKU5mJm3U2/VtljZ/rOEm977ay3KAM1lu9LTYGnwB+0hUgBNpAaBmLAfP3HHqvyxcoPceY40/EbtxAiYKz4kL2u08c6LvXSgxQ8u0+alYmQ4R7z9vrFPeBQcN7zeDiCulPCj64aY2mBLck5zQgiT/n4IYbH1QnAuGjrNBVhrVqB884u+nq2Lc6LGr1fozbLqmOxyZihfycIga6UpZUqi+0VHoxaKi17ADrdA5W8PUqx4tPT6TR9ZbR85u+790QNsW/a5PaOAFLQSkQWqbTboj1PnRA1gDtmcy40umm7zMxos9Txvp8KXAvnfoibhULztdh/rXaRWxnYe8siJaaYxz76zZy2rGj6NcyKoaH+sTvPJJKYQyqAgWLVbMcQTaM7QrsAu++1LuGfCrsYgbAaGvkob5Ox1O3l7ROyYLex5WRyn1KHuNQIchE+7SCRjz7Zr30gZQhY82zyVgaTRrPRGC4fbEgk+oQ9mG57utiI1w88J4BvziNvXJUVqkHyCC1cDeNgI41WzpGg7H1g8wnfOBvKHaVxshAu74S9yYPYp/FdPPRMsmCLG19XYbaPSqYecpvpHQmZAnloCFbepCrtPWaeBGbikSBHVm80p6eYwfJtwBsXOR05c405NrqhMLgBN25tF41EbTdHITWYx3FGM9dmPkXW/MjP3BuZMOz3Ad+rcafUPbbJVyEjTHM5VG3dGYoHDQ47M4tyAQe1MKC8LuIKZLD2MtGwgHptJ2WtYUzo0rbbVI+REWqe2crrAQ6WfrGNE8UabmSNqQGM9nUXAO7IJewRh+AaVT6WlCUYS8nc+qNK7lUgZbROOXZrLg2HI/CZnzz9qYtLSh6qkLpXrJJiPs3SlavpiWXNsOqQd4jSN0RREpRumxdyHQg4EqeKA6rC7NItSeB+ZeVKQm45+FlzNbk9Z8mFn0ngWlTyKJ8PRu/zzj0MQNHIEu/h3kpflD2DtPOjBKwn6C0cF51J9h2LSwEhlFdXh5/oYxPQqaWZn8c7+LFW2vDn9uyX6LBOBGZbsmbpRFERGP858TQYHLyEfFoSIIDtYLqQeC1C/DpBk2jbTCrfzdOZqfkLiAJaKehiShB4JkAUvtxrG/RLw1vteOROU9xbUMWpH6O32RzvbI7+eidgTpgYd01UHX3PW5PyCdcNeseY0tU490vGCT8Bq4qJmy+ZoSIdJU9wnSGtVy8nIgCHxUmpHyutcjRtsCSKnP3N5NcnQoTrYy6mcG6cDsULgsBv2D5TfSEaFilPie5XCTEgMHhBhh6L5tqhNbb6dMhux5SIdZAcYMBfRRHR17rtauEy52t5aYppPvB0lg40JVhK1g+e559gCKF7pf+YxT84zizdSBao6TGGufdYaPTInNanVwwSEtc0G0N/kGYWbkFah6c4leEsuUI/AaHxBiZnxM8HX5PinOldlo5owIKsWxxIMoV4IPT7u5OqZElPyDheFx3qd+ZtBE5WP2wpkdWUR62rk8LcDEmCjz4FyKeyB69UxsXiqDE6mki1dtBmjxlq8DxDGKip1X3AX3IvOSuIGYd6lYt0gaSd10NDDkXX2PE/XsO5/XzO/tP3fag2ugBYeprJQ5Ju5UQNewLjbZctQFUI+0/vSDuX+eojmRcak/GUmF4STM+qHC7APxuM5umarVkdcGb2hov90iZg/QBDBxiOKd1hqJJfQdWEV9DrVgF3/D/FKJMvacZ7yqRyPaJG5U0Tj9Q5wGU9JpiQKWegC5gzHiuvXTWIq0vdj5CmoCcl/yIH+HhjonlXYNkkNUjmjxQg/MrwlLMDrqnjllp2tYkBzyByolOsZmxj3LFKo+R/+/pcJRSZsjkKn/kf3giSHzri0qJOZgg2PUPfBqfetk3fVUIxGH3bL3WxhJLHY9bGNxkd3A4BEAqFa/6NNM6f1bntaxs8QPaqaIlB1/i6NSu2qvxq7ln8QOxm9kf/Kh7tnIQvQEiNz+y5yup53b0cAqmypMm6SnKfMHkSCpLARN7XT6P6JE9b6J4nFDXF3lI72omybwL3SxNdi88jgTyxV1+K5OssqTYz9SFLcpNfC6VjGODgs/8kPTyzxT208ttFCeR4E5yLSK5PKAwIvR2ZHFtkTKDG1ZMSmEyyehVQBtaQgYASBAgmMEOhW+vyf3/CQgvCEJy1HZ2PXhW748ff1YLrEGXhv2gPL4Ioc0md3AEHdrUg/wnbEYebMx8ytA8kSV5Ft7kHbki6lQoLRsER/khKfNWzGxJriFB8wEDNlUIRgvsHd/dYnP5kIIx7ObH39qGyquvbT/VIPjA20Ws4Xyj/slAT6w04JXIJvHnfVmisiBD9EFSmRPO3AmhjwjtXVLIWb2qOKBGqt4CJztfbHaKA9KipUk8ZCvtjMLsPv1dN6o57nuuy0JVFo8qlZImbudGVRoWBkcDzVTpmWfu+JrhWSu7QwJ55Nrk8EgbgPBSUP7PeAg35jmQBfw/tFDsAx9yWkiMsOA6yNKxPE7K2gIeRAv7BrOxXxKHjbFyGNhzfTRwaZAJQGbcKP3MM0htTylRgZijnfRkWrbS8xqYXToMqaGWJRkUc6BSp6eyrqDdyBNNIxmyQhkaza440+BrV+Xj6EW8Dam4UrTdK76wADwQpot5ieWQcmchCTAKxF5hvgrObshLrlr3upjKRrvlLCxQUQ5piT3+mzBIOK6atIO5Mq6d4g45PIsFWB6MclOqMoKD0Mq6YDHhp0njMOH9P+XASXfbYhazxUJf6O95IUdp2le8aZU6dcTMA7dH9kjM+Rt/57ge5qXZY5AfmdEJeEh24TL+/kOoEWfEL8Bc//HrjKzgULiDCQcHF1kCqY35OKB4IwSGwz3YCWl+X1h+g/8FJ1boA90lUpKIT6FOsHEhqS1KPs0T7Hd3FlZJdDwi3y/zz7Rhx36V0IfGP7x/k6e1zCKxIQt6lAc8BNKC0pfIdZVo8mlzGGViv1JnwrjQ5P6Bdym1Dcc+phz2lj+LSh6uXYp+pfvArXMalOn9g1s4oBYQJg6bDBQprkLv7qDT0b4aVl1Hs5SeZ0sPrSoOajgz2t8ZEew8IDw65sSz15YbpvFVxjVSi39UXHBxE+Q1rJvsRbgWVd4rL+znpqPbPcIoqBNGpYeZkFRIbpjTjt/hmtBApGy66qp19zSn7xJtqKcazD+7u7zPUY7txffooYcY+WVnLZIt5XwN/u7kQ6/wB06wRzgdaYVYWZW2lDo90zWAUgl4tIFE/1EyuR+2fziCSITb5oVZOc50JfPN+7kchmxVA5dKyOA6vhPY1KfJmab1qyEc0B4fgis/0BE1MK0LEX0WvufsZKrieFBbFwh9BNYcUs/FgyNdYA9oqXqIqptDgSDuHlh26hidb5QgXXaVZCUKSXb2Xv+qTp28mg9SHg0mOJRHxsYoDEuqkpVbKXN3agxILEFFYZzKAWrP7HnEelpKr339I7tagcubeP+MV0ZkUdnoZt2adTWlT9lWdDDgUh5IKXeytNs5HZlRZG4XqfPAeFD+blm3XojBrzDNaAKy5YnvRxr793CsL98fzJ9Xc+hfWAJ8stPKwTz+CdFDueKyT5KmjHQJBUUUkkNPSDCOdcplMHTXX1lDx1vzsbrDuaDid4NrPWbndyBCaRfHPDK1M9VYeZw4ty+UGkPfEkkHSkDFM0ajLT+3p74aJO0kTkTiq5Y3A4KiS9oD8Oj8L/Vs4HQhBMuGKp2jykLdQRZZmTZ+JE33evBBEjB7vaO+mXMFxhKlIGY62RNZoVPl+9Lc28x+0LBnhpzUunADvym6R9EMw42+tbOWBDNY87xU316cJ44Y0s4CLDdPQuUOwA9urF/qEyXhvNWx254NKxwEN48fk1OwDHvJ27fD3+xq9o7kvWQer1FYaeiV7pCKsSGvFObboDr0cpJbVHchTbEU4l1APj+vJztD5FVF3gMi6A5lPDVDBZzFE0BbjfxJbX74GaFJ3p5EYMKU2m5TBJKGIegVY3d/mXwZaf3FF7TpA3M9zm3z5krzh57e3SjuGZLNgYLgPKirD2hJC9834vv5TPvEw8JFIKhyzUuHdMASfhXO+BuhnNSvEUJjUj4/tgPiYilQuAi88twQtlv0dNTipyOTSUd6VR8ELvWFJ8B9xHCdUAfKBPv8iz23/mFAxy6ApbJRJD5l4lRfQwd+toI63hQQEsjvaZ5xvJrFdxnKIH0INcFVu7b695h2rmPo1DV5EcV9pg2WPrseIpdXOgRsGVaUFSvaRfHxIUb/deyE4jgT+EAKgn6vBr0a2z5zYoMyIOzungQLeiwfndab4K6203P+tYs4gLvwxvBDEapGYEj4kqMncZ6ONwcBNdAw2mIAUPL025INiuvfnmEazN0pMynSjKdghZnvPno0esjuD7C8yyxXVMsj2Vaw7PSH8N1aMASSCDgSonoBKGovvSyijqZ6B6Cdk15/K+S9D0TFafNCD1lNiBY+T/WuCHQoGz/FxzC6fsOt3uKUN2dnOXPpOQo4Xe9q5vKydMniNiLs8RyehG9KabVFRDB4NJ6Dk0hguuGLOVoTOmEghIDJ8y26c1QtdjWlTBn6CMws990Y1f6imcCnNNM+RYjOPsvr4dwqMN4gdWY4gBzCCfLeEKqGEoSpt29poEDRmTwHgyXafiOUtl7NyV42APpvushtZmiWZHVe8T29Ip1EEePvyLncM7Sqg2olIK0/c8Ux5bPB84vDS39wOGDr7i0rEPzmUcAYAda1RUXQe6d/eCTsk2u5ruoGOFamoXN7Oj7U6PjIjYJnvKQAZE1wYZBDxXx0mzmZ7b6DI7yOfE3xX5d9AetiOMb/AUkJf3yahEimcoeWFPFzd7ECKmhl70BspEIClLFklmUWcZTVTYUeYto7BF8eahBOVgnXGANV9Xx3WP5wGk03BynRvIFmf0AHbdsXQ5ufPGHSeM0E6On8LMchxLljV7SyAEiKiydCjkHD2o5JmH+7QKbtxQOpI6BU3cABausDBcHi9UtlP1kmJ3wi9AakORLcQugWEEWSCvsWd1LDpHVFxjFfCOCX5Pq6puWzkJN2rZsc8uyjRdf8AII6PpRdAJt756Db82D1E9ls67kG0L2YZy/uHJZBIoQT6krRd0t1AhY+yq7yEc88ZegB8EyY9I1tji9kHISwFNXm4CHh4hmd9N68KxIF59HA/79cn9VVddbljeGHxB1XlQKY8hb/wKOnWn5cInNa+xsy8Siwe6RGr0HkdExRnEUkKvgnraBumrHCVOA5nrCJVRUnN+bgglaCWSz0auqeOQnd+QObGvOz/eKaxqKrfsvzQ6rURDP2PbWomxHYwBdJVZQp9unNSf0QV3WE1+cxee+MgN3IGQvP9FcDtHKOA1fcbVa58Tr2stL766GrjKCvYmjcUjoQ6ktKPdxfmpNtvjd0cW2Y/FV8y+Xnowx156CsnnYvxPKda8lDQ7vZc1e0xBEpeRixLnyZVQorHMhA49R7ITg7MROXzcezFGcAJPmhApho9cbdXH7f7O/3FxJrmhlRENr5dV77cNjqqFcYmkI1YGothPVO7APPZEBb002iYu7SEHtbBHAk1aCTeOKbje4LAf1eJ20ljxFVIABflr+xNzpICuUyqsY3rBlQtv5FaciQGVIWUTIxcp6ZLq3n3b8g//sU5IRh77K13HkeVY77hudYvlBcC1pjoENZveaC7bMZsUYurYhjgXE7ODDty5jjQzlOGvIWGU8ZrVHpsEJQes5GpdcpKueqr2U04AZltn+a/eh5l7JzmcGiOI77Q7ZhyUnMEEEh8RD5sYOVJryghtLaGZtuzSUf+89uA08/LaQICJ1Uu2z1SCI1jQh9ckh1SyQU0SpsYvw0SineFgmfQADFzGQ3pGefWw6LBMl8s6EPq9iWbR2h7mPCsjg9F6RL90b/1bLav0YYl+Ro6rsdhm6swjvcq51Z4NoBz6Y+Qyrzq90kmnfQI8SIjtMka2MvNsc78wF6InUX7VXKU81qkvJDfqIFQFWb7r/poNqN9aRTx1hIrlGnVG9flc2E6IoANUoQrRe2HaCIZCBadL+mUr8BoTSbJ39kT9st1xjZlbhH1cMTnsARii3O+blxVQSxFEA1BnkCLzPtH4OwXa7PjNBBBq9EfaHNHEH3D0vI9WX8nKxV4yAU7j4Us/6svvXGX4dG8FB+wwfV7Kd3YkpAqfRuN9U5rmKHqzNJGd8gL+5JjZTSycAvB02TfyMlybTJ7HjGwDUmFpfzpYthDXdIrwbN8XETOo62JiT1+a6w/UNitwxgTL3ILCzkVW75httA6i0oz5noRfK9v1HD9mMhQgAHJhj8sbvjzL7iNESoHPfx4E7O3+qO7AMfj2CmR1D9msplM3uu1ldylM9dhQvseFIFrxpdfZI235Tz8LkOtein55zGJZ24DiOajmTGv4EDvR68ltOwVijQvfGvKn5jKQo5zyTQ87eMYHoPq/MHWo3c+nJgCXI0HP3zvO5y3j24YMPdNXYvIkYKxQYIGIN+vt/PZzqTalHsX4J54UmkWTRPSnVUeHgPl0P8VrHxUCiZYUmj7xllVYA0C9LEzFioetYE6/MTzcAsS4RtKwLVefcTLRlRz0rDIKhY3MgasmokXDpo+LKsqLQDww5ZTnFJHrQUjlriouyb4OlNU0RmlBEIXo9cLQAMdLC30AeWIJPzOFjDFsz/5v1gnQ1aG/cd90s0LDt/bJ7iZ6y29/uHpL85cHnwkfLaXONiJ3uIsPzfQeXYVvw7UePtLhdyKFkkrFXw6DvGbYqpsIkphsvwGR5IffriSnzON3rbNmk2FwcLW1ePCLF76vAAhjJ85QyOZVc5pH6E2uEXsOJzTOvs3zO8+n39Sv3+y0Es2ur9tQ5QETbSCPLp82qtvqsCKOKpCOHMAIAtlaOmJoiBqrk5L2pPjfnwNMigAGm5VBuWOZAkcbeyJQa3vYfIShB7Gbho3L+VJY/lQXHAGXf9rk6SwmNVVr/XeEfFyfBjFFZuEdQEHlu+VX5jKpJeTDl9VcKOBEe1XsU6xbfvF118nGidLEyLxnoc88MlJBKM3uNP3b6TrcBASrQ+Py++wjgOYXxFBubKG2NLEOQRJA+ImTwk3C845M3hbMrwenzsa4SXmqG590oq2L/a/iOZuN2T4WJkRDIPZP9ddA9YjfL5Qiuq+UOymPfohpYTxfordR3glPaGo49PRd4VW7iMkJkyLA0PwWEusFlzkoMe5rk6jxoVUzIj29Aw/Y9e2cnENWXFZkInizFwNAg0FpKvDxpxdaXoZ+PorQxokk4ZsxZU5X/pVhLagk93lmIr+A37RGWLsCPs2OlWiJf18iDNLkHXV49FrgOMkwMQPmFU4EQeUmT4cpcOktcnKC4duEwlfv6fiu0QkEx89DS9TVYvpAVgCiZ29/sONVTghxNlK/6g/+1zcHv9/sXOsCJqaGSFv6bBPY14/tuntMolmZkTYW/ghTKEhFV7/K+NVPUTibZ6uAppC006pgfU/GNlA4GN+p7HtOSSf6/EfN/Fiu4pN3xRow1JNQ3sY1rOBAis17t/Rsnm1bwgg8oRew5TUiFo+NMuMmtj/rwGhuSMYbAB0Vms/dirsq5MIuSoijsnagxiW6RoLEFRyVwT72e7Z5WNgEXeDNcX4ww42cBBZamey933zSqO40TY5/AqQA2mjieMNVZ2Wa5lzelQpLhSIYysTzywIDp4eLJqxQQznpYsmQ3fraXm07d7UM9qWoBVkF+PyfIhr2QrBTWg5qmTKvgRb9cbGD8Kx1GW0/qT1FfF65x12WWluUxwRL5aFOCa75n8xAD/6UZvdZ/g+z0Wg37JPcEFnmsnWmxuQPnxiCfJVowTTq9b9efGhKfZbd6YE9RW3jEbB2WHueHtRnUvDu7TF8y7PB4ABeSR3Bbux8hP+SDNNO+Daabg3pgXxQ3aSN0pT9P8+Fvz6s+6hVIHMY1tdNU0IXJHG9eRyIyLZa/ccJ9nAIxrojM5O1j2j5T0KxHHgxcuM4v4aXCxpqBEqV+AL9jsR/aodR+NqrzZt4J0JhnfNiM7GyjGAPglQ3PcMCbwD968ZWIx2yB0nTWAeZ2FjTBPoOPFHhc+IRry6UhpMSBa5sc1hMdTYSwLGSidJz5UdXlXuxjKBW861yYozV/s8VQW0qZ1Can3i6gZW5TfrsRJwatw6fIYrqAu674Ly55rdhA5UMhreW6OJhwo6oWOFn86jSE5Xmkdw0bl7WwL0q1H0s2cBQwzCIU9xAfCFlDSorPU8hsGsPMVTU1KeZmbwyLVM313KkoaVvbHfQ+llHwRO1PsEkzQ63s8QDP7hV60aKJtzlYi8/QG17Oj/9E0Kudz1ep+h3P4iGPKSDdafTlTJIar4ux1BaWxiIAPNwLdQnsVZKczEueVZxon2ErqCNuXaHt3re6zA8qiAUgnC0n5q5iMoSSL4y2ziZyeJj/9V/PqZ5K73l/cIgdWwjNP+R0n5pmB/U1EkQLP93sALa5cBb6sNwIrTFzvUoWvBkklZfwQt14fi5DL5/ojjrTfadabXtOEkyS+iHSH/XtB5rOBYOIDB1hOTJOhdmWWG+xRUr2rbQrStsE/Yh2FIRT8K/6+74Yl2R1kTaoNwM0dS2v4taWixZw3kqHj/+vQGV0JPPfPRiMQNxsKhIwHjUZAl5kLiKNP3EuuCgfIIXw1pht/IgbyW3lVA2UF8eOfvCwwYpisQgHmzFz//kVQDJY0RZqSlwrBUDU9UletK37sb5k/y9nmA+PWr2obyyFvtEmhDx0frhWGKeZqASAZnoAu3d5HKp/h9S8slUPAm6rTbLIOSSEGOW9NQGD6tiqeAwB4iw81i4FEysatmsKF/JjWQ+89BwTccuhX/NAKGOQQfaNszfrzyGYTuNzFLxCy3+mt+8uSXaNZv3L0PwW0X3YF+w+LCuieKQourDpd2cpz81DxGuL3GMVUFV0oBbzo18BnTTOABLscPxUQmqGmI1DysqcFDGS33NASQGjWFBPL//W5R2Y12aGkYyn+Zr+bQIamDxskDzwAwGpSbAdE8k1qEE/x09bjClaOL3IcvzKt1evMLWisLdb3V4QOOeFZJdAk3NAcBcIjAyKLpi+voQWWb/8AuVcewI/F4eG9ObDbfLwnvl961NhsJqFwuUrJV7L9mQWekLkKpOn9SdPH5Rwn+oWIOCgYOBhbUKc/0TMcqBrYCM+QiP5bdoRXe7kHcMX7saW4iYX1rFJe7CHa+Q4acH6WGgVbwbmxXt5rqDLVg2DqRj6NjZdm507Jy81qCxnugccRArK09p2UWEAIWWBIfz99O1Ypj25WLrNpzbvzrQHiWUbOqKJPtJqZuS0HNOusnNdEmaKi4RyASGqbz3h05po3ydz9jRwRX6CFFI3+NKbqlJzy0Tz9uZyMHgbr3RqoSmt+ZryQlwvkYj2iB7X44aEnythgYKRRt9d9Wpid8cWC8+NVKI3nVpcwPaNMvTNeEQDMIVAQNCm1NRKYBtbLJ5WrT9497BgTZKWJ0AB+uaYE8CGSeT1ekgTa8mr+oB9yCq83GlX0rIj9QZuMrsXtCpGamu8HyN+m2Cd9NqbKA+cTx959ZNk/eMHak2bw536vle5kqRyIHkBB9aqbZjNL7mFNag43cNUriEAlGhH4Psp5L8rmFYRs4WI18DPBtMUalTCdf35icOg3PONJwBaPIFQjklLNlEAESkaobLdLU2A21f+eJMtyf+ijj4KksUG6we9LVw3pSHDgvntFSOuXoF/TMd8Twvx0Vbm1eReZcxwGTNvBMRFFVE17E0F92VwPoA4B1aCEwMjgWjZQal+ovpviiTjoMx1SD4ky8thp6uqOOAZuEBcFXjaDb99ihZdQv4QKw+LOxHc/zc/mirEgZv/StA3Qm/mNZu8uE3KgiSGCJAdk8pybOncajlje20jhyqCU3xdRRPk5hQiBEJ/a3lvhnIEWVlU8A2E5wBeNCOJX2N/mOeBKsX2DzViTjQFXBNa9S6CMrGf7GyLV33RBJ8dHOSXsIccJnafCrtvB51eC3AjvaR8+8y/0MoLECYoxJfBLu3c0ayCk8eyF1YJ4bS+pMnp78JdketFrpy3aCh9pGW6KgtDBmAWriB+rFyjH7pPEDr0Lhj1IlYJVVUHgynDtOcAJZJpYo3Tk9ZF0m4Ryy0lo3R15zyJ4knGTDcD7DKljctwffxxWoI6RpfHKDynS3zFSzWO6wPZtiEvrQIpm+uijebV/FOYSpBfgLyGMlsq60SSp9DzsBx+0QrLtV+d0lbGKODz6wdEJWo6U1qJpEjBqlkCyXpHWvY5TrVkEyNxAX60tgkxHncrLf2XnPA1N6KVDw0BP3dZUUge7Yu7j96vo6Um26MyF7BZf5O76e7juyICyNbGuueWF5UEBAMU5RGlIBGq40ZeflK1Ee3RlgnG+U7+jrD+y+PcsXZx3hwxLWZEh8vJUCSb1jUr8d7tukiqLoKyY+xA8Bq+b3KZZIvfYfsanQGwQPprF4SoaNekXuU231v1Ie3ATw6gz7oe6/CZyRnYp6lcKt6VuewamluDX0fyxgbsA17aoUxEd4dVo4fJJ7Z5xY3Fb7VyCzpjag89ZDgDMvNtnOg5+9rqv2IAUPh7Og7cmBvmyiQNcpzUvLXlzs6A2WRbSJSgFNmunZ6buS90oZSOmJm87ysqnhkHltZHzcxaVMdqS2Dv1mfmTZCcP5knQHHbO58nqP4O+NKlH5eNWu2RQ3l0yJ848RBj4JeNqfVCFEb/0qKmdBtezbWhCyzzHpD+Z+B6Udp/uczMoOyxuyEDEOmmv9t7fS8efpml+BQmtjE652+bwg8NlIHWGitM7B/ofekuAJtok1tb1yYLKoxmcNz5flqj+87gMABpEzcE4Gzhq5wjhyJqLX3N9NoqV4dyy3KPGXqEKdOr/P9ncsKUXf/eecWOIjn2fewPFG/x43IbEWF6UXsdROGE7Dw7WhIg1VXewqHj8eJdw+jjGC42QvQkiOWRiNW4TPErwyiz2+6xGgA4U9QBZKeGro8NnohE0moWxa1ioPQqQWYIZwfKpaUcHFbQs6DxiVVeGyPe7aQeUr3Rr21mXhRj29VoGEh4XmDYSRkQbECNOWd689DTP83kE8EAl67/Wbmx1R2unm8rbG8TurSBd9ygG94AWEZ32FHUNOjDJ31MfnFoT5MJuU9VvgJZwdqRGI35JyYZewqGvbY0/yzhfirNvNKCFC1psiLTetvzzQhXYNZlbroTXfmcj/K4oFXM8ZYX3wSu0uIlv9rmN4T8NqdCz+M5sSlYKiVkgDinUQuvTXOWZQ9oQET1rQOys3pAShazofA0HG91tN+I579ZlYjKsxo+449ay/6G+oA8b36mnCRakzgrDLYrr5Y67pRAstaOKtVCPiztgWYZWayLTlq36GupTBhCeEgT8QsoGkMDdx/FGLyNULzjK6d6gdDThTbr58p6EdR9VIU0JudN9sPbM/BzrDS0AQf5+sETP0xqFzouvasdezv6y0wdA0XfkA9LuVjAsfGQWF7QTV0xivFKPCLTUzBnrSxwGcsnbFbswWWyp2yVk04l47HUu/tcJgdM/M8H9QEDDSGZ5UWJIsf8u2n6JsZsQDroeYWNeHD8vWEK5yq+6Nl8WNQReLrvj1FO358HrIqKLQrDtHUtzKe18XgmhL7h3/QNvJGDOoZKS3EnUunjtqu80SZ+0HxRGBW/IfgBBSIMXnBmoEMEsvapcBUKJTG/eHvxbQLkfYy5Iq8wOV1rZWGMcLcCcL1aZ06YuPpwmCqB/SxBWQ5z5JSSw7W4laLSmxyQonDzCdXVsJvTOch9CBxyXQvJ+bKag2VWZo2HSGRWYYgoWbbCMljabbn188DcbXIBmWiVeCM1Tm+HJZ58XjmqZN7MO8X7kQ65bOwuv795uFqB0/PAcVz1vUXyWuXrh3fJEEIcG2D0p5FHt2af20IIpu6MYm41RQD7Gk3+3Lb0oN5ddYfzreLnu0bxQfw9j3VYRRoIr9kzHTdbd6/jcoiNh+lpMnG/O55MKpeGaFZtsWfxk+H9IRi33+x1q09Qd+EI2aMfpRXSFrTyx2RpYB8mqkjp5GftRxJgESJ/b5tsMmeAxE6ZVB6sVzH4w7oTarkEslnaG4YhvSTkEQu8RjX0+TtfFGKi/fo/JegTiMwv+7Q/roHXnb9BJjGApHSb5l3qpTF8Q61QXnr55THW5DEjeWgs0WYFoHJVBx6Zwe2a+bLs2C2Ul3qJ+1BattA1aVJQQeUPwgivbruWKjtJMdmEhcyEmQmhQqtuhka2GQH/3Jl7EKbIpGHdNor5uyRt7mUQkcn3bCxi8VlagfoLHKvzYHUYXMEggyTO2AAv3L2Lg0Q6bjzLawt3NDFhW/vijHw/+kDiEacfUr9s3oYGCFeBQM5mYhjAHd45rzhyiCuODd2XxikuBYyOijz7/ER/rq+5wlKUr1XTwJgHLL5OXrAEONnh2DHIK9FZnz7Uu2iH8wcDPaIFoes8j4iyfpAuciq8iXXEJRPze3d/yzncnMgdCZRVnABHePyXwQZw6ku8NLJgTem3nT7RIysFz25s9vvdFNTgQ4/qNMDYss1uCudGLhDYjhFw4A4znkgjZnPIRxDSo52B+CRx/M/RglXi0jSL/+yPbC9eC9y5fOpRoB+REO+timlQgkKEbziFxSJRTunibM96+eAPpldkOnBJzbjXQv8KLjafgm/sYrGd9Xnr6hew9+fCGdkXBnUnnKkarC31SSfoiGjBZmSIxgacFytA4EDnLx0CBn8kFXmOehmHYoUSXezL7fVoEq6gb90E/ieMSCJWV/+Dl073knA21FSAfVIuCz3atgdztMjyRlMC4MSjIwz215WJc3VJcgqT9fPo0h9XkWjVTd8ZbcU6NGTVsKKc0J/ZD3CsDrYbN1zsozQ4lTIfTiZyHLU3MgXwfPWB/c3W7iHgqjqzZDT+jYvleuDLr84JMBod8nCo9VzwNJUsBkkfWYf3GGQc50kiqk0KfT58bLUyqW2Q6+wUGRQBFjSCAglVIJOjZSPrSjiojEtTV2WXHFKA/m8LVvltIPXo2h8Ehi86neZx1nux5+zB6jbGLvOIFVmdvyIuRGWw+JSTx9m97SzqQ4v2UUTC5OoVXBZN6iLlXOSpp1FzBDwHl7MsVULOH3xWCbvmbtUmy/8tVhCvkuUB81eQPmjUjwZ5Os5AZSqfqJQh0zHYavLMqziEGOMytJ9HMYtb+XZUjJAijb2Sz6Bg+R18t+F03kLF/zWkUERo+PdC7gkyeumYFJZTmT6plyuBkbjU52srkDf8LeVLBy812MRoWEmNf+RU+sPXeVXeIKEWXHxAI3UaytxsrIcsIaKXqFA9upn7qzHfCy4DXQGERace3N/QIxAKkrbfA+sy1UrypcXAsxZRwulvJPlwWew14P+i9goG+pMsrMwlj0JLVH9fhLIt1hTWN5e/VTmdealSMzbAOZVH7lpzhAS4OcAkY9CxrrOJhbyBommoLfkG4bnDpj9Gv+82eWaj9m0hamcCrX4nzzpOx02gK9zvw/h/BglMgB4+pMk7BBGpniGWNb7ZItkATNiwLbHcfN5VcWw73IDtMhVaT42/xKbtKvBqyTWLzh2q40VbaZTGjRzm+0Xcn8uJ6CMq3NWg/QDVh/b9SHANvH5wsF2M7S5ySJiT7Tu4z+ieyeoDhxuAHCecyDjE6/vaQMKadoSWetvqFZIAp2rUfhGkcghI89+FpGLcnDPeAyLJs31+6OMQ2MVwI3wpXQeURu4sltzmmj1kacIhSh/ikRIxcfRIdbozSSKISSY/qwYYdCQBTHPA0JkT3e/FPYgi0GxHMt+xpn8yuulMRlFepPYlLRzrB6Dh6O3umnzbe+BTQbdv0SJoqbJ1/r5O3mSnCy2KoUznhRHLuODidH6vK5sxNBCeleuCcWd9ls+opVTlr06efSfLTDJmUy7m5w2eNICKzhrQckfa9sk78YxO5m1UsS5OO9KhfT5YRYRhTRU4Nbc/T0a0ArjPie6TlaSTSGJzGQq8VTkdtquRzl+MyCPf+hA4sRmWHFXhi058YkqQQeSBq7bF7xIj40ovsz5c5HMcLDyZA8gmty93lmKgNF8svagQwXaROG36LmEwOYmDW5wW8bEGuPW+fPmpivLprUFmm3rAaPe6TlCTdUzFwKu6DkF/ilGMjMjYhlB5+ODQiBZynDoQkJX9zMtlu4jOP9iE0DPr71p3WZDu9qIm/5wUfcnKCJo5MQV3vAOSi1wl2C+GTgWw9kiFxNcNok7Cxu7Hi+kT0dKCglTk7ia1P6/VY873XVfbSM6DSonhiHxx4JSOmrDS6xbX/2G6GYeY1rn30VqpKbjRqVFlbyOfwvYneDM2TyOHonpCXyV1LtaGSzblnnGG82OTTn8tIGVEy6MMRAcP7F2JP41FXE9hOUTODuUZ3TMnZEtDzrHiCUZDZuZqmt+gsFjE8noZYEZGgNT2bPYGbDsTPY6LhEvtbngWdIVGADuPjM7qu608mieG6/Rf4/SZoOYdJC5+aFKeelsnn4TiBAkByJ0HrxnSIW/AfpVVqwb7HbTKsTEMyunkZMkEBEqHPaaQhj56oVw5Hhssgo0YiIK2HrcOwLG1byZbNqc2O6Tk7cXsTRop0n19p5JFgFWlXQ1TzLw6W/8uE3DZOG0stiA/37nxJ4oRU+gSSOPBI+8uY3xnt5IGQYYwxoL9Zwhx8HtaXyeW0CG8qUZniJAPnnWsiySJlOi8c7NvWbS1IBIgOePIB6UbF1fn63eLc5MR2dT9Y9tW5hXkFisKUBQygK1IJ/iWY2+i6gXBamdYsdnQtYNneLx+tZKHrrL1GMaAYTys8rTdE6yi0Y6zs2vTKDKVJq8qAz5qDLSjsOQPC5fqD6BAq2woJuGkPlPX6+Yokeis+FYOJ/ydSENBJmkP6RdiDtDqeh5N0i+hUoMZlQ72ldw+RLeOIUtpQE8MTzEDk9sh7wQL9GCVJQ7EfJz06yqEBLUTMiNTiLdj8SRZ47qYMvRUcq7/47/XP08K9SYOa/qTsbxK97f7woGiruP0iisrwSDBaTWrAkCn04nF9SHCoO3MJR2RqxUpH49ujHGkirmSmFNAKLWtSAIKLEHxYOONEwbRMxHkjRPy64nhN3FecYbAu/ANEwlxbklj/ae89pdKiBtvlfpXHhfAnc4nYZvGt8NAnGYXQ7Dy5lxz5fE2npIPJzwwZOmx7H4fEyCKBWmaWgExFEkt8YzqGR5e1z5fEds+d4jIEv9kc044Ugu0CrZ+VI2qW1knqC3Gy9eoCQElRzzBSeak6iEg/eVnm98BPGqAtvwmnnpbAb5gg08i65Wz6Q79NkjcZGnjEquZlx+dlvGxCrZEGnyxb8dzh/pyF7RpMLw7CfAORLwM/4VfT1rKehP9LHA3p5NhQs288au2Ktf/Hp2uHOWLrHRdf58G1+vt/xyqYTYx5dTUTdftHOs+xTLCCW2yVWhrpAS2uBa/B9PEtYLNtMcFZNYkO6TwhFG68Yql/hnwz2RJTEoZsr85V4sjZLUyPXBQQ7xWYYFEpaM4DM52A4UxlYSguPBrVpNhya1oO2N3ySTjMGzJ52uW/evVbqQA7J5Up0MnTjfT0P4O4QdXjs4U4BQoBfLR32nsC1W521nAA5yXQLUNtoqrVzRffq/4CqMhcPEnc3busC2SuR8jPo4QhbkZlp0PU38cKfPHndx28vgERjDDBtpc1BHF9rsp6K0nel+iaHLbUmA9TOodY3+LIrCIs9Z0fEwYdNl4+gH2I1Jrn0IJzk9M8YZJpkU0BW2ykL5vXEr23KyEcauPvdEsr9gwIArr4xJZPyTzfL1Nj/izdiJTIVgHtWs62pRz25qhNjVYUI4fX/HUjD4dVy9I0LP6/qwpAaeaO5X+gjBY80WGwW0+8RVpzUnZJaaalcc6z1QLlRIUY7+7lmHK2MhbEmXiV0R9/BVWxMGfUlOCFN90TXOZk3ZS++GYR/J/9agS3aWJeH5LNN83SDr3IPli6zp4BbuxczrQDcI7WPljxZGF/OZap3h40ECzGTSi+ZBssOKenq215axSTCRuwV6zq+ppP79G7wD+nd+qc7+lFkD3K0if5iOMnxpgNnJlOGUu+BpWmXPULIpYPoyP0zRX8ATNCUG4DSAEwY8hwMcLfc/3oexiF9BRZq9WFHNI/hocwNHirA8zj16NBnG9fG1GvLpwCqoQbYF8J4qZI8BMtQkR+u3YaJPB0nK4zZCBiQT0qKr5L4gJ8FuB5di3UEu5WYpP1kgt5wNrH2qiX9/YEIbW2Qm/y7YLON/Qt0xZOI3nTuSm194jMd767JuaSTkIxl5qbSTbHGxwPwXS6q5iRNH+e4M+M33F1xLMlMNiFe7mCc4cdaXBrz3+ph8oY6Wz0MsS09l6vJOJj9aZDH7b136IEfDChUijD3aUB5V7Yd+Ptr8hzDm+6p+1bOgC2BhjbWA1iD4nfRenE2pBx24NtWUYApoqgq9Onv9OvksmUOGjrcqIFXIZ5qkm3uaRtX/7poFFhhjFEjVEBZtzqpcBfKk6/uD0ux0W6z7KLvh8w0A6jKt8lshePRhjpMLHCLFXilwQJYyqSTvFXmmSIQu+En9//AzZ2521nJeM705tmhYcM/G2/gIS9mvIpyRSEprJztG6SxrHTaSWsbwLL4ruaPqP+DuA36AJrcQOQO5VPLMAQY3n9EyaYL+P3of/EWQFaQ89zgYmpDPZVaXkZCmrdpyA2RRFcRioHBFg1c063RjpILNbzmiTSGz1DQ5KMOXtDCuVL6/kV0fhB8HH/zeE5F4CeojikqBO6t6ATq9hxh9stoP8n2zL4Lfhjq88ztoxtHfj4ND8c1I2eFoDS300ScBrEekoM8twxVKa4QCsYsQ2tgPq+N6EGfYlZi29K3oubxUWs2jEBzg8452FgguJsxSelTTbd3dZ4S8iYkj7dafxnGDWyf655wQQZSdE2cyBkXUOfmdo8IMkH2Cyw5tSfTN6BPO99bR7oW1uRQsxfrpsJjxYb1lbv2QO3C0mT6Icde1moD6crReuC+N33kJA3IewbOXghLhz8PflgSjRteyGBJg9FGgiwSvtPgsuEblBuHS16qLAELcMNNIak34CiR13/E7VTkHlQ1GOe4iFZVji1eQLwbVkJQpeThYtzFvZd2pY0vPzDw3boEh+7yISDRISfpSBvj8q02iISz+4GRCgQTOTZa8mO47qnvH+iNMu3ZPc5mRxRIp6dkfZ8djuwRzkSjnHqgNgacUlvthTEuItJ4u+F8OCck9NoaChAv4YQ16XcJpzjaH1TTjq4kFyi/m4jSPsnfsFjnauHa/7HXLB10IBqNhQ34lor7geK98hCEyiXQWTARxXoWwWusxQinWW/7o4+8VoyR4ISeKx1a2+6vU198lKQ8sbi12EeZXnqH/f2RqnAOKdbXICZCBTbu1KQYZD1NBoSsEQvJdMm87Is3se+xXBuy59HJ2n4Y69ZzwCfh8P/QeGq/dm82OC9FCokqmLmS0gvk9c6bFAcUXQqRqf2hY6Es1/qyojeQjn1kDWKSDhTthENlFswQkXbmvNGznZX8CZrR1jfNA1jXnTxnGmbF8BMeYGueRkyJtO3hRKovhaJtAN8+QYpbHt/UpWD1voD+K9LPNg9W2bKdqhj52/BjU20buHpQsxqSsWe+tD6wgqLHMwadwRbFoHN4dw9lEfv8i6pHSp5/c94HZ5dE6CrUpfFeyjbR8g92Kp/mACM0Yr2qn7Jp+soHgO7Gua1mCI0Z/tSZgDygNi5LM9hlyJXXfDgVHQ9EpJIHL/qe1r/RUWP4B/emM5WtpGspurLNdKprAw3B+2arsqN9nIJSue0ijj6mrfqhFWuS48WqdtaQvjy0/YK8fmhvKmfKOj7niMfFH/q3NOBG+54xwcNK6AFBJL1ufNlLpV7Q4qG0BQYufHL3PNQ8DJhB+kO7hgXamMvx9Ee+K+dv8jxHQiyagRx65vaQKi2jLalk/w5qekOhbKrss79FDnB+PfgDY0KsUL1OVjRdwqO6xC/Nta3oVCZuyUdbS9Gx7Blnqd9GNC9kJQPwOafwSVANd9sY4BWgvIUvc4Fn5CmjDYD0vUtMndRKI/F774ZdwFfqMvvb+mkRZbSr3wZzI8XhlVGWJ4ONbKMXefTEOT5o+zZha5XETK/ZXjehFs+VuM1FW2Y9a7bRqts1fTN760TcjdL2/iv9v25VZ+FPaPj8Eu7RGmUOU7kRqbKFC5chZildOWWBIBZ6c307LnuLO+i69JNDcZRn1YI0IyAYPD9wg13/30ZvfTh8f5HxazmKvQvhKjM71UdSqMWDzsc9kop8c7ZNbVyGItRMQ192D+v303w5Apd5rKUPz8jDUceBqbavOsK2e3/hUNzMIysah4QE0Lzo3BMpnZT7a8YZRRxuTo11+rUKhTXcwFWqqXgY+KypsM0MJEXAf+k2OYjM4NZC6HovZRPt1lne7PpYnKNme0J0U2qGjRIUE+jumkQLqJGieFPwo97HD2/Jg5tZ2lHYPBYzr+bv/+yyNAfsNfRnVZKi4C8gTpUFjv2TgRJ9gkn0TeSNSd+1BxBI7Kv7QrX+FSPO4CareA9mLLe1+9hcW1NDLwIi9upZBGB4gITMl6CppVRJdv9/ap119p3kJZv/d7Y48mg125BM4S83jgVnKYYPXg4U9imN1dwovpAVpYkkfFXjdwLBDsF8g5hQsSG6A9vvNFrpqO9G7adoGLoJ5KiVRhQA7gUmVpYIB9zYpTK3xZWXpjCoBIoZtLsz55InO7AjI+v4aTGhZprwaoq2YrWoIScnpG58qVlDxMDvYd3IIB4WZyFC0MB6/KKilZ5kxbBqx8PTJzWWxkfz0ZCmVUu3LHNqKyZBxL9jUYr8/xRFYVksJm9xrSlWB492MMbIS36CsJnwiXTi+ARBIDM49sOwACcBn7IOzImVAfv+w/8oBpuuBkYC8sb2nTiMugBG+w1PvRF44kyDOfPGkbn8ofThjrKS6ujEwsyxmRx2A4dfZP21SZaP/GjAGfgbaY75y2Zn2oqJs9Ke32BFPYklso6DKafo8zEE9DuSXcLbLV2vfhDeHjL7PUVrM2si5MBlxKt3mHm4nk2qFbxyUbnizlGee8xXw0e6UK2o4DEHApBAmZi04kcFrRnUKHj+arw5JKwkGq3wg6DzEpe+RPmBQK03ELCQ9AgWre7zsz6AOYXEJ1AwJs/yfcdOij7qVjeT6ojj0ARfTBALusBTpYOsuODDrcAuIzCTBbPZ3Nz1JeoC7nPLsQvVc3irMyr2HjGPabEKk71PAKd59bNH2k5DHZrhA7fMQpuRHXwgerKoTHgBi3jBNBjze4F2YcxNprXUfb6484JIQzN+BLYbqnC7XPdkhTVNX4D7LT4JIu1V4vji0u0zczI9vLAvXMXZq57k7YZyH3/gvNR5pZo1rxurMKVgpuOWANJpfc8qTkM3+a+tuawOm+2oJdZgRscOe4b+U7B/IHwQxgqlbJXxx7FPzMEvCFRKAhFvVfEqpeUl4obQ+bn+uunkYqKkrpHWoDItlcU6QlK/ynWDesgo1Jze5JIHTIc4f4Cd7JBOv8UXaG2DLcNDMdSYbAUWm6P1InVKy89wQOB7Ss5cA2b4BpdItFUfvdMrkWsJqeUD72CBfstJwmibilFlj4rCnpLYLL991yK/C+hBpg2e3kCzmr7I5wdK9+YsvhNtWtP1Az3wLTGxY6pZgLaqzyyiwNLRpmixJ830oVZK9sDAJkR0jXpDJcn1yh+RVgNCYQTr8Z/ykb4Avh4O7HJqrdw6kTAHOIivlnKxzZAuJA+k9J2O7uuldwCsYedmK2DzBM+XMpmJC7MtP1gYrY+8gdud8SENr7/l3atO26owDvmAgAcNgRV7FXhY1qQQ5OwbNQSeS5IwAStGXJq231DYbvZzejszxuHWwNSkV88Ah8WFDpdBBhTkZXJjDau65JStGZYVs20i7w5d8GTeuBQOqeoUVjehCOIDlwxNY1ZUWYy2xFvyRSh9sPbrnjedPpF15TomEX4rk1Rs1AxdFRucHHMqBF89njYentTcrBZ1ewznqaOv5iL8tTz1KkCeZweJn8E7FB7jyXwzIn1r7RCyEaKiGvRnmAO93xKCkUZ6u06319am6G/QFp/rk0UjbXSKdr/NH+CHzAez+l4lHlGe0ph0YzP1PT0g5ohUO5BGfpfcoOf4ghzw7zyHPUjtVN/Fdgt8ekBca9W7G4NVp+a3i43yzkpm3K07G7WAxaauOsKtnkQXCRjcNFoxKpKHEefJER7gCE2gzjNu1FtqtNJl6qN+OBhbGn7zyveFkrr5u6npzy2zdC7nMsg56vFdw879in+14uD8gk4knStTou2aLkyskOqqg2Q+UZ0/zlwtxxnrikp+KUEDWV4AP64zQD9kNZCllCOQgmVpaIdl+ihBXHskkqyQBR0EJpxDmj+2JgtJlYZsF2TopsFpMxIQGSeSCjr8JZWa3zAo3sTVu1jRS5vyS6ofDhH9kESWHjNGMrh4mVE/fqAaEODgX9yi5AQO0UF8B9h4qTa7LpAXCSP9UL+3J8c+j1eESuklPdwqEY/c5eGMiycgFJlXUq1KHvS2flgjmU8Pvkubgfh3uePVwBSaBPZT1YGH6/D0hHXLcglOOlAV3UHs0aouS+3OG7ZBaJgZZJlMHAFVnY3MhgP79VEp4GsW4fMlLzAwgKcCLJEa++86Vocwy1BG9Amoc+xSKY4XlNDbT75vskZ5mEr7W5wMggaCp+f/tqe6+Q8sdMKe6K3ntj8zM38dVr88q05EE7FUB8w1G0zTFBQYxsOf3vUZbVnDQYA0wkklgHzgKtabU650MAdpSQB4uOI9OnysNwZEkNKunmhKqj48aL77PRQx6o08o1JSRxCGIdVk7o6lDQIurDk/qiQXSM9/fKBh5EzGuBc/wPeP/qUqT3VO+bT7+tANI5dMkA3U7uSuEUE6+5uK3oBThum37T2X8PRgoXyBb5WA5H0I1irXSdt5pKsQwRFcuLu4KQ23cMFBDdTW9ppEAmkX+ll5znQg5LEYNyWuKk928KA/BqOS215gKLn3UGZ14zdbxlcsC0vgWFMmf6vaUdJKtqcX4xwqFjD/ghxlOvp2VjCsnVBjzYVcdFqYZswGDqOpw6ygwzOXgUdlD3nRV1pKjZMb8MlJw/UF8ZrXkR6iUhn/xW/12g3GWOKgDXtb2heirX9/2NYML1cr/t3iCpFIDMD1Q8E7zDzfwajA+wL4xc4WhJxnakTYebFD/9Hsf9S4zFRpbEf4QVSfh2Ov5TbzmnN2I8M4yztxt3W8dShkm6mK3QwMDBG4iN9dBGJJNckfkbcYFnCej7Bjn9z6r4ayAIFvVUt+m97jMLOgAeFRHYoZxKI7LUj1iuFMBN77SKUp27oMZ3xA3HKdUAyvlUQTCvl7UrDW38LXgl65655nnfs7H1WJI8jads8RDklxU+RQn/Pv5IdLFT3j9rSryPNNAB8gCG64qx+Q47y+wbHjPDZrKve2mTfWQ6comfwjqgp3pLMy2AXnnDQhkXxW4hnars0lI+uMJJITsmghytHyN8B6O/fCfKvfsbfzBnIhh/ggLbZX68CafIvGoeSyibDXSwngO+CUoAbtAUwbLj5gv45DAmRpzd3r/JaJwkKvS0F+McDYsaGg3bLIgkYFWDgenLbGvLr32SblyuggfTVeaOxGvlxWRQ3ZuQHpEqsHqLQMcMAUiHuvtiCN5cbL/Vs9tLou2qM1uGy1emMV+NsY6lMFIeYiAwPoTZn+VTPke6d2EgvMQSWuRx1DdeS0yTjJ+9UVnObsgOlYq7HSzMf3Ej+/B32DFyp2/tQohV8+iRk29y8opdfNOkIw1/aIqhowu/k4yNmG+aBc4LDTWPllQp12jX1y8cFL9REL2enrkrQ1LR3MGvvvEDIR41vFpZwdcA9KC1f8a4OYVIPG/mYu03mW21NhUF1SciGfpI9C6oC/Xl09Pzy2Ls97KuXgvBv1t83QN2y6z7eGdLoTPneBvKVQu7j7JloWHEPYmUWzPCTW5pKc1Yv/FlrYBoGKgJMbPDmpITYorUStbMTraum4hZVZXvi8MOuzbv14B/AffGgWBAiVtarehphbvfHBJ6kTxJ9H1P8/9kx6DM9elmiywTDUBQqOiWeN3To8SGy15bNnuyQqQaRrKhp2ZGeGZbyNkaZlkoTPAFokQQXep4MJUDOvd4Ho3FODXJXDrW5cbLsV3NWM7gJ6MZZR99c3z3fF7rj7jbR2c3nLKcFwzn+BBTajQQYaxS4Vu53TGSlMYoM4t/Qm3nriVfdLi+Tbdh9YhWoTduLvoRMAHU/L67l6RuFbDvEfb9vnIB0xMhDhte3WmZAVwbs/iP6d/E6xoUbq6LPsythV3Zr+1GpyNV7rWpj32ixKcAamsbnzjVdtaRDaZxAz8nXx9BPrNH0uO+/xkS5ju3y0y+TrxW3et1Tad7NHhEAGc/x5HvV/qpI4AzeWXbo8ll/9Q8eaNAeRhZPMiJsL5U0QRSVIq4IHB0KxY70VpwR07wsgRE8EYjp2WqaiP4eATYe/6Iicti7Fk5Unb4ciU3Hu1y7P8rsa8VpEqgh61n0S0s9ASmkQK9kMXJbKbx8uhUfkRkjvezrvBn7cC6HyD9Ke+3oH9oEwowctdeQrbv1iTvkaPvYxDybLZdC2/FNeYmTUgSSE1CRyG0H4mQ5DlisH74RCg+nItaUSGEdz5W7WFRnOuVW0xH/7l5z9u8lC3t09VS+HgoFI9ktrWpRHNUAnuy3OYZxORAia70pGmzuF9jWDg70Dz1trIMSzOilpdyhgj3imX4t6U4Qy4eVfW5L3ZssA8hk6/XDnRuzLv7SQ14M5hl9PpZY1/7rAWTyTrch9ezMFlWFTCxyIKGxhRVlh8SpW0uVUwp/lBd2K/ValI70lVPBnrNCVpcA4B6VygVEvbX7QR63YTo3tFm9ggu46vI4ma18duEHytRhQ0TfH84SH3BH649fsJ6t1awRhrhhR6JD3QDMRDHRxTo/7htRw83CZkyjq1ZPWS8TzZjc2cVS5OI3RYmXtrx1vuyXDga448hgrn05jXSBRHZ8UVKWl/gJvLcQBrGTnthTGlZ9F2fP9YpUQKCp72I2guI3Jp8AHdIy4JtJi+joKlg/3l3z80Z4FzCs15s1G60ekGewr2Whsi29Cech3kXDrHp7t2k0D/nYfgX7m8Z8MEcv9qD/My7AQNqlvn63fnoApZPhy/1YJZ7eQywf2Y1NrHTUwamsXcvTj0K82XvDTBMVErDBbA3w7zEcMXNIQACfqn+CNcszdqBiGnMOdMKHAN51OqALq8rMFuY80000ZOEShboLbd1km1483AK1eLBwQgahIRVioZmNJISzmVX1CJQm251RZ70V9EgZQX3s3+WTEQxc/C7oa3whx4sG6vQvMzCl/XLKsuA6W9w9fTFHkPGnF8mlYPCOVVG0KfEaEZ9X4/A0TUbuVfMmU3/faRYEPaB9g2OLSYKPdqSz9MDbmF6Twlc4dyeeOf1Lh/QtNNos9SoBG+xtmrnknkuhoQSoNQ40k2e0eITrNy9+XKzdLES/46lgBySvnlX8DYpM7AOCUBm2zge3bwNLQHVTgpMqV6Gzmri8ol7/GZeRoSQ66IvN2S1qxOJKEdoQwPI9D6SWwuVNloHlaEOHZUBk4WlV1zOp1zDtIiZXN0qteyBIAMQzcqKmk2aiq567xpMCJYE10lPCX16JFsCDvwDzYDpm8CDnKxOXUas3Cy0Ytieku1mGsthiF7euIjf+7D/2t2mb8z659i4Tl2iljzNB2ot8lUnzO5GXntUdOb/GHAT2DQONO11dVcCuJBR6VMQoWIjZqVLCiOGPiMc/SzBtGnNaVZ9avoV0z4zlA0717NoGkOi7kdMzdt2nfH9moXujn43jAsFj9nG/fGO/4Iqak6Se6DKNpaEnde4xKpmBsRFC9tCFmkZBBF4ZW1Nlzai7bXqs3Ky0Yx+mjIs898QXLtdSjfdf+GAq7oSL6tT7+cwlKYxb5Pv3y2LHSQ5LB6QuaOTmzqyIGbNOETjYRJ9v++F5S+DHJz4k2ruCJsnDzRZayEJNj/3XnSFp44bn260W02f2ns49wBXJr7T6rlvmAws6wOUlSn2SLyOU0vZBb3oLyxGWlU41qTcktQ5n4vle0VhqSUwSc97qgcobu2VU5lymVOLsuXJJwXgVANlTnUrIkjX1ob7SioZuJ8zEXvZasjgomr2/xBmwF59g2Nz6YvekoUkaTb4XpulKPNAKGT449VNn+FxZwLDYq+rLBYp6rpYXM1vp3Be4dI465ut9hyMblEMQdPfvNBzoQ0xtP+b2e0KwLmh79dhx5ioCI9Xe3Y7xiqYBHwBdVZmlWD0A59Yc8mWFa1Euf/BEZ5dPgzvfMcxNIdNeUfUS4qLfz3b2trF8Psnf1mEFWnnXR7f8nMf9ulvvX9AL4RxUyafzHpK/hOO5xjuhf/BD52Z7/jNxukNc6w5vzCfi4UNLW94jcJJznjGDNXBlWUlAPMH69jlNo31u2xjIlRWNPTW0N+Bvld1uUXQa7uo691bmwt4kKl2AfaBXFAscIBwYcv5zyi4+0ouUeUU11C+/mmv+mazFDVtaJEtwAQCOtFNrJGklBuhZ/Nicc7+3T1JF4d3DJou5FL8IBdx9IVcpndJ063rjJ3U5Z6SOwpS0Wr/WX3IQh0AledQJzSwk/4C9loWk/qTTfSxYu+KYHg2O09fPLYEcCmXHQHkWzbRMXfJF+3hgsrX5d+mnuQ8AG4ZC6clC1GsI/d8faD8B9xJE71MhJYeIRPr+wtB4qLI+c1afAaCxduLb9g7+sO3LnKH1ytmyQ8beZkKolczZppGpFr0B6fJDzYupjm9qAJMszMcsxX13xKtal/CFiOc7UGzAmPv80VvPq1XJlP/wW3tDH9LYtusjz+ozMj34X4ij28FEHME0c5f59AVKO1KJhKlueBK7ehINPbAUdB3TC5JwEuJJPpX/avUQLsx1kxDL/RuTodLbWTuULJJONgmnrTWalvkGdTVau+1IDrAjfmbFtnHUhrcUj5WuZl9twswom4d0nOEu+TmaM4IR0AkfTBxDogUPLaFxVpIW8S6+/cbKJaQ+JEsTSD55IPFqog7r1Q9mxoYXZb/WDo666/CkLPehCdqS05I/7MqhG9JWrzaM0SmaWiql4lTaeAF0sNGHDwMu+zRLkrrKTSC8rzM5Pj+JM1Yygm2AWbwSS3q7iCJ7eTyKlp5Swb9KFCiMKkTYnF09GP4Gsntc8rNtXTOargj3TeuYu6TLwaqxpycqAU0HAbXr9Q9r1mNx6moIRUXEviw+XKGKJ5USrH01MGDJbd0guZj9BoPcJluixgH+/aJfmY+T9KxtjYH9w4zErEcxzfU+AUeOSROECT6yDl+JGIheWnXGeYqTnEDbRXtgros8LLxeKadX6pvsgqybkVgIee/AVqPA8eqcDiQFHJPfd8YZ2fFct/rn01zKGVcDH/llv+/PwNd/SZx6Y7nJNv3ug76RXD0XE2AKn7hVfU3rjpv1RqRriLvFMTA7L9pgFHCOUbdDOjYUiKIpTXn84FUdJrRh/16p1wQ2KMgB0HHURISho/s71xziLT8ZF7+ftifz1xvKrpxI4ouA5AlHj+XYaWVNFFEAlW/wK5y6NdWGFeN4OCtE2OGiJJroQKXDpZjaYpDJg/pc2/VrqSwEE5hrL/GjQ1qSafw/9ZKAn/FZhNUZW0h1J93Lrb9BWsoYnQZC7x7DpZGohKxIF2CkG/FAKWJ40eVjzvu2FQ0wQ8fmy6pzGDklEwlzrpT/UIaFIZUlbdbvrEbkXu0sM+4zlF0aq7nH03bjtkAYIWa3xLVhWmimKwfiRgFDIgaPtslDCTtgA3wHWwyEGcItMdmO2FrrwF5gBhHF7uvSh78k6JrUXimPgcDTIPW8WJRiPw2a21RUZZs3luy1E4Lf11otnETS+Nf5tbBoj9YEHk+lbpWYEev+xIe/02KWAWk+z5b40oa0UiNoozHwF9YDErxwrNstTPYLoF36nY+sQaGy6j6O0Q13xuWdX9WgpjTpj3J2X4gUpOPxkv+rykOCpMWx9xyUyt9AiGzGMUp8NFD1LdyrWpts4QducRAd/TvKptN/YJYQdKWct1W4+qhXZdWbqd2pxdNCkHI2z5cN86lEGxE8kkIVWB46Cr88nzVSvQsL7ILh6qEITrz7WGy3Whgshhd4+LpeI4LSVz8dPorMwIC06/Jm/PpphfYtlgRDtX+cnrF81ns9urLgIQK/BCYMWrhla/d8tbgOhNK9ORpY19YpcF53aUcpzNsl6AXfAhSyQCEZlx4gCHtNWiP/eoyoDh/a+M5i4q9uBjlGxGVlFviDsPRS7bHfOrfMANfG2lI3AnmjcI6qFjlhMzbRo7AIMJ1davEAPHXL8NMSHlfH7i4shXw24Zallc1LhqWei9mLpYvExoRT48d3KzQCPIlf9bXdoNXKpJY+lj77NVXtKCnFM/MTUmWTkiTxxG8+y6vnSrK2w6LrI0XtnYtpUTT21XK+MDdSDyuEPyyQmP5OLYldGSwpe+zjcJmWou4K6uYrELGFptu4859WF4wyOkVn3OxLmCOQotviAbnxJWcx3IHNoHlZGZc37cGUYyolgadKFuhrBUwRJk4zI5Sdj0gPpeKp9MmB6/6/bxuQRWi+O20L0sqbWqmTzAFLOyyZRKa+HFEoGAjtRv/boxf0/tE44kSIZ1i0o/68J1erqgGHjUy2ojxg+zk06i6WJKbNuVQKcSeSdedIIWG3Ja/XeffaFoSlFqmoLEqJVMMF/nu1t4LM5nvAVoYdgi3daS6A6zJDaiYTyQiPzOn9Zf80cHVkKqRgNz4i17CkIYOk2TCIf9emIxbF7IsSj4nBZVDAjymjUj7D4Zvci7N1hlYJ8pgfk/p01gTNcp1fZOKBdlIhTWzAWDtalDQjg3m6ygjTdS52KYuZ1WAG/t0LgVqdQrwTNTNQGG/VAwsmsv6AUnbWxr1xaani0LTpTTxDKEWsoQ4QYuCaywz9Xcn3nnxc1xlLSxzPbkaMZ1BGguIsjtvqJWL22VzK2nVN5eziFf1fT8d/uIEP8hd+ybRdx4KvVlL24MZ/rBq5q6kXXcJEnefJV0M5xKo9aRU/jSmByAH4q1bFDUQ3ISsIEF90evDMohMovMybc+U7PDh0jo6QY0+1HBUG0khaBWhBinWQLNtHeOvRnw8udnT5fMOr4RYMtHLbfy6xcCxgl/7F/v0VCFS1si5nAsVZZ8wv5WiJ4G3xlofM5Sjo8LYXTf3iKBK8kLmDdSHi7hy130Ab8kKgem3iNuGCyLO/XxLH8PrI2b+Yh0HtQGUFN7Qy9aa4EWPUshKTt66pb5wxQ2xI03hu26aQjVzH/J3vBcmxWzShKopJXLjVe2SVJz3NmJ/dJ7PHY9Tg+e2w4QNSZDeaHRVfWZpVUJCnXQ06rVZxKKc4LRJc9BE6qBi/WaN/YJhrTikHzGErtn4QRgwLABMWhbcedosXg+qtEq1TdqcC3+uG0v5OUpygGs1JMLJByn3oe6MVViG79aF3jM9TCQNO0O6rYc7UlxImGNozqEyp8rVq4db8dDWS9zX68QaG+P6XKupjsmG01Fs9He9AyNHsNGrLhmXqopi+khjK8iWp4xJ06hLBqKt0186bXTP9qq5PzZlX7vqgRsOxe9yipleHDj2HwCE3uS6BzdxypgtUeVl3QDwkDBLKCc6SY1tbwdFyc7GfHrcaLj/y2el1RAp8HOBJTO+l7ugP2Q9RbcCuFhfe9vl5EmykFX5IDTuoWYk7fAWgE79CvjnL68Z/FewE8ghL7DQaZAD2xmAbPbk8AEDyFq8h8t2mMgtPam4UqYN4nO4loEjhnq8zTy+tdbV6ukagmJtNDYbkfeoUL9NUHPZNdYAF8jIe5RvV1Z0QdIkG0on8VMEbFn88tKRt0gIIIDiv7msJJt+78oCjr5pbFjN3lutdEwq5T+u2hTPBayu4pJfZSSO4Q8x8pRQfMFuxcToz09aErNCVGR2JCrQeNR4Jac7jkxnKnXjgjTnrBeSxGLy2PPM3tMHo2ifHFPMs3b0V3AciVd5oPC0MxLWauX9idf9p/vOpQHH/EPNMsHFO/LvJrJD6uEnGtHoVZpBV3lV1OFAEys8FyIjqLot/wA/M/Dip0HbWuxf/r8gRPvBJCb2GElNu5kPUSdXtieS1ZSs4B2Q9DIUJ9X+r/wGavuFZOSPnsxaWOVErBUFlhDzuJGOW5EVmc9GnkzM8zBzC2OCvwfi91fWP5At5Pz4EMPmCaNHjDRStUGrNsR0jxerj/ihpAwa0QoNUGRIuvSvUSdZnySUbfXbxUi+SVQ/UPHKVvAAT1DNkPzYuSjUxofumcwAg6CXzZOr5GUBvufxL7xhZvg2H6N8QRsIy7P4/PrYIclaO2MTjFS/DEfTjGG12z1DQzWIOgFfNqyaE/oEzQaD3YoK8rQ3MZ7sAjbTBLafM09QRfAljq7HL3CaOr6d6nm+Pxh3Iw07ov8wK2VDIvIB94gh9IJJemPje9Fgbrh7dlup3og9rI6/wWNAcdDmHsQlouCEZtnDVrYkcuWIRJJ0yyTFi20BrhPcnWYZwBqUo5d6W0u2zxMHR+Vd4VMg+KezRX8xTmCkBSDO3eF20IqOW0N5HwXWb6g+xlcYOiKEX2cUFIr9LXgqQwJrEoojbh6nVhkPK9/iN+Rst1BKw3UjkMSi0O2m7T61whraw7sfzHiy6Yr4IR8AwxuyfOna2+BWuZXaxnfd/woOcHVBT9ZWG/ydFmwLsTvct94hRoF8nVUBmsMmz8YQxQrSA8lbjF09Skm1hnW1xHiEsiWHU6gOLbhwGdaJcvDXAknqbR+jZXxt5YUj1fboY/H2CzDY8McNUO/T83T64J4EEZc6GPohY+E0RVtVMtTshFE2dw3YBKgD52OLoPAaD4kR/qZOitthsV5XN5KZHmTTb7xat0nA8gpqDWjk3ZlZQp2h0XgIY9THevLCJcncjOIa6vLehqYKnQd3HcZbLlaUOxNTiDHmzHFyqNSlQZA6DkCTvtTwcFB32YmKgC95+4uso1FPAFkYV/blGX0sAqdXKBDI7tHg9kabxQzirBO+V4tBWP+aqqDRwsEtxg0VfzhAxKCEb0gp+8cod7EqsvsF0VUqnZLkJH1bqdWGqP3oQ9wB9ZWM8JzcY3ShrMAs9dDCiPWYtC8NPac8u7MN9xE4Zz/InLjGnpoGjk1+YoMGMHcZUNzCCr7OYqqW+RPDTb5bmCv4TMKOaBIvV6I1GIaQSZZpLhJKAO3iHULRgweLJUi/gxOCKqx7+fBm+y6YE/qsenqa/Mou2TYiWU/OuBgp2Xwq7r436+MWUxjPAQX2cvjgWOnaaEjdHAvNmpr/b8xAQzh5wrS8qOCXtNfBruRAY/DyYHfvhSIxDSiDM/RKRs0RpYNMxBb2if96t93gRiuiqtOo9HKPYXiXXS5XNE81VvgGHpsm/G0oWY5MGQcsE8ccVCru43Jec82/fPHc5PpKQi3RrEHuATHfTU2hqFgoC8++rHDt9nDDTRB0FlDJp7AsuDIgIiEx0MDlu827Ec0IS0qfCQKL7/BuYCH5dBrrTvZSXcu0HgQ9+cOu2V/+lMaWqhOEurpN2QDifL+AouTckOPMVgSgNbn3ZLjkbiubx1JWx+dZdpQM/lH4+KuHy9XUtEJpCQDcNfIg71nTyiLPDGcfiygXNFn23DAhuj5c7HpTDc9xqdWTRxF07cZGSTLqUsRZ6QQ1w0fOdUWpQCxzKvx8ZREo6HpEyOlFm2nWFVYosn+EC0e+ykpwecaQY4OWRE74O9q7X1CVGdQwMgnrykWyfmoJ3Vd1wNPcnhnaPDr+/yjzfumKyvm6ZdOsmS0YoSt8e3ZVZMp5brc+NnvJPoDGDGV/WFvHCHfNOuJiiwin0a90/mM5L2xQinFzL1UWPibsAzBunCybhKSmflpioB0fQA2FwwG1T5NCiJIAWA+pOHvnWvUoVFXdVyTamSm4teuS/ULRMqYPQhozeFqAHf5pYtpCGTZt9wbktwFDVn3aAITFpuVILeczgh/iqxx0E0Ovciv7FBQ5/o0rCdK1xtZGNamnynyIspm9oVt+z8X/a5oadzAeCa0uzBMwd88IJuvjnMabm0lPvuYqYN+hFB/ce+bpOuSnyvj9Knc/XvzFj70WPThTNia+WoprxadaIw8I2zPA/c2sBx7p0gVcsqC8NklskZn0oomidWAQLDwRfvqtlcGcaVfDXs6ZEvJtL2h19lY4i0LWlDnvvnKNR4t9Au8rDrZVmrTTOkoc0xIlRNsyJiSFcI5Yy0tPITTxOKyqB9onxZ5QXtmcXAhT/Ah0mk1hTWi8x9lGwCR4DmwPdVcXNJDpZBMDsFF8Wjlk5ETU31wXvEMgGDz2Mo+SbXQ2PfjQBcNmIUdCaDJK7EuhZCBBvhfodJvt8vQkF+xn4/GYFW0SpGdwwYajVOm0MCZoYNb+SKR72BUBUv49Wzn4Y7AyE+501AcVhgPal8Oao+kJTEsVoUToiXpfO4lJp/uxfk8egmTMSG2R19PVPbwmmhs7+mum9A4sF7VvjM9VZD4DKFrsYL18ZPOz79/9O1XfoK+I9eIb9WDlQm1kVdIhAj9sjNzS36Lx/ROYjVHHrdOzyv4tgvY3x328UwSe7cNa3hwdoPZKu21VnkAh0UiS8rz6yl69qOn0WNyx6ZHaHg8moXGwj9xL7y4GY/GcyMMN7SDOEueShG653gfJI3qw0TpmaG1yC3jVahprD0V67VTGrlp2R9u7oS4RZasge7jq/+MWukPtiQwKm6au3qAT7nKItLKU8NuK6Zd3B2wL73GbbulZ1QyXNpGuSCWQNMtMPzfSOCNuyOe0FDqZETd0aQJQJeah5rXdHsCUPW/ehj7p1G6lgBGX0AJt2AEqJ/ivosI+u+d5DivnxpGJQ0abb9FWKrGM0oWxg7AOgrooQLN1buxdc9Tj66W7+CrDhnRfit7rm6wZs4SaYCWtLPobbWD5UuSfQH6H2h17IixBDzYrazwUFqisq+HT8TP0S4i8xGUcmARobhvIsuVJiJQ2qtb+9y6KKNOflZ3To1IDsFHB4lyteLYD4eZVPD1S9Suze4b7S5fDMWelyEflU1YKjZ2hfYqRmG54wvv0nVrX6TsJH2x1a37pII5GJ//iZKiMnpk0WER+YEOLeVsxQkWXH00blXxIVqWYKo0d1euCHRSrBhsZajBMMpC2qudc3AiF3+/CzLFmoPdbFK+Pn630BJtLHmnRtgzv6PXLyvwKaTCFwYVRL7+iU6bF9jeCzITiqGkvWcZAG/8gFDPapCcirHnuguZ3ITGRwwjkaaHcLRKbPb2JGM6/gz8UfX7MCXLIZkLe45LdiMgdBfA8s+V7FgEoj8GxTGcCf+U8/snJpygI9OFmZxbNBUGaSEV76g2CWkTsIsLVLPd06L/9VL7OPyTFExAqNuMI1fdsXUhGTn7AbV/a+ZGUzibBxOq/8KdUc2XYGWCqY88x/xWXsIfzSHt/I25yXzkC4vURTutAFjEbMu4aCyfyETj3ufyoR7lkY0nsOi4pX1fOZ3ojesL37jNstJmBKbaHIqHov07cf+63Pex4OicQmujYxFEVh0APj/U/rOPElP7OO92UmQhkjYzTAumXUtCSNOADXmNTtjwLgkh+lQc+9Hx1Adu4+vhJZlnl/bYrqVvoxPyPnQlOmQbkJyOeofqh00WSI7goMLNML3oHPt6Il1KDmfGyK8cnlxRUnwzRTtI7qCm9wnZJhmq/oI4CPmEK7C5G0CwfLuQZdv2F+zGiFkn+zkxUd6LuiuGeauwqcDWzbwsxCYgOlhYgvChgcyRHMxsXqdsL//NEvmEG4DcRHfpzLLI+rMPFexcaIigDQ4AypIptrZKmPY9Qdz71x/QXeaLRvy/s1NRH4qxqWND31pvyrK+zdebQo/4Q0op78aZMRUhtVVZNYIgKszvKguvY6nH7U7SNsGt+FphrAko2SsJM/W4armCMnnUn9wfKHSzMW7O9xQS3sSAOlU1ZtL8sP80THDRpHlv9pWlaLUr+QK89dsTWi5ShCJOMjF+xP6qgQ46tArRse7oMN/oq3mJtClPuQ1L+YX5Y95KmyuOChTIKCm0J4Yb1ZUENCc6NlJQjCd6PvleAEGj7SMbrZFE1miFzsGFQNgNcwgpoN2Tls5IXFDzm6BfpZdagIvKzg+99Ef3t3sWSowEWEFF5Ji3hsbOaiX9GgxS+6dLkamgeCyPHYy/ZlcYUoJjd4RK/9QSAx0kq36xy3V+XWhyv5WfxGybqPPvEdenrZrh18uyyT3z+IXZEzGBf3E/faMby37U8rlmi1po7RLjuTlSRCyzoFWoFx5tra1POSAcer2hJk2rci8zjCSASuLoncvdWxSGwDRuTSmSH0kD4AxRSTM2qGuHpLGfy3cd3BBexTTWHJTBlUGyUL7D2+ewLb/wd8P5mWWDph7xaL9JghJuBNECAwRFXoKKRMVf4Q8Yrgz10uLuzO8QRYxIXwwxp0FXS5JrIU2M/pEja69dsjDUZrA+ItE2A87GScfsxtuYhey14H1wwMi468rEtQgoW6EINX5m3kLk4ZS4mjEc4Oe5G0IU4eOlHoYxzm7VPvJ01TGxeTrDVHIgsIz78JdQbHvD3xbq3P5O78C6OI0FBmmpM2hhEha9FjdsQMXfXF4gXnMh00lp3kuwyWMa7vI1pF0U8DWJty+dbcoGwSM/okkqBlkKsmLYeS0b4jicr6E8Kg29vOZdBNOXOrfjrEsmGsliMk1Oux1YzQgBUnDgCzxq6IU+FQpjnqsyZiK2PR0bLm2Sw2bI+0BnESgkUqP66+HuseB/zWjw7nG36Zd+G/GL2eJ/1L0honaSgW2L6J5TBVgug/QCJ/rTrwoDAwsIwvXALVn98f42jVC3rpLL6JqKTRLitWTUy8/vu7aKoVAoEx/F8E8uYX/W4u68JCTgao3yS/2B+qKEyF1dP5mlSWTH10c6CfeLPJpn4AJtrLzbp0EEEGaR/bApgx3xU/NTCRtrIWybrF5+ebTsrtUlLcZ0SZ41oF+m86hVqndYqg87mJAKtGasxagmq0k/Eh55fqzp1jjlbLIL93LSlA755LVNFaTk4JrkErPnMAx7EcB5kO9/Wm/zqIELht4Bmjb3J/xUs8Ao9j4WK94KAFmBduW7W1yqkwCv0PDfLzGqxefINqoXb4ILRfCCzFFWMpW4KcPIVnnKc4JoaUB/Q+A0JkGHC7CKsEEhBcto+mzb3BWpRA14Nwwn955IN2DPrwqzvEX9tIx9EWLUFIV/ZM6/lS/mo1xhFK83AuGPy2g6aP7ZZ4Rm6BPCcqjUsS8MdZLi7nCSCpwAFOmKqadQEt+HF6e1m0mulR+W87LrWevvup4RbRrHOE3pTljNlINNx1zp2ddKeLMbuwK2upDQYR9wcxkqcyaHt4TL21Ovqmb/6PB72eo5KcoRsbNYlKWIojgDdAXWdqpPFm/f7KKvXBpmzvmuNAb7h70XhQkCmhf02YVvvEvZIg5V2xvYNK6sEBlqJK3qd96nhBNBrkrNcOI5vUugJj3T4Khf2P4d0DzgTAMxuf/XOwz8ahI2Y9+207BCDIdYwtdj1T0QnT43Twqvqf1nLbUv7HdQHD7hvzVcr2m9mhmLyyWE+ZZOvyOyU6OiFRMXBUcWPMcSGIOk1lzM4/L2Rp6ROPF5KO3vRRurL/GtXuf51eGtlfPLuwDxdrtkUX6pTB3Hxj55bzTLEFYZ3W+EXFB25Z4GhxXS1ZZANMr8EpLJXg1fmVhudqNdpeOx0l9JscP16luEFC7NUjqMUirXr5eVnhyqoZc6FToxf1tj6CdPs4C/w0ylwjuLzqgOJLp5f4k2pai4JbVW8WoAm4wuoLsZmvVeRmwDsTnCDlHRKdKNJSsR2v9ZZ9lo6Tb3+ZHYDP8X6NzpO6dbJlLhUzGdXJH3VmndwhqurQD3xo7YqmPE+CgvWhfxnFarTWg0L2FAGytaBFM3tcdpaGkedwVtj0l7X6RBV0yBoOXwFgJhVG6tQ596CwLPKnjv44GdNNAMhyS+0NqKsMmcY6Ivv3SlcQaJ7AjpyVNmHP40v2YRpu2z+IVPYeokmXYb4sJM5bEv4ssnul7i5xZCfv80vYX3LbXMT7/30uR6uCMhm7HHkLyB7c5PELMNK6AKzYfshCwVdIVka77Aiee65D/Tb0kMOFWumbRaFe0mDIOqaz0xj5CSMVwFeHomIBzJ8g+T2L9sAjBAQBIAYJr9lqPGyRjDQR9hppZ0SxqrtT07/XQrdnvepahkZef19jg/FJwmtuuRa6mZMVuMgQiyC5MmB6mKtrVs+TILQF6cb2YkYrlJjE4WoNYBVJVKC/JGK60NbqayiJL4huB9wtqdMBmsLIfU9DEDBOTpjO7tcKmioJW8g84UTfhH3OzR9svqmZu6c0Ckfc6y8mHNRuCv9tCWDH1YY1h9LeIvrTH+bHLkb+IMi/Enr+n6GZoWVO1+JFPqN4sMZEE6FBF8f09/oZEzACpeWvWgaR8bXa5Bh+vQ5I2vUYD+PuOG/vg0zVTeQ2FOuhb16Qphu9VUuONcFadaAza7FRenVYsvFphDoYrax5IGRWCt7XNkUA1l5WfHXqxokB7PMuD+dWIdxZ8TbVaYccJNILCxoGrRMm+BMYpGwe1cGL/Tf/g3mTupYfFAaLuKQlON53scJKg+X1hONJ0g5tH6awRYU+0Bov0Fz3BM/Z9AbyIV4roikZqhRozR33iXNWxUaoPOR7frp+s+e5gbLmdgQHa+qbjDi91BtKoVvwXRBaw23oWs3rdtoZOUs1QwthV+bNLyDs6OId0gmsQONehtFj3itAd8jp+hRiCYvY3RmCOKkRmO3t9ClBuqVZlvx1Bo1bopyI19pJggS7rl/kXryHAqhXQ/rXduwts5t14Zpzx4r+4UdtG091RGbHHm0z/QIj7A7IT6dpfCg9ynFwBIKDOMt9Pv+xTVezHkC3LtWz0cBA0OtVplIguk6o74yp0yxI6kjRaepxMVrtaAg9ydyxS3MFSw6V09wXq2l9c9mRLE2GXwCRIUYl11sJHq0/iySigOra6bMURqbw9kSTn17FAgHQg3P/tuZii1TguRv+F7WSSFl0dRxDzDIn1QcCyYYc/GKZxyKNXy5o+tW/093HsX1ZQ48SSNR37gnRzny+PYXIml2H8iUf8Sa0ozpLOg/X/5Kc67hkVmFPolMk6Anf9gddeoYRdv3lFsJDP/gKJSiGjZsWSHZewqOwQzsi59MKlVPWNGJglbDXrVO9iS1iRxxWvFMz/RV0ZiIvKWNsc5oETXW6W08nfPofxzaFj64c4tu1Bec/oOgHeCQGPEjlhSaaxsBAh8kbPxkBbV38wIReTEDSjurSh+ncegwtOG438M9s5eKsO6GzEvQzok2huFgWgw81CFL7BClubjE8FALwuhuTfQ0dRyERb8uv4rAPbFcHCVHxjK3Adkl66on7VPEzcl36Tk4m550TCOHxFXFwguSWtE2jY7jVIVaraULwxPw062XKfr7GixkzZkIWWsj0tRKS8MW7b+4b/ywVDTvglKJtG57INskoiHgcm97vp8zhp7FiRHR2HbD7F4Ko09kdeJ3CcRF6HGZi45HhfHerfB91n2LH4EaebC9nifcUSAV75hwv3/X+RYd4cCPtjdP8DlYmISwGy0IX8jxgKdrAkl/mDgz7X4wKnAYPi8cM7Z2IptM21o98BZyPBFZy2Hyl0kJpvoPxMFC9CMoNVYmqrWoHICKg56NPkBny2i5rHLK7GK+NcWjhnyp0va3PsAnoqxs+ZzPwVeNAAMnTz6T3wZkyBR9xK+jx7zkvBNhMqgAHXP0dkfbdzjVyPgygu46i1b6AWdoWaaolfxQrZ2q3A0niBwUbhdqRmximmRUHMdZaPgF2oOvAKkUtYoqiWLrj5nVmVz9tcZ7/MimeQZeJq3dI1TZkOlG/rkzZcH2/Ikcjonx82excSsGo4xN9AojwY+KzyT+QrNe9rJ8Sc4f8QtLD+qIaEOi2jiCCcE0Bs0BVuNPpzKqKIePnx49ydlbH4G2yUf23iG5/bGX09yJ5pyWOhlCHfzLGVSURD9hKVwdu+uK2DxjzKDSYWqb+iWsBQtTUA3DbrVtjrsCzXH9UQdxuzCouT1B/tOPwldbo7tTI+RCh4qUno0rRUIyu8F1OEG/6W1NTJhgC1QXTHuV52HO5pJoy2hzESUYRuF9jVvsTbd53+YbsSUp9ikcWy6Y8e6b9mULs1dADus5elJLCcF7tsJubPZkf08VTHEstX/zhbTKXOfRipWOxBU50SPwFMhyavewpz95a66RdV2e7Hw0kL44fSK2BkHIDHOeqpv9cXUykIpUy8RJQsfERNnxweUFdu73EMIUYKnHGeQNhj3j0huWtg0lRVFrORlRGJ/jiqsA550siIZ9nWUFPq8U4eIYU2Ywix0UbdT6cLH9uBkKRiv7Z+RGbcujx3ciF+QvuomIbphaD0eqdEvKD6VyPmWsruIZIYDKsO0kaK1SeAsWWTE/v3//khWwDHai6fnzbd8N3w1K14H4jDxSzcYxQQB3g0pUK3UFj5F5ExpLTbzCUjXAHEn5qRcpYnC2ZnJ3gQkAGqgSIWQx632DD7RKBZgZzB+R5P8HqZ8yHpjqLef5OhgvOQT8TbC4qj7doW1Ri1u7me7OtDZtVJc1/6NyRFt4UVDLg0mxe9jyjKTMI+twSjg63CxGxGC/AZDSpX+qg90aReAvje016hQvkV5MDnJX3yLD8RyFmUlE+NkwPR9hUU1g5RmacrPqGQzIrlmVNDNMpMu7Ff3S6zYOIFIju5SYrAhT5C6ECDrr/aU6LlXyAiM3C2FLVAExOOGe23j/nLdK1Ndt+7EfOJQGctuZ7yaWx7Mig9GqnE2Sw30AI23M9vCTZugSg4470YgepPfEiq/1XtC3e6ba/TL1z3mj/PcK7mXov3f0jEAR39N9+KGUctL8GZlhXf4tRHprSMwKINYbFZEQsDbH+bu1nHvZ62OArqMxrDA7ZUyRP2ueTEqG9iD3oJZrs+6NBWx+SwK02bWxvSGJf1sPkoYmVO3rtFUyc2IFunb7J/kfYz6McCWP3JKNWUHj481wlwb9FCDJzpRq8usyy1ebGh1Qc2SfwatGZDsrA49l2Y2T4WEJrNyqWpYipvsDdUj07DVrLRLdKIeEVKEZuf7HqA6IN/qtu6x5ZPYci04gzrwRgpuOhL8nEH5uFu43pblYQuYa2lyxkoc+ckaWDUnbcnA2enmRpKmXsId4IMrbYatsZw9a+uVB1uR2jFkRU9vy/7UZaCE5JO9QURdFnf7O3vakfpZmOPlGdyQI/aBu6bkmSb5aqbk0E+yNOe9fQBCCD6Ucf5VCW0sD00KQcdo4K03/amXXYfAac3N/KowA8NOmpUHMzOzKFmIskR65QXK9Z2Z4XWfYlWfZ735/uQAcCw0PTKuprSH3BzxzJo0FJ6SEchjNtXAAOD21qyDAKr6p3Xw4Vh737sbzKR6rfowVhaTbrxG/8pp9T2aoP02k/1whXMunROAw1JF3PylWIc9I0opke8n7a+uZpEz1MLmg5vbpzArSkMwjTCb6klVysn8qUlISv5DwAgyt8kRDvIV24KCTCbIc+2NBuPoUIFeCGI6tovCbJSQ73/9mfmSNpRj38j1K0rqeXqCvFVw2iF9AI3LWXUZaNbJ1IPo3kCsULua7UXRFSZfoC8S9WFL3rimRvn63TxiOdSVfHL+n4z+AWNzKvLS4hyub2xmZsx7an1Mm7FQVEIMPCkePS87WBF1+HWtGCuEm40ef6cwB/tZ2FSzs9J01FcN0lFYU6fOl21KNcOlZcIc0Hv11oUVj4w97MIgm6s/WRyrF0g3dt4BLs4zPpeWGoxlhw1JfL3xGfD+6j7y7q6EIk4z5a5rumSQ3U8SBcNPU+461VRiu2zAUtMFhcu8BvHPIgP5T+SPlKfQUumkk/SmOdy+0BhLRdA6cMPNmugCSxh66SzgDOQN5t02/8cAGktOiFtG6rtsVVCYecr32hcKzSocxjirq6rR92gNzRIaBEUgZaYb6GGRgGtnONU0nPTBjvLb1cOsrdZHKn+L9tV8NGURuBNgWVx1Fgcqc/kByxuukM1YLcCxvMtOYOErjahyOFbSy95JZFftz9jkhL+PqG5GKyKPhWPsfG0zXFHyDaNGjnZqHqONLhcHbtjNHE/RQETSz8KSV++ZpeIrHg/cbrrqCZ29mVMvSw8tg9c52uebhfJo8mT2PQGA6BOXclrwPOyHP7G6zPWyIGhw9J1uZexfOT/v0ot3o2Oy08LYJDDhlh/9V2vvo+szDXi6y93/IM5d8xIAi8f+zm1usbBH6NcxbOSGleyV0mI/AZE4l7/N9fElLW9BOjjQI8uSZHC2YhHqPVzU/Nhv38xLn2ZnrG/b7D4ZiI4vUwLtoBiYoOQB5js/jBrZPoMx+iIvEzSWd1kxUsDhmPCT3fDtdaUKcwXtxEDVLXl4ZpSv6Uoi5bP0UEDMpVLMS1wM9AwXOpHBZtyQiWUMea/R71bzQQC6GybfUMY1lbB4VuZRAJuv0PLngMfE10Z2wmatw/L10i/Ig+0PfbWLH5CT6Sbbck0KHg4TqL8bV5gyHaKam2tiy6QVZGI1iSVJd6AFksoHmZnNCo4ehUcUawm8EmdoxNl1I2i1WH15VYSzii3HIrH0F8M2AI0+dWAjnpgbwXWB67ngMkfNbEtGKmt12f7Os00nflYk9uO/I+NwjxmX4e/npwPHYdFaItTZN+gpRfG1lrVLyBeCUkulT/qvrERR7q8DDhqnO8HAZcRCLI2FmA2esK8V1J3DovCgwwg+dw2/nA0VTswzKuuISfrRu2wgcIzbq5LMIR8JjCmZla/35PXDeXQglq8ovDyTR/DNzwqtQRJxcPbbxFkHqHP87/p0/lhKYHfcG6dQlLUFdXyQzSVz4OP4rplt32xVouyUbJxrsz6gcMFUfXI6DJzLhEG88sExgg4aWOc5E1NWYrYmM32nXvjdqRauejRGsnkGXDIASZFXYycZ+uMEsW0aT6hw1jinSKclxK4fRtxNlsPFtRzQRzOLNoBujsRHwcOgs7r90mmzGl02vlARMfZoEX7Fc7KTvOetEcespErZXfJD7Gwuh4KKU/Zi6/ZVuWTu9DgLSEGOHfUO6Gf4gN3yyl4ASXopMJ/cc8beWJZ1SuE67hl5OFp0btiRd8KTcWPuhdJbzUS5OTqFjTs/UPuPwsUKmaAy1/JfV5PsE8dEm2K2+vn+IYH2dBpTRqObVMkcOmGmWLP7pkJDlFiVrGf9/jmqm1yodEkBTRXvuZ/Lnbf9wMSu7kM4Wg/RlLE337nblWBaTI+gei/VnS4NoUOV1W07/P/6PZMGFRiJSvs350RzuDXSnESXKxhqNVTF/3d+nQgrExqJ0KtNxnqeSV213SzlklKtI/HwgIrAMGxgh3aBuDQF3sgR6V9Wd2v6qCufgPxh/7pmqxjyK4zW6LQCFZdzchc/Fozhphr2QivjLYlqWysWK0MZ3bOmWkYCl+arQ+1hIFhT7OINl/amUVMMkvy1LhaNAPYNKpvv7ngkTVk8PNRkOoKiXvdaF6H1gQDsrzcZUoS4yYoydcQH6lpzVY4VK1OmdUUTs7txz8Y8yow6cxFk7T2nkRBUViQs6krikMYjrNqbbC2BTR4y7+Cmv3EQ9z3sNJ2HzAS9sIx4pN8/yM8Zy7wyQph6OE5+j+8NHIoZ8L+eTbDAaYgSSvYpKh1dgtUsVnvh/OQqCp2mrikC7l/OV3VB083eHhTYzD7hscszqfgTl3SJZ2klZxkuD/SM5rF9hxwiSTYhU6+UCN3TeXbayvwwErbxiiAC4h7ogjqmdcVr3YkbqBp0EaEPs9SFsRHWE7pnM8Tokkzs6ByTRQT/gpjhzeYnVxR0M8ow7h/7tnJaLS1xoln+hDWFn9CDZts3ROBZ0w72rzpL2mc4SnYF5aYup30SeKeM5iM6HujZc+G/X+F5JT6ImwjJkpFQajekBd0QUGwSeJeZ8Auqi16AJemI5xnTd/XluNyKCYc0nJc01qYl3847VVzNlrozwygQdI7WwCost4zSSwvylejL51AARipgRo1Vab4ZVhfsCT63AY+PkVf5SAbO56YA2P8wXV8c+9Bq3tklDG2adjZxn+F7ULJMPFjPXk22WD4X3aRs0voTQ9kDKc3MZ/q8OsF4IdCUm0xvbb5WWsU0f9oMIoFmRg2v/RP6dcZcwHTBbVjukAPv4yC+6zcC/DEXmmGg9mCopKCqR+xGAou9Mjo/cgrLWX8KG1PC5wt3mfSXs6xU3fwHMSjZZzO+1WXn5vFEyjuml31gZ9riNQEcdxcnGYZihvWYUPaaq89FTmUE7mceUlUe48B6U/YZSVmkgJQM2P6rbvyj+0e7XMsoRZoxtmHnsmQcx0b8BkijJ1XWAn2u1w0Qt2IJavaTZScB9rnO7Ep/xdJWzT+3HLGRJGp8BtG7NthpB39wAhOCX8dbxmOL0VzVLozuOHImX6/jIu3sOMkLUw8MI39PozXeS+AlZ0Sqaq0A58Hjuy8tvjDZbJ8b76HG5rVdqbjP/6ve+iBmF086MpLfymgUqQBmAVb5+a5NPCuS71J0FAtVr1fTYdmVKmpMao+ZGYc+GCNW33tW+8eodBr1YpIN4caS8CTLqkuHL9lT6/tr8nvFgkvOmcvAu0P4e1rETvqQ60fvpf5iT+2i0n/s7hb1EFcDjoqYfGkkC6i7F7Kkl+0rqJyCd5TMgIJ8mKKYkr4mwVyxfoNCI1DbrmlQGY5q7GTEBp4Uaykrovciv02LKx+S2zeJKYuEAOXq6he5LFYcqyLbn96H/s+7CqQSWFjb6XiAlnVlZdLOUc+FHJ31KqNK+XScDqGJVTwP89e/danmHiv8bGK8UMesUCxwIdYYOMTJmWCoYoePNQu3gYiWfjYa4OaMSUNwH5UvhvhfBBigB7Itf2AsISPCwKiFn2KfD8GwsrGl9VSzZX8qPH66uNvOqoSbPY+iJ4xNYoyBMciAn6raNfUgj3L/ZcokPFXins3swqJmkCXDvD4B062bys9bZHUZhiBztlEKVUebNInusimki2N7h6/QZSIBKP1XyeSBP2ge3s9unaMrer4+H3UlyWg2XVpZ4vWUjlBRzLQij84eYVfxpZO6FPgsprRyoYtVmSWhnOunYct7i+PB7tev+Tr2W5Lz9MuKZYyfKQkKSGNnm1ztNgP1kdEXS9/kJ2ZTNSo5ziH0f4qI9+KmLDaffVTA/ljg3qMGgzugOTJxKvXmbYjKqf7/Jsj3BPHjJMxPX7qhHwCUWK9WcYoJ8kg6L22Jv5Luk2IUb31K7Q2Bxdu41u8Ba28MUuWkNc9qDfumhn+zfb+H75AAuQvA+SCad57FmpA3lUEVgNVOWQz+R5gyLCNlUQ9XNHirdHPnbT/YyBHI/9jczv9h2qfekMWUcEGLpKHfrAUJPos6pPuqzmwyTTk7nDj5+Nd5PRckjn/6BJLtdX2mByGhgaGjbFVLGuPOdaea/3e/vAYtlmJaTujU3V1Ax9ZvVVpWqPJQ7yZosIUM6Ts0VrCd+SoP0Kid2nVe/IcyrQrTaQiBxVIzWSRhTFfnsKbROnjTtQ+C+rIRdBt7cpxBHi8i+HvmaeKqKC3KSh30nl4QGOiSnp/Znekp1qRFJ82YFPNAN38COg7s1FgSm0PNvl+QuSQmWPDVaOL+H+wkVEtO+/bFxhvQ35uZxsCZ7a9lGvnqecySy8cA4gJvV9RHCRA3jXH3bX/gPpST7GB9PvcxhomBDZsgUC6nd/u/6oUG01fNVIBBPPE6EC5Gk+4+6dLyWBVI+zafDPQznqXzfhQVmk6uaR201IHAXRqZDrvIROd3k4EdqB5F/yJQi0XS5buHFfePr4nuRd6IBLQieQH8Gxg146SS9cvkBJBSYz03kR78Dk0J9GDSFggMCpry8E0JkR8g+xexYm3+1S1WpIZnDKiOFR8TQdAgV4wdMVjWSti07BtEa1TVKA7LugzQqNdxs0tiNJGc3YD7DQyOYhhbV4a8mdGGDOQUsewGoY1jXuM4Kcrw4Fntler3bTeQljDV/9XmXZT2n2nQBY6UgPL+cbsxDRKMvE2ZOscmqUtIMB7nNgqauI51afvriLN2/AZTb8jKTXRgKsGUvooIN0YOSKh1fsA3jFzjaPdQMdRWNfYQ6BsGlHxTSCewP2gLEcxO9a8rkepvW3w7Fik20A6b276kzef2n/MQlT2DCRP0GGRdSar5OI7IcwFP1KeRj0C1bXOjdH0ii2eXUnc7DOH3Js9mKQV4/URInI9wGsi6G15OAFhaV7c4Me2mb4HlH7sc+2oGqNXTS844kPWh6tQ+5d0V5Av2Mku/h7PQopbG5bsNBY2OD7QLnZW6YNcr4oAhe09DCwkXoylVUnKibwoacamafww8NXLHZHKL/nerbFF+55pe2JuNbBDKhQyb/OxxufL6A157UKJ5VGbYypMNaoDF6dSZlM7SJrl/H3GyRmSiw7jFxchB7NQl573CnRgiCL/whBDsDxKIv1HjDeqXiug+Oz3gs/ylSEaGwKRr9Z7r13d8BEzyTfugh1O9JNaBvSE8vzRIHsZomi4Th97wDN9xg6GeO7L5mFKqptDHmd0CWGof/zMIoyKQ4z8sRR0qgeyueIWm9TqqTWX9TJPOJAf5MME2P36q8Elp5bFYbiS75tTMbRrjXbdejBtLQ4ryJwsroocEa002TQC/yQDjahDDjqDXKv2CQlKTK0rcJQe2bNpFwY5GwVbhJXI5/hgWAk3iV38A5sa7yCl82AHokmu1qfHvJzYsI9IRwS3JXl7zMukoEEFlMKY3uLNYG/aboZdMeojIXoSLdTzbNRBnARLsrrFL7hztM7H9AxdpicNKmm7I8OMAJz1MuyUtNfmevGLe7ezOtrnVv91XCSi/AgYtbaziV5/yPY0R4MKeUTLqNNEAS0lQs/cqOj1C8GANh/qKAgv4Km4ayJM3bTTH+XbEUiSTWC6Ppn37CY/52QU3NZ/wXhS3RPZRrnNbUYJdVcaldgzEDkvo4QbWSghkqe22NBVxK8VpofkMPpxmWzWntwHu1BsfC/N6NtqTaj726VopCIo3SOvrLc9LwpyCmAdhZ59kHjq9SUAbPclPjFUDJZ8UZZUCj1y9AHRm4WcqMBcq2zQeS1Kk4cAokEBx4kL+h7mBc9Td5wManXr2370oc4G5IjFDuU5AorgtHufpOfWjbVcZiLg/wZYXYyFWdXf3HbXciQhVKkIgLzDd8Cs7q980e1X0t2d+tQLtsglAPV+oL7jrt6Yq1zUe+08pveBv5d612+5viPLFUBfs5j2p1AOs3vBxAvMNxuYmlsT7rch3Ja5otWM9XpF4uAOXYJwNhCBenxIy8bjaaZoVahnH6bdcWj6zjywInp83yydgyWyh9ZggekKeTcuq62qZozI988ToKoFFeWc24pcdOoeFILm3UvitmoJBkpLIRICQ9I5GQs8fpYt9h5LmfnP67IiXTbhFAqt08WRWR1lBO59gZK3/yYVE9cLImM+JCX8d+6OA0h0Ek34FXDqTUAsV4b9FAv30BKs9kDMLXjuruf+RhjIgJSBKI5Ed33En2xLwruC6f77kvrgOIsp+M1A1CYxeRwb4RoEnJ/HzOpPp/dEORnDJ+53I+UFIH3+9UiDcRz5lnLZkYq6DRsKj6BYs3GUooiURGFqhWnwBCuk93VfwZbvw4XVSqEeOtQ+FqGP+M5aRWfsCrc5j4IJ2pusppYNO81U8GU80eojKR+3FYorgLPubNSGmtYHzpne1uZpgRiYLwEG/hiEhOb1kJ68LCkMlrTzv2JuTSTp3TOwuZi6YkWTx5o6cHr1ItOBWHDgWSaaAhPEuJKsNchyN4cGrUvjhYYZ+t71xaqZuJwkGPnJQRkszhjkHfp2SFCxHW2hZ7yFpaPkAuKP2xMSTO/SOgiUGv1jUdzYzorkq9hJdZo8uR7K7qCuuiz5lbdV830xtN9O2v20CLzF6kfiav+o6krifrj4GWWsqOsSkSUbg5SuCzeqzDCdZsbkGZcAC0NBvbdHQkM6hsLzhLG4eKELJMj/Y0RQMMHvEkLw3O9i/UOxvA4ylONZddnNlmCInowJtMx4FnULjfUcCF2M8pLP/ZUpO4sgDKzFoo/YXTo+kfBgt3orCqGRqr0wHbAlULyswe4G6PAdqJto+4ki+cKfLgSH83CYpKAUEWqjhGIj/R6HIGqu1xpk1txuWX0dtFyn+quKFerFfJ+/jB2GHdRs2n8X5hlgbqA6WQu9ZVtj3UWXk9Mj3wDBfuX20VpUBTx8SE0oz9XGFN3ir+jO9JKhbRwn4hq/RRVQB0wYAEtVdU0LVhAgKhd/BPRHBORH8WmrnOPIYISp1scvAS5DWdJga5xcf+KZUtFOinITQ27yKelugqu42+PHxhbKpZNMFb+seaEqnLqgTYxo6uct01ByJ+8JCjnuvKwSir+kz3kbmrMLsSpORsDrIiYDzf0OS3q/8uY+MgKrmsyIMAxkdLUgEoA8ap//BGOPWpnygY5QVKdfc7cKYVLoon3zVoqLcIRW/DazNFxH6Fn+jHKLo8nZq3/yzyf+L06FmkTMN01QFJVJUO2io/f644SNcjKx2ZQlA9W+106Bm34ifRXyB7roJZYBPqjPLhpXLWXMF0oe4tLjKTOtu33mzlfInsVMdcaD9F6kMKQ2LJnTyKJ+a88Nwwq+QMSLm4UBR1qgU47rHbxmZmPYIo+zInJtANTCt3Dryf2lQihfGFJvMpVPnYjnLP4PpLYa8yzON31tsmfSI+M5czpwOgKlN2bzPiMUD+c6CVgj028GjkMId8fXkC/uoWXLfdEKiNCATZ7IHg+LHxck1nnu92oUQJw9ludD74Aj1lh7RdLpbuKf6YJ8MVt7p9vaHENGMpBAvCtTSPLPoMykf+l1FUnuEfE3kLHT7gztK+8Ypz/AEjnfwYFXR2y/nIK5yeXCsOWAUjBKSqymNS+iKlazLp2dN83aEYMPFw+yFvvMSuk4cpVpWPDmlQxF4NyMlEgLsMpoRFf14lHPihbEc0XoVRjHeZ9xIHHuoBHWFh6/XiMqbM14cT6NWPp4IeZyA9vO7iiHQOJbopmgcxsn63b9zMy9ThEx82Px8ODt+hGaiLN7DtVebZb6rSCvlpBOnaipWZYbjSeVVzUaIIkiqlpIcg127s4RPqVi0yapszx2voOTMYfxwHyXYQvC7Y31IpwVFtdUY3gy82VsT7sdHO3zgRuPS4tboJTnkllNRPBRM3iB9Z78mA8r0CQ6StJUfmiYasEugG5xm+UJ2TZFqXrz+ajG8ZvLG4K0Dhz5zV9f776YvyMf9RyMixr3BdQp2odIroQ3m2H7WQFOUdaPo+d1LGi6x50JI5TwNt5Sq576pTjuQVWRjqvcaRqXO/L7StM4I+NP2/5jIXsvGhF3z9SUa0xQ7+PT6YqUwNtA7cBfNfsKIOyjZlSID60fu3w++Vcs9WYSIUEap8N3N9vsWVpNj/TjDEiokLX4YQMa0VTpyvkKJNTLBtTLJBvMjstYMIVJcH/DzVmUgVgB2Bfjb+spnnR1B2Gy7wTKi1acPv4VVty3W2V7NTMefWohbtn795ziLtg3ntmP2XjbIqjoiRJHW4zSqajopgpY756UevwQAlPS7JOj+Vf+y2WS1OGMbgyVoil3/P0T1Py30RN7fgfxhhC7C1JI94IbWvvyoNcr1TmdZPFgn1pDevEnrIiGqjP4NEicj1sJ/JXvfc7WAN8x+CgwzfNJarz9dZE0VCNVQdKGbDC8YrIr5qRwCOXhmeNhLXjexc/rzd+kROm5dgKJ424539Tbpg03odS6z/QVzfCGK6eyL+I6yKL7jeA04H1eXAhOuxTq2g4TKCCEKsiEKdVy5V0SAgGebVkdRvUehuRbXcD04rkNAkLLEHDAVSXXraaUtq/GuPFxFju0b57U0v/jVwMElvZKTMF1Nk32QcfWMbJU79W/RdS09PTHvUntBM/dVxjvW6yVNGQzF8rAMkgF1rybRRsShXimv5JF3fNfZCen2JAKqfVVcdosTAojMoPeN5Cdmch6ANSBLrZOWzMm690GtAHeTOTVdwEpf5tt8qj9czJaxs5nW/fAwTeNRPT21S8ifelQbzLoqWrA6AsdvEeJufm6LWSLHHX6lOJYaumqZL86aaynxURma1YmOE6pDYXO0aG7RYeS7Df9XXN9rvUmwUIcdEMX6vRqt9c14HD4GLvFw8mqZiu5TEgJiSLc9I4ENqjR6eYH6hAMDFUw4tWA1xN2wQgQCYWRZkrYUV79TpZveIxrv7Us+VFVHk2zOawrCeQ1ZXPdjLyhnDSvx91LVukWSZSVSiLl/l6ivTfbvsBuSQgbcynBF0hY35aW9e6LWecNJ818X7GrGTc1q+88dYS3r6jATzqCTsxq8M7QM6p4uBUWvdNbiPK32zjx0lxc5BL6FioC8VvbqZ1DpTKsM2/D07OaCeSpSBYQXu7ui99U4nWXDV7w8BjLmimAeIAjGzgtjxM68QmE3+2PDuiiGEprGeOWiENLE+P1/UQ0njizwJ9T6QKjngojGqQhR8drJ8RY83p0NjO3gKgMZgwpMerdc2NxenX3RCkvG54GjJ/H5MRv7ZemB2qPE9nFSB/d3cixd21Ba2rQo9mUpWf8fIDKltvvy78OgE19grGRSjEQKqt49P4cIuzXnWDG838mB5ko7kL5DRTIaJPbyJN4ZNnEWBZsRf/bL8xL9H/5I8pOFBn5NwAugTeKd+CqED53wyhF3oSSeR6xYTGl0eRHx+kFrcp4TZy/kJL42rfqh/dpSJhglkwBk78UTbN4yEOA4yZk6+xdolGBVXZLFlvXOM+eooNIsuRVTFi8jqlA5ckNs/AdssaQLaXAD5JwnoATfVFG4SyyG7rluKiMp491ByWOSj6ePlvlQBgA18+KNoszJpQGSPtPCkXdLFjC8HZC7Qyq7aw5yGagNO6kVvUZ5XyMbfYXDtGCh5OHKnfOBpCGiFj/fSHJP0MYEsSLNuZu5reyrlJDgN18w9xzOVzZrhAvQgM03naE0jBrXHNCwDCX9AHgkzMJTxGyjqDuT+g9RdfDG5ALehPOvurMADvoJBrmMwWSS/RemVp/NKQQ5pNfoLm8zcix6CL59m7pCC6MdD7LDQS1ycqCyFTGlAk+GjBjDfUOc0sZyEbxgKpcwJ/gfxZlUnNPowquKiR4AyzxO+SxHSkkOvUTL5ivz9b4LC3aLsjkTt6beztyUOeB9ubX5M9JvlhyUyAYSZ6/BWQlZ49gquiD6j+AAJDSrJ4FLXhCbBDuVVPCHcsBV7rgZHtre0lvNEmCqH5JdCCg0G3hDoItFmyMMrD4an83dJNQeoBq/oTAwS+0/2iy+1rC3HEQSsDKRVyXaM2KL1Hqvr65ssNdPcPYc8T+Hxc2tbFiYFDP+2lr/cbp72HE3wdtuwltVXxjFziXhGmkmh/3OoO0wKpqimUjgCI5+7zXl6YzF/k0/8mCombjpU+Lb8z9Ob09O6gcTDdC6cHyxkrgTmrSXj811BMz56EjtIMAuueRwbclWJrphw5Yp/lRITmHEITLv3npx98zvJk53UV/Jsd5ND52tBtS2ZUnyY0xs9qb8D7g5uUo7lPPA2TDYVSQTDnFeAGo+/h3vkDMKEMUILdFxsRZMX3d5p7R3wuqxNWeoENA6RoJyUNthqLuc+IvwibrJ2V+RqpQ52axUIpevlasdmKXdCim5oDIUeIPGKLJfwMW8Z8IjdN2wmgt9NQ7r9zGRlgxyU4/0QoaZLYb8hl4AgZiG9BxxAC0hM6aGyr0Mf04nnrSuXQyCVlY1ZLHOyrli30460bhFosSDI/WU5OFJ8vYJYAgUh9qzOWIQXtHNBgu3wPee6VDSmX4//+FoyAEk0lU3jrRU/xMrYZ+FPVCNN8f2N+2yO5XH1LU/EmI3n1lfofLz3skiRtfNPDIpUxYuYpw9LdjBJIizXHR145cWBh8Qm8UgfAMg+znYDoEL8gkP84u6dI/IaJLmVgftc1Os1i6oReEP1Z0PRcxnGNtKUTcWBL45D7HR8P2ctxqJ3ZivW+x4cnaitaNQXPSjJ4ZTvQmZB1OaRKnTKo9KvLBi56YXOv38BNQSbEd85VjLKIu5/lc0JxULTGHKioivvbE26Ol9rjbMk8L0QuXgykTwKwYgpXAV13bDoOVnU/fM81Egub/LhH+BoQMJoHZokhw/8VqPNMEZEW0StA5ojkrLkm1hTf3mjiLzyl1JbQJnCApKh1lTjynqiOtHM/WtVe/0aKuNsSMEWCDvMxxGBMCInGCpr9Xw0s/1mik1to36pp+fvRMSIDAJ0eYwbwUtJr1xbfF6FrGyzi6YVjLLprtx8I1VISNoOHwVBhHaKXamqiSbOVMbUp/EBpYLnQNcGU4ZYnA9u7TQb+aLS+JDwIYZhWdjrhrtQGBzgQ7fQR1r7Kb8YRVHeSKyZBQh4DLLN2u5Q1FHxV0f0SWYMxsHbaBHdiy7qSsyyQQQkYQqd+5DXzGPznKM/rvYvXomXPMwzitlsXlNhWPVF2I0QtuVy9YLEfXF688XvpYSZIHXaynWZiTxnKB1JTtx2rOsUmCCLQt6slqhvINlEz9c1t15bDybYoFykXKapx3nmjW8fQQWt0+HnLlrJVLQsZI2fonjkZqwXeaUIlfWLvDm4r4kz+PLDPCHjc4XSsnIdSvtQoktujwvWAPvvLW3AJTGthP7LlJNnAPVipf55ObLjOIzkBnMbkRUKTFORvTT65zKLQsbeXdT84ZOzF9W/XEtl4/eadfg0FWEF/glQvAciNczHt6vhuOZucRIHuChxFjgMyV0Hkls7lWPoehRJ7N7WUyE//0u2Ihl6VR2mZ8cYqDCpLTQeTJOEmvXmliWXoAiS7+M8eNv9nALQoVUHuCvaLWA1DrgrHdOOWCmsaMd9uk+qVWxw0QStelqufOSkTsTBF3EdfiCJJTcguNmXXJXJOmv828ZK0WBBjqabR20U3xgTF2tBicBPgjxFUJpXv4Lj/CQwI0LAemubvrtNSGKskYIVHb7xcOzG53hY3LuprQ6eyXSq4DSHtUwWDhCVMaO8zRkWc/6V1rTPgoF2UrWACwYw78WlS/V7+jIFj/4BcBPbudLTU8Omgc3XPRmk3Oh/47HyE0kivuzBcJZfz4K+KOktgcTBrmzb1B1Y8t3KpXtEzR1mzfB9n8MzlP/qyJtwFORmWsnqo/7EVMX/CF59L4CbocSGafPFd38w1aMSNGeQcEIw9hntrCEEDZRnCkZQtHTK4eXE+7kOyhZrgMXCKdp2M7kaqnJItlS7nY0PlHTDBQQRw7xLVbjtY2Mk3RvwAD6/CFlW5joiownxzlprGAn3ji1fieyM2e/kMAj7wXrc5OBKDxiRT6tWg7lGV+GDdZnrGyDfNFnt4cJsvmckpf15CVc5eB7smGKQ6AakyngFJTNBf8OMUcAgkovhHyanwdqTswodGtE2J3hxEVojv8YIEuCm8fL6oUWWyraYtzxlz5TKAC/+DFb1PcuzyjgJongUn2PwtZbtaGui5GecptrLmiHjplwD6k3M0zHiZYWjyuSYRpH8hQkb0Cg0D1cDKvgcXBo9DisvqEwY1z7tHDeJ8kVt4361QpRrXIV1y+jcU5ht7kkL13HEgORQAydxxuChvziK+EtrKrbU/5bh0KCjNVE54avdlm9gf92FAeXs1o7CeAJWmDjB4UIeZWwhxe+TsZ7ffA0XcXP04WiHFSBd/gCvSUasoQWVyZIydjNMSE9FhHi2/9hUsQ4qVJJgjV3gdCN0Me5XsEa9mETfwJToVpcDUIEIZ71lnEgQx2V0kchfl1lRhe0JwxHMXJ8Ac2ftlncWriKBTCoxD/IZv5NA3VdSu9UuqF3No5+DgNIKnc8oHd7VoQrFGBtg0xOyy0etMJTaOoGgOmtOHgjPLj8ljPPu3uVx663OJZwhZ7+FcFZdCxrzN8PifTsdDAnQd0jljPnqFo5MKib1d2dG87uycgaY6y6RX8nIIzgpWZyGqx+Tk+fhPWJzvZ8iISmNF7A/qmQKAYWv063wuGCT7Ewq6e5hGYxCOu39Sr7qLIqJdTaMxZySWUluGOzV7hJrzG80BPDGSZnGG5tglZtpLaOfFLtyHcItgxcskBOrS+D2yODguJzl57q3rfNHaW3hq6gyq4//MlXtUwwA0QrldEQN1vMJVSrM6g7by9GOzEBnfhxI2vfnfZrwr3xIXg9zpe6WH2E9SR6JUbvdGjd73JFifoE163p+zRwp2HV2CGjpveMVMZyiZkUFVcQLqTE9FUPLUdRZOMYkY2032YSRsg+/yHCi5/+Uk3wWnb7Kvf4O+nj13n1oPWXfO8zekKpv2oFRuQyflCavKGLSgJOc1hlEo9PWXWTcfUEtnAk3gjffKrz6lyrz2jGiZgG2m2ru/acBOO5G3Q5i2lhiw1iyGUo7Eam3rvAo5m32UEUc8izZ582hTF2AAP3Ckz9rwMJg09UbYr8BXae5uf2LAmML/NCEwxXTMjoB5mnaY+IxsD5B53UOk/0WIXIhnJZDryXGNuxRCPuzJgXXOrsJMGVOSJ6de4lh/KyyI9aWBZKF7CBAjfVZSxW0D8JHalts8cDCwijeHD3pEbTQ90Feks/owLd67ZVeYl5khkBtAJN6/ZWeul/2+A3K1WjwzveUJ14d86QXuKDFUufn7I47sClITqVVj7W12hwhQLXOJrQagR9MeLH6qUyEB+BZicxeNqrolb7owscGYWeL0ygCPylqvF6nloBxLGbchevoinITL8U4ODyCUNEnTnbN3HKuimoDfzKz+N0CrKbUp9s6YtViVI103oTEbRUSmtJggBjwypXWFPyB8Jho2c2aDuBQqX4ayV2DvQhThueX6zjNB1SLctESA5+khvrOPDYlmOoUZHch7n/c0lQFo7woKpHGe3Jn2qjCE/mfTj1XPWIsNb6MoaFHv2jWcOp4r8/Uf+H7LL3r5UN8XgaQ4xrd6vnP/l2ztS0b9VjeGWO1wGLXgTDrEJa8RuGuoDOKaONBwYYM4P9DUrOYoniURSbGePPf4ps+TQtgeqsiktRH1u6JRG0N/syNFCXRZzBhpVeHT4xZ/GSFhR7puz3pnsPUP2XobUmnwhpTURl+Ug59hczD/dmtk9tUq8jq5jUV0eFsbi4TjFCbPcmGmO7Cu5fQoXIugTtKmXx/BrULdRaIw0uWjDzr1mSBsOknqvCq1klaDltmHnGHEITmK/xb3eafj08PHncEGm8GsG9tmhfVD4ZdWUAKr9iZKll11UG8pcPYiTqk532e+JuQmMZ9YKxWAbf2Mq9w5TXRdIx1bD1PjEeTsU0oS0hNwzDF9Bs6kzxTac0wFR0SfiUqEOk0oBO3Or4zYxXLj99jBY0g/3d5CCCKuTi66ZZq8fa5txJMgb5xGrJW475KElgKAD1St7hlkhKlbBKGbIEAkuEogRIgvd5Xs/0MFT5VTImuDHz2+NzKPjCJiAVGK7/ztePk/G0qCevq1NmtCM/VOAGWBgt6i7U807WVZkuxj0aHZDmQW/teTPepNxTf0+0M1dcLTNsSfEs57kVUpu3vFgSPgFmSI8M7dF2n5oEu2BAhGfA0HM8AY1/HgHJzCsYoCQHU1mxu2nUOBBegQoevw75vRdpbNJkclbKC8jOY5CUOhQOCnxahWFtidHpyonuJy9IENkvyZSsPXEb/Fi7lY0xwz8URzVddIQhA+cRE2m2BdSWX0J0wuJ8ybobugVNJr6ktoX6ZcWFC3HSTrRH3UqhqWdnW/g55Jt4sD31Fk53EKpd38NVxCyYtH+KhHqWsKKFNdiO6bgcHwRdRoN0tv5dJTlZ9uQqv21GHVT32RrwyO9b2FgQMd+xZ2YrTu4sr3aGG9d3Kys4FNPctD3n3O7gFy7XSZkm4qVT9ryQIB9pvrdm+DEMBQAcCVYuJp5+xhg6hPt8QX7jTvbObDaqnTYbCRZtAG41IZ5ANKJW96BQGgceWSny810bUv2GxT2hUxV1hIxa3MBUrw4SG/T84/zwYBsu/hGxg5H4gbNEmQrVyonb7Ynqdz/UifqR2f+BkkV88hRUVpmIMFDA9gKS/uQhN7MwKz+UTsMJM7Z/GcgR7WSVt8Giu/w0I0sabLjhxE9Li18Qf5wgGq8q6JFCH+aoXseoTMvSr4nK5NmQLNQSlgpwWqzjwhClx84fcgpZ6IJuj0Wa2FrdriCwsY3MvPusRPGEqIz+AXmvoqC+RniA+q7j89KXKFrYFETWmsYuPKje7HXOqjIE6kkX9CEdsz7LIccnZS24fXsuRl7c1sZtIqqh4MItiB73y1XkX8Pws9CxX6JnGAEZK9g3B7MNTTaZG814brW9ANGg6q0bn2WAi9uvwcqYBySiYqUVT8Z9xk9EP9W0n8a9rPLb/0Ds8xyhqlfaqWTeYZJxDAtzVZSubvHhaazJiErgwaQGqtSFqkVlyK9DH6ATo3Hl1CTiFNqUKS/mdYz+MuPoIoVoywmG/8qW6nidffU03VSvPBV0DLneqfEdImPzdUc//2mB9f8NjiGxIkUfaNSWwhJ+7pN1VJ3MohGUZuBJKJvGXCywwt/PQd0rP8AD2YF8znxnP6wwHpobEIeFNvG8fu7on5icn7NPIQZ7KZCPTFByh2DTEOdeBvxbufLH7dEgEA1pDDD05klXsF1O8a9TTyvXnYaHDdjUxlh6PkxAzaeO4n4IKLYSnZ7ZdCsmL1l+pNiM/XI7EmsrOCDqxL/Ql0/IBK8L0UfgolVZ5RxjTXms+zgfLrnHtm4ZRW71ZTgNvMwXRhgaZPErEyzp3+V8njNvLYSaauSPfVB2ZUSvIoBZYDx3xtJhmTmSf2xSC6pJMECjD8wxVS8rmp0igXRnRhQYegdYxeUf7IlW/4dABhymrUr62vgtEahjcCPTq8Vt5pcagguM6pRDd2H2RZxKbSSsAhnyKjTOxxkrZaIjza11fPmNVYcn2eQOgECPfcUTyosvnbh5Z3ASl8+dABHiphlbe/U/XftF1xCy/43IWHV9HscSNyLiDppdlZBWmVo5KXvt1aj7nn6ejQagom/i0jYq0CFvjhGRaIffBG99QQsIdg+7J6CHtuP9PNVd75FrFFa0bexMGzAAoP4A4Whas+rVbWZfE3NCINJNxOyRN8alNuTLBVzsQyWDu3Xl5tJjmmk+5Ro3R2XxYJSUgiD1U64xCMHHhcaxc/z+nBG5HqpKNx6Kb84WaWKLRzFkvH8GR6wlCb1s50rAJykjpXSHhxqrMlZsO46MiaL79LmEP1Gz8hoBFVXNtLkuk3660w16aAgMv9BGHZOrqCrQonCF9jQ4NwTiGOy+84dC62wC3wO3TQCbINw1TipCml6XMXWD9bitpwQYtemaYcE/ZvN2nAQ2UMpqXaICk0l1Tm5LDg04hFoZ70MB29pCS+NK6pcnHQa6LD3L4I6LkEMaM+LWkdYBMwTNnLIlWDid3ZAC4MuHxqiRi+cCVxEQW+V3cutcmbtoVjhkMibPmS7QfWcBbPZUMYh1NyF51m/bT6X5c4hQZjzIxSQk2t0FLHP3hHekIs8LN0+J/gZGJ5/s3iBLgAFD21+BRxy9zib0159I4gfMnX+Dfu7IbuIWL8iei6OHlxq65hWj4pjFDPHeJJ7pcdyO2ZuTZNnF4rSqXS7cWwGV+JDe1JVXPSmjCe65rlPLS1NE2yx/joNano1/BdAbPPqNpdADd8OQLJQ4J5Mp4/xCsAbP/W6fM1SY237mEqplk5Ifbu9Fp49YzsTrRIDy3Xnqs1oahIZCsGZpINoaQAFcT4uNEEq6TEwTyOAKhX7KPyZEnPyqnlqbCT7Sd0w+TTRuA/ghvszPvXsQFkmgoXRDYjyqacNTsNjYa/lmSuLkoSvo9Em175vIjzUVcEogydkrNWJSKD5BOfM9KzytgUlIqWr5vxvIw/Bj1ha4EzUjvXyBXNa96OIXStFCL5/CMaPUHLCeayg/L4Et10R1hjDIGh1qgygguSiEXvla3LxEARVwe08EBoldzjIc4GaD9/4PO31FZE4nmR+5ghLCebNa0EXWAWm9sShddZuqpEowCOrF5EoA8uW0meA5sIBW9eDMTmXvKKs4nXuq2Gt3ioc6rOdiHEr+2X9LX+cr42pnK/p/YTJE0ZciJjRf3VcKEp5XDUrlU407arEh4HTqfcO/dGEBXmXP0lxa3IEzDnBt76kQWF/t7SXPoYHnTA9iq9enz8Pv60JEoVJRHSrzNh9IScFFFdHOEvlNfVlrLKTfhkeOZlbKUqqa5jEva2KT6n22dZwalBVTKd9cJvTTgov/C0ZRtSG0AEsy8p9xdQj1XK2PkkmVhzRDI3qgv1vVXv+BP1uVBqVZ8lXoGIhAlVxyj+ANk2O4QJQnT0bgY1cZtCYjrIcPrq/pIKEuUiC7Gm0gxEM7yEbJsKyW9sz0ndf1OD84zuw/qccBOxs3XWVpdieizMEO7y0/zVCqEhWaR1uzFWXGOQDkkaTw7crdVLAIGBgGwWN14wZLSKcDkzQ27/j8Q9oP/IRPdjYbTdSVsEhta/v+V1KRo0wvq41f3HAeWRfzpJ+XzRf1bjAnyff4heUkgmYEI0vT120clA4ruK5UWnUNdqiK0BqeyY5eXVo+4Es+f41qiH19XHRJdcSoyCqDf5JH8NqUrSaMPdG2QfHAxYwenSH8L3i3QX7u19GsxOQArFDguXeDNxmWjZva21RhUFQSLcJqc3J6O6MyzYKaTqWe/uNo4cw9EFaGvuARLPu7OWycsLAPFzgWddhzjPwd/YfqMJWQPUYoR3NlIvb38dX12ML8xIRS+m8DhwXnTMV9J+PBKs1VFowdrILoOie0387TJYxhfOWNuH2VRTBxmmYALO6txKbstNzpCPJ/C9UDR4BFjgQzU8/XNmEUCrKCH/11M1fh69wk4VLFlWHp1autFQ2xxtS6RojP6kQtsgL9lLaZh3ViEYo6Jlb2q4arEYG8Cnxls3LOjFSkIKKdeGuh234pYpr2a86n7LQZmBbOvhXeEsxLTERLwzeg69zDvUlq3VGU5+7FCugdiWFnBy0A5tPPCELxtfsGF2WR/TyIfh3v42Un14Ygq56//Q6IhmkreW1jRAV7UGk2NYp2KCgkTO4/r7y0Re4tBsGZTn5IzjEN1QNY9HY1WLS9wIIqlUmHilqpCK9UzXy4dphlIb/IP4KjL3+HS4TA71S6WL/MyUw31wIr35YGgA8TVhOx9wRO3gnKCw60Q0lOdwKL7Zj5NqV4dgTJJ4CiDMvE9LYjPZJp8jKf4uGcbVZfvR8QduTq58cF6GyAWSsmuSQQyN7yvugqMWEee9+6gnWJ+up/rpTiaXvYLKNVXqzQ+XzyqNA9rot82v/lqnGrf0L+5YbVe+KOmyvp86vCtHYucVlLPUnsNHnn59OhhWxn4xdOsuDtlW/iTwAarxjab5zjhKDMRS3BbTKfIPAu6XNbNsgn1ll/hmoK5eCCgoLMPGLrnhzg6gUSwf2xLeGB7T+eIjycCOBAv0cYkeousvTLSSrBQRoUxUsDODAedkt6BFvGlnYrMjRh4AiRrTaQ+XaBxA5b0ZgtSrrcYelAr/VPPPAM+d2rJs4DNG4rlpg0Kquq7QMycgtizpxOivr9WvLu4qipz8ObvZz9YTgg5ePJOC3jZ/ur6rU8wQcXMd+a8k7f4T23L4WictjNVpdPfNJ9XXQZxqbdxMsuOCSuv2YJtaatYIVFGvvJE0AC0bgBkd8mhy5UxJX0ytkOxE/cWeQglzP9a6vzx/3m8J5QAGgrkxLA6DPpp5CqltU6BZ2aRBdMmuntKEpfc1hAoetYGgMH6L1/9kLL5HaFpFFIKI/hlVBe5HNdbKEDjZhg2VhI4QUutcOzr3Fd5g7tpPSDLmZw0kuKO2utupnL7URodiC69E5b9FI8p2UYIrIaEJD10Q7dSdrY1SpzYCntT81Sj3wyAom80PykKKLxYiu7zbQrdTHSFiyjkahwn3Gw/olct1bgfutq8n7RO0ixbtE9MQqtLDp7ljyozbQfdhj8VSsy+/aMQ2rZT5U3slqvwxOtOtF7cbGdxtvrW8y8mHFo5CKNPbb4M47cq8MHDSQdQgJEQoMFzECpxI+rAliherYW7VOzO19Lss/tvKll1sz1GTOwxfwl70DdsqrQkV3h6pLNQP+P30ou/geRxivL3owhn5NiuFAO3YZa7otnJlQSOj9JNrSAiqMRBzYbUSjXNb80RuesIOrfhV8Yn2bNSQqszfLTpggEH+hZ6QzE7j79Li0S4YQ7UNQU5RtFr92HuI2zVhbUDvLL8zczscogbE3NbQmyZPegYxaUTGMUMuM9cio6FuCcQGZfpOWnY4nJDqOO1fL5Y541eCZ4RIClOw2byeIi27MFj/lr16W2b1g5Gc5BOS3BXsd/C6SzAePaZ4OJ7HJSY2/qFzMZBw2AUkE5PGd+rz3AvdeZOlKRjttWOrTqRVibcLl4JAFNZKb3Onzo1i/YlJEt6PIbJnjTw+W61A4fYcWq4QSMAXWG3R2jb5swHuGvTwB86/2n8ZCOrQCQ3tAn0jJXn8PLB065nCrQL7I56NhWtStlUrJrmQL8+tX1z3IDfEgqCutvBogoTaMWE7dmjlVxNLKqjnF9TjCjv4FD9Hlf73B7KRTH7OrGi94HVcyXWRBhTqqe4I9NCRbPEc0x+JerGvCAaBsnM9NH00aLTasIITSqrRP180k0mebyZE0qDFtN3/TM5cVhgBSRg9thxZOgk7NhScvXrjHYkWEt14aXNxXFGdVJzN0kp0EqwovUHPfCTkOtjWL5WbxXlpaGInlsnG19X2n1QoB7OSMj7SkceElGfLeiVTfPh9fAhqERa14F0tcyHdatBcGq258sVjFchX66zRlY5z6nduYfMFCjdyaW2kPlyIoNQXSWIp8FsynHu9nbd0bOCb/mlBlsBTLus51Rqvc3pPySQwyRSFc8+M2wrBTs8qnSDsyam9LuOJQWk3ce5TIvlthgS6xshyBkSQi3mU0U9zHFZwtxukPeGZ22ZKquOFrId5E08ztJ7d7n1LmzAts4hxZQnr1vR4dxENYJy6oaeMDYl9YJ7Kg5gxqOKgybTi5P/5znZtyH8BFAXNPMKeXt27DpDxH/ot5QLtkbpSkGR3QrSUCeSoTDKdwQQcyPAmfxZLxuGFr3gfSiYTHEFiubufspUDjF4e89ZzAHTT2nhOAhkG6505mWhKmvaSuQvzbzPUoGVqJ9KGsoRDuN+npL7vVmMPt0Qkb3NNaGovD0hdtvz7rVYauDlCiKumnyTlf/YeCNgZXhrqM3sL+5gFjArH63QV2digQnKJeYfiDvSCDbuQ+yUzpFEKxsZNhEn0VAwOouppFfiNOO965bt4o8orOq4qvKFblN0QlW0nw8H7Ul0HactlgQtgLbrTcihZlrZryoUiWvcBXly/ZEkoKS5tanEfW5xA1xIM0rSwkoq1QBQ2RtQHgewBm7MNlU0p3UtnvjlgC4kdgqka33ZS4b0/6h0ZPreAs8xvy6TnS24LMcIeVZeu/RJ7eqilDc4QyK49o7YzHfg9FvZXH1PpWvKXhwkU8H/UgN/KRq0cOxLMwZeoqVbp4TbB4B7muTsm64KOHg4ipNcX/aS2htOiMAFkmfZauZIYvbQnhxJgIwtzTG7X/w5rPG7JrahtHfoCYdOwGWLeHbIVUC3oIuE7zAKeOKwyXVutvNRH8hn8Icx3iScoDMlVHD3sbCapP3u4sI+GMNsivsxHfqNAlgJnATCJEkrmhj7UxdBQFv5UQFyJPe2HLywL7DlBm3IrVlU6meDVf8iv1cdDhrveA+CwT/9X2nvgLdg2/HV1BqdEENi0UKaYfj2WOg5yf9YJ7/e9j9oOwiXnvFt81Lu/TJQ3LydRANxXvClFLmwyqJw+OlxSGwdqmAw3GWGX2hTe/Ub/J/9Mhf5TI/ExFxsGmMh1hGOSb7dQva5Czr1ASA8mrm8V/XcWQyaQoZGHD/qp7pV4HiMItO0Ddbv9GFNjnf7VPNJkKHQ3ESfVdUYUd9fIXIXHpt+zD1PsjFKiO4hLuTKW6PhP/zQD7T74aKWXK1KeE233MOJANm9jbMigh08T2d4bjeBoRjXsi2eOWJ3pdcppLaG1nmFzJk/eFZRI57StGlSRl9grCr2tS9qegZbTVuf4zkUwqyQ2+GFt5fHH3OY8O3cpRk7K6TOaRHUqUeSVbWS2LtiFhLO+p+66irTRDxNgS203I/PrEsCGAfWRC6SoKbitM6rH+Q9fUMDNymHgf5MHMq74nIfIJu1VLvP/maFOG9I7OjrHpMSRbsawZaNju8H7db3yRHUHX2iUGNudURObsGDDG1VQ7ixPbLd/U1TG0TcQL9k4zwsK+JoqDr0h4vLQkwm/ibBSG1jLkk9Y6V9LUXEryiIi1F9msETV8gSdoXq+7BV+Xj3VGhjO5nW6vg5GfJGbKQPzfc1ukdZ5dpfLPI9RFGgtLhivIFLNxaVZZXWTJjHrU/Mpdz7ljijStI9AacYt62JqivmvoseVeFNNJLC79K1XzUcvcJszTJdK72kaObZXipskc+dYSKYNCynwp86uRNs0udT8bTsQ4yZ/kPqItzOzq+L8HSSzUa4OVapN0czWLnhfX6xE0HVQ7QLwDjQw8/CHVjZgt8nnjcmGp2rqw9/XlJPHZL8zD0S03Z4uipRFitZGSVSzXyY/lzbQHUMFl9KtZX5B7enkYI240Jfot3seeSS0bC/1RTdRnggDIHKLD8JlAFk10BMU/IiAVnfACSvAHUWDLsXoWRwmDDWx6Oa6vFFQVNNs7NErzF9L7hmxrpnt8liGXSdZlvxgynXvuY1C1vGJD8cnpnUPYghrfc4zxvSaXJEG4BdhnkGZCSp8hjpx682Zp9+4PeQqXL9Apkj3QWmDeJqAA8uTOQK4QEIgdpqrzb9+vnvcgNLyHZqH967h9QimmRukEg1zEbp9wW+Rci0WssEf3PNnfTUSMAlPp4nmzE/1Td2W1n8W23Vwm1pHgll+IGT3GvUEit2+8115CSDxAhAjlsU4GQeSiJ6YPOE/1zrdaVuHoiY35VB922K+5khRQrjVHZbidQorGzcB2QWX9pthsc8bQeMn8/YRGPfSWlADip+qdHn+QFFIPgrYD3Nx2h8Bati6guyUp0jIlCP/vl7eZgZtsXpsWyE/UiIMNuzhTM0oQbrYuRKpyeMAcW7P3NwPmCnwWGsUqS+l4c36ZkFWKotF2jYggS4oQtEIwE8u2te2MOnKsb0VC6kIHrwvZYa5ZL14ogLtJKRgNBSKOMiDJWnnEC4+2rKc7CbdORSenok+sG48BK96pXryJ3kXLEXfI+5Y99VK82IR3rtrui1lZ4YhCClOjhzwDgLlBNkt90Wks+uA5Z+1CMfjHczrlvWZqLvRXczmTpXapkWLW+aQWNjXXm+WACDct1ksXK2IN67dy2v+KYrKmtOqEeBH8U5oM3gxbnLLH4tYsRgQXRRGl/OFqJo/erGmImSNl32HbkAiF5tbl0nnpAWAtj0msOeTDyeDFnEvrq64Bqy+Bh/lUoHN1JHEB/h9kQX2H/EIyGFpn6kTKf7TseHI/65HObWREGuv8v53IAnvsL6/iyd3EYC+Z8eaiPoSwsPRbn9AWEKK6vMnjgTuujnXBIZNAVUPM04jBgTkBMD7+2B9GGn/rmfp0P5BL1mKqPOZk/whHvUjkTC5G7+yZ3/mWv/bOMl3sf9oLBVK4SAXUD2+V0WDpiLsu79ukkFaNXi5zhvDUhFFVLDNf9RZWCfvQ3kdjMFntmL5T6ZLBUFFN6r5BH4WUkN4XVWj4lIa/qJXmsHwIy8UAsbuGHkwrZOXbZBNPvkgc0gtBijWKu3Ifso6nCpz9UB9JlvLlV8ucug6NJ6WD6wpbfL7OiOaCIC2ivHSSRSm08UwdfK1K/JPzJ/AA3d3C//H4t5Gdgx8AjeFp4NtMDxWEnCZEboY5fWvaGpq+ldmeaL+/h2NtiuMwUY0RLCDiIrEj3GMnZIdkltz03NQTmmkzsFC7x1XI7a3P9UMBNV8JDJNDY5UipkPwZI5SoJU7uctYVdZWScvWAzYnybgVoWzLHAhpGFaTedV8wkONniTPLX7Nvt8Ovh+jW2kZZsQFqPxhk66ys8QZnUXDlCw43NsjeozjYC564Wge2QR9FtfWKE6h39chbd8ZHO4EpxEKoLDUkQ8+LJjVKdFm5iExVOMgTIpH8LZ4GXKxp9cHiWwN4tc1Ru1f4i2NdSjhxsiL2z4PrMymxBzJp9bIZs1sbxY+HF4ExLAvCJJ4FkdsHKmogdDRh6m+De7IzTLHvz7cVZ7f006eLnNwsYdSpuUNbXC56CTgNs1Wu7vt0jAWdxQal3Gwv2s37xjM33t7/lg9Rsgqb56MOO42q5bcSBdiysCLbKAHEW3iotJUZhPMYNJGbiwDHt2/ObFIbsRjsAuBAMJuSeLh7bwOfnXOZQAhYtMxTsdZbT/HPPp1vYb/Pj92nzyu/FKsVxw0TDWbbYFbvcP7QroqPV8bTB9ofAJUpu00Kfe5SbOfM1rKR8U8JQgwwT2TTINRQkxIve/6dvcmm7y2Pa3lO0p954q/XqmaiwHW8ApRjkSDirxaN/5dQWWi5vXlgXdgnWxU/98/awVE2XwmpBAKg9P8L5JO5AANmz5pAnhgyC/b44OzVDSy5YxIGhPB/ky49BxttlnMtfUkqxYU+RhugRWnrw7ZuGmMpD6/q49aFgDtmUYkqFurxY567ZRNlQoNSTpdgNMXZlh0lqgguNEEMp9QIUVSfe1g93e7R4frld48NrNIFpJjd5Pqc41RRu+ttnrDoDqIQojdzy/QLiaUJbhsCEZRDRcwIrfVApwm5vc5fbAP39V/lwEgEG0WO6YhUP68/T5nLuG3DWAX76n4p+lpK7xls3BWAda0pmrBVSD7uIvci6QMNyUq38PAz9ERv57aq/4lX+iYwDqcxLGTR8QM/15y0e7qd2VA21+b9b0EXhmHtyk/5Jf6cqMS+BhPvNaVNCseuns2IECb1cvErYNSUmh9ykt+zD1oCwBeSMwaMHd1RnKEwFupOyJCbV61oBoOhlSMY8QKXmvFmqRNhFLHuTkoheky2+Z/YShxH+BPJKc7HOHicEC895PuxQm6U63i4k0/S3TNDdypSjmLJtZ82rpGO0X1UrGdzF/UdsqCYzA+pfc+w+yzZSl3y5UyZYlVudlqsGFxI7UwmwNYqwdVNG4Eo1TnUqBDMiw2+N4xuoRweoMnRFg/fbhxDsbdWnrb4Rqyiq/kehG63xLu4vkG3Etrb1rf3DyEUeakM6Bf4ZCr7AMKBXM/DMXLzVm3CFnkhXBQVlVWsdDbHI9AHxlGr191f4wNcjoNoNttoArfNvqtJR+Gy+JPQh2KocpPF5E55KjIPKqiUk3+e7bCKlVD/1iY/Bejj0/XSMaTkgUviSYCSO5ci25HscmYfXojZm5Nh/vgc4OEC/7x6Vc0d5uhdc6CyqbcgqcUv/UTMxyauG5ziNV7+eGMXGtmD+Vqof/qwiSrYM4kXUOm7XEeyHkgTxc38oR+iVvs43/LM0XQmJFoR4uSFUSb6BHUH0qEqYWrIRPxvwgLCeKmiP0sgg2avApszfFdUsCocF8NMA+4sryBLksNilnJjFVOGgltUdjx217NnEKOLLhMqxh1FIQyA2As58zX6Fpuu2gAgjmtxk283V/rEY21ZRE3+Iu5BkDdKyloSVXI6nHs/bgtS59wQZzOf44YldTFbqCoiAvyoD02DTkVCKGx0l/Lkvxh+/hr/fDOi2/zKslCaFpXyirhRuxc5rMx9Y9wRDEM7y6YXZytbjiRXHPckaGYVLtPuIsXNRg7wvIWvB/5W3drsGFtylean4Jh5ZYQvrwzGW08JhqBklB+Iqg3GhW9H3TqwgSf8hj/SQ0/RRSyYFwJhpWinS/7TlE1BNLc+8LXWoM+QGeMu+N4gBTD0E9kjJbqVZYAjnSiuq1Z8mZVhrR4f9RYS0gIAvyb/hx95FqWEw1TmoPrJH4dRuIKKpei75WCLiZRExWjBVEr+qKEAvBSfEtJ+QyvuqzEgTS+4nc6t98LkaMWlJS7q7v2ZF9NvhLRmP3o46LiXda0tVKEAdqGXgLKvzvoX4w5CdKaV1DpvGx0IiGwvm+ojP1wFTAg33+Q72QAFmvBn6jz8VB/o84x8fE8gj8dr1cp/okgNM5h9uYCRkv+Rtq2nsgBgzn2usEIo6aLyR9flLk77lgANtJA+yXNIYyuytT6oIF5EF4zaTVZ8Y7PRx4sfrFqewEFTX3Esui6DZdSBjJ7wE1V3Uf4NgRBglOuDMTOQoSu6QH42s5N2x+8xR3D+/ocIu3f4AOImh/XzZ6cvu5AATna4cOhaVAXjTbyeAkd93jJlq6P3LJJQfnLedWR4nr7cvrYyFNsjiLxfyPk74Xj18vOQExAu+g86J6hjO7ONGgdqq1o1xFLAq9H4SBnvqB3T9f60J/wCZ8LRGuIWY5utlKgxLfRIzzKX2f/SybY1mogn/kZ0t11E0OuY7X4Y3WXHYmIS1hrXNbFi2CMC/0BX3WS2ffwk2kGk+lBmsgUjmBiaoZi2UL9fBNyFSb3rxqdgEbjTF+uwdLY4V3NksTAM6U8dU6db/HIMwWw9ZQa/E98M6QKaH6j3HJA2EJEtRuS2KySQM2Dz7R86UhU3CiGybZts31RKjw3a1C6msKEBP3ERXu7qPzAUvuOmwYPFxWMfSAI1CJTizErsXQCVgRY4M2LgnM0Q+ajqQfTYUj0fRP13LTjULS9rHb3Z/bPIZPQtiKh6dqtsjMoDuTYbwsM4vCWJQpJoTOfAUETnrBDXerc/FnYhSduTtRNcJVVzOpzaXsrOyl2pRyA0GmJ3QlcPzjFmKtTHqefkp5ujrddqjEQ2Eotjs3hFAKoHJsBUNwIdnkPMo4spFwIT5BnoHYtKocHhpsKBNRkUWvmXSVeL+DRS522eVzHJHTvA3bVp/LYHUYeTDc/h8Q4DxjNX1p58tVs51tlF4e7jmKWmOItuD3SpFZwHBlYRDEY6zs+aNK5qxfMbxnEyOM9dXzdgCeawint+1PWhaCCIq6x/Mvghf9JSSCcWaTdL6uVFRbvqXKkdu7poHy0LYELUVVsJhgQvzXLPgIwy9+GQq57yjsB7Js16DAk/Yd6D8L/MzdnYywrXlrlVK4QsXgmsJef2LDdidUt3RIeRF8BCF1lBT2SBjYvjyHclqI1TD3+8tlEV0FUcj3ijxWXitW3Bzodu1kabHXf3dEYw4HnC7UytjP9HYH+wtD52vdDmjZM63tgEvP93upApyZYoOx6sJLpC2zbaFF/2pF7+n/GorvAAJNgiNgBwgNJcomq/IJcWRMeuDc3FnI6XWeA/gmcTvIukhLkOTPc+geZyCw2nLP9gU25vl4/7q1b4AmKIna6rPWJkWtz1YuxrNVPRmPYRSrl+/687/nPRbdd/bGzLgEiJYnTCVvockaWawdTCKYL8HFTsiFe29ZIbW/JWhp9b1CI8jdV2Q4RBQlesfSQBbHxSJpX3Qyh5Cq68CDJ6Nvob0zXbrohLhXe54Mc5X+zOisEQCfm8/LlwHc8qO7FJEX/2WcZLwtgwhDFHA77NAMdcJaYjJkPvDaMIe39Yxj4367THtY2tXVd8RRvuTar+PnrTUe9LL945ZC5LKQzj8Wt+DCYTtIXwy2MYecxkLdVOCy+ldMMgBBJf8jFkiS2DXy/FNZVKGeVudPU6e+12San8gAF+lT7pMMHcJQqPBKqrGGMKVv5q70aWZSLCz87asKEfMvEDMOedmqI37jWBa7tkzY5PS66h52v39c7MeQ+ocWbckC2LsUcxR63A3AFrpzNIoDjlw2bvjToP2lkE1BvBjSMlAdYVnyACJqc177shydos9KS1H/HqYCe4otN867GAe89YCit9msw8m+g1lLIrxYld9d/PxWE7TJX4WHr1qnqXqIHkC8WW2ZoC3P2sFxRntzFFbMuCjpqe/q2hT5hXQKvratj8pGOiN9Q5C5g/DHUX6IHileH1jxqyI4u/p8LqLd+Z+hLnJb9NhcfWOcyC/X1O/AC2DfSo0YE4pNfRG1Pwqs3TNHcRgz4pFL0XmK3tIo6FmzQ03vD8azGLND8DfNHHPsYQDq5UxW+RoVusWVSEtZf9TxOb8L98lc/YMNHakT+2o9qosbvNRDD75+qWtCJHEWMj5zJBUpB9+5oFpyuFl1Pnx7au6QD+aD5DmBfgbIuIEThWJ3h3qSDoJRF1bcaQ3StR6P26POxW2cOCxchMMowcIk1P6Qu8fhTC6hdJWbM+VKH6RvvyA4D9Y18fF8yxPqCN5N4UKdQjWOw7wKJq0PuyKAGmtL16BV1FC1tN7D70rOp4YIgrTUtaR17qf0flCa29J3+/RJqGefTtK5rEyqsqr4dA2UNwbnlEJhid/n/RH/QnX/k+eJ3ZOa5KN+RJAltOmfu3P6J1OiR0xJARrsheHL/RCSadLgyesVv7ywZtopT67btRiohBIXjFRc9hlH3rd/+IXnD1fjckczKCS5wW6PU+nhQuHMmryq8in6GTxvFPC6k1que7OJEykOj0zAOVBmDwzNL79MEcPent04rBKqoq5TXCW6FbBvJVxFR0NXdwPhV7bEkeO2bu9ysxu0T0MV6/nHsLUKv/mIN+Ro1r+fE4gK5CSKxh+PbsaNseyGzi9iRb0EuDuGr9R9CekGX1/YHfjiH7/bd/W2Lo9zEpG5EceCoR4X+7PMKTSyumyHhKdXbKW1u09Z8AgMiwGw/73sdFq/8MUzd/nDHNAsKzQd95YB7S6M6bbPgp9wfrrqkuFv1WgbbfBqSRQJLWXoudI6O9mkWHQs3kIlhuVxOpK36/n8mixPApgwhnaSVO2JxTrzs4dN8e5tMX0kucwYzwPWrD1BZggGA/2zvDF6/1PnxU6V//f6HP0zWADb/eoJSxL+tbTqqrL+XWVwxpdFd2NzSho3YCxU3eAJTmniHlScC74yt2j6SNPNnpVIYPFhB+KGOhgBgoGryJFuCeBpwdcbpQ7j9E7Gsh5hg1Rs3SLPB2PIBZcLwsZxxIDXGLC4uR2khvfT5BHggOg1wTa26Y/WofuW3RKId67fNTJoB4AGBxPXt5Twxe7qTInSbm6quTZ17PjtkhBmBFe1IKuWOp7r8v8TkNKC5d8M7FQXmCGcSDov0A8nBB9EEnaFei+E13a6T3dJEMVF4G5+A/+Yr5hTUuUxNfIOvXAeFNWCwVMRD00+zGez1fSzbKfV+Qbj6TgThyhAIli62Ydqbv+r6vk7W9ZFS5+RB0svNeqYdUX42+d9rTcOhLqefkjkXd6xEeAgC8zYFqwzsil+EcpIm2MqP59Nl9LX9OR+F5Co++qkA3FXiu3nPi/SiUN6b6t92ZjpfOMKZdP+Kb3G4cp4eneuqEbPgYal6DoYUBI0L6/N11tbEYcLfocHEId9hRlrsfMmfUma5y3039L9JwIyP3mD6ybjm/QkCC2UFzRgP+4Q6pQD4zpv4q7m1KrvQtTr9t3D4KuwHWHGBipQVrNgKfLx3Ea4m47DbU9AD09Gx7QtnBLzvPKXHIING9JcBMParssKhZqjCNdKKe1SxGz8XX3jOvQrkdIBb7o3GOMf/ndfs3jfJfaC9kW9J2iw0VFBEas8FmL0SjUnX6N6AHqhQviI7BK6EN6O3jk5IMfLu99aOXz28o2+vSyqsbf3r1GP7PRMBRz4whV00g1mbhqYWb8XrEWrJ/CU1jmNmJ8BIoPjQIOZbcrlUwIJZ8ms6r6fyb3jELxpbfA6FnfrXRqh2v0Pe/sOUstBkdOwAfTDilZ+0BB8Ml+etQh1mx0jeEss+rrmDGhyDqf0gPdrzPIO6erFzNwYE/pCYbwis686vXCCmORjZA5Qb1Ke9dOp0OxaoKn8moRICf9ai8F8a1lVYXLB6NO4+vfNWJXJNB+Wf66f9xlYopsQGy/I9tEqI2wyspZETIU53DBsJLUU6c1Iu+e/ygqrNRPbue2vDIsL1gJqBkrmsVdqbSBPlFVreYwx7C8bP+GWaDyuF5ndQitzP4AerQUkMLa6UBcuxovdJVvj3vv34Rrb5c/8UhPW8vX7NNwaRyjQ/VuR1svqFp/qGsG7/tiFyud7JMga3lkipA/nWi7aQJVhv/gv+5xYVS8ogf2mFFG+XUX5A/bAqNVkEPJ4YYIgg9bSeOeQZVsh0+B3LQNfiHLKY2jPZ8PdLHY4L1H3cUQgpmBWCUFSZVph5OI1EhS7C2CCvkx+VlESufEKqRa2wbAbh8Z3oJ/Lkq+Y+PSH2uSRnHEvj6yNfajeNfip9n6L9fx5XKcF8SMEkS2stBSLkKh+l1d0v9nX7gqPjyXDMVHzkJqQo0/tWQjGmM3XvsRGoqQDBPESV7KbzZ4XaY5TIyZUrXrcH+17Yr0ChTJ76A1Gy4R/P3KzZFKq3jd9BXObIlpmq2d+ezgxk0hx4RMr0b9j49cHxOwMBbpxUrwNDRTgRS1KPOjCJ5S0hltSlTdPOwbm/pbitxvXhkclXM94+UlhWXa//VqX7eUms5/q3ru9akQK12gm01eAtdY98Wp8hofN4fA9tw0CMBeqfwAyksmUuhM5/75TzDBgnQpGyIqXKOLztQRkZmmLSpQBvtGxuQaKdZEaT8aEHPiTR8iJvuWiSJIr1Iaqq/ZwYoz/gbbhSWZFuHvmfAof0w0Qxm0ICot17h++eTkoYwCIJ0nK+sZEgIqxP9Ys4Tyy9IoZ5Lix1WRDzjT6C9YD6d8M711VoCyFtJ/2ab0j7aQyITzkuF6AYSqpjZCz1Rmja/5GTnLIU62l7q6rfjU55zlJPPk9uXpn8i4/G+Zw6SPBFarm4w9Vbh/wDmc22SglRW9JpETAweYw+4L8kZXpeZgNrjZz5VqrxsRj/yEQjqdFFgosVTt88fAKACGkq8U1IUuCKPQLFuXZslG9vj0wiP4+HM29ZtSfuDUPA0Z0+tEJcDGvnZpaRLSSwUWFeQxtQtTbVCDV0YF7RdMdnNSzg3YjWr/iTzIyFsRClUDphjv0CbQ/hQWkGgdj9pEQ2ochMXNdzIDkstPoMsmuAGwrut8rafu6ryGI7S5S5BE0sAkqx/LKOnkJMzs8V2BO0exrh6dez9Kp/L4jZeQg2D4T1OQ3zQvg+lwm3SrXQaDjbQrkX3w7cHX5ixOAw01sg0C7WX04sDowv0zEz68JCoOt1gB6MELtMSW5Iy54ujG0Bm3fw6rTCyx+efxPV9ro34R5PLqmwC8Q2YPvX5jKeNPrRgS5pCbjB+Sn/4ZkZfcuFVPY+RdwecVGdKQnkCFKnrj08uoGypSJGcKZwMzvUFLGv3g5kjQbbXFLeAfg7YD9iIY1RUlrEysdlkIDHmvKll2Biv+Ca8b1Nec0oPTT84JOl4OlqGecC+Aa4yA30fU0AlXFBoJLO0UDGIe4iDc+ieQL+2PkBnRMxTgx3d/gO8m6ZqlZb683kRDNFG/8YvRaCy1KeewDEJ8InoYVayFlaPKc1B/RHldPgoE9C/UrAP/5BakcCSEucnlfgN+Ijub6ySqbsePaK7/uhkKle07EP4cwIojuR+Y3CKvhXDMgZCi9F1jC2rvaXfbUpf+uRbRPOcpRzJwWjt7QzUJrNVQjYkAz9PmwzoNQh8AaXel7L1qUhqayAAqb6cR90O8GrbN+n32ASAK0mC6ArVh/pRSAbXYwuqhhWR0b16cmSE72065TAyo97NT+QZ04hH5wKMllP4Lmnl1o3hPmcCFpQ7WqyLQw+uhAHO3lwEANaPTUM2u6dth9+qkY++DHN7/PvZRSN9nzfmLU0Pi+C0ZFYN+AYgQYXPOMStA3qacGPpl3bTanE0emae3XCltePEPE1NF/TGMa60rh3WnRnAgHlQKtLlKniWoXOcwYKzMQkwwUjKWbmOaLx7bRWSm0P0cAe6+GHq4gmYUVGzuq7JGYnlaRoAazGLjAuXhAK28bPEEcHx8HN2YePGrooQxNUhGt6CWyNstNCt6xTiYrOyMrGITpuZh9A3JvXwoomTcNtKGscdzwlKbJPjMxnkQhhhauxtOjtAQqiq/PImEHABU6Mq0zi4N3rjacuuuV4Mek87fr59Y67tplqmjTChAJLkn3BkHzu1Scu4dnyaQ/FEGjC9s9PgS7ZoVCxtimO19BcYhbvYtXe9kMp9E0b0605+OgWq+cCPr8Y5s5F2/DjAp6DW5QbSLh3jfFdheVgn1dZw6AI3swXj9NGiPTcHl0plUYaWuEfBmTYDusuKfi1I7rRJ2BNQD02Edf6rJYiYkoJniPFeL7XmO80nVkQihFn7wyFTUEVOAVkFFOtgyttTMf1eqxKIw+aBS6WUnI1oyhSAAcWJDHHYmCt1AEuZPRZ2RT+bpIShLTTFx7vREHdZhCC4Uh90vFRH+ItKhiL14ltK14HVf8LTL5dbe3140sL5W8100r1UmCDMDXcwAORHyxgMMr4ZvKNAFKQJRxgDzM92U+NIzgr5RQvho9Y4miUsGHtSxqcJVlSVIYTqoEw5KydnWhlqQp1FFKFgHitP0ZB2L2S+LiH7RHpxNu3Ymx7rjTstxgU+dT9aqb8WRVOcN+vwZ7wA3dypEKt7+EHfPFa8hGZspAXIYLpCaewnaTyQ3hqAFjExS7+dX4FJhkWw0G3bKujpCaN2JuhgBhpTnJao2X4nR30FRuhlkJimNmCfmWK9RjBL7kDWPUpgn6AXDgYGny5ZZzPOJK6m4QdKnT9wUT0HdqSkiklnRE6UqIEJz0UV/BEMFSG2KBT8U7NgIM3skGFDCpJfZ4qtKGAFvsmTnKfbEGYoiaVF1rrr0ZxK6gjlJ2+OOwDejx+RjpXERgraav6AO+/gvNwsbXMPg2UuUPSTvQTwnkt0CrIcl9W2+rrSivP0XybDKqIg6MVs9vSd1kVFCAjKVYk2ROITtRFnmt4Qo+ddmIBM3I8Z5yaG8+fNwKnUtQYegujvOZWyD8zlleeHmbDvvP+BMuhbflBd6wEkEFf5Q13kBlFCyzBEj9+6Epf8L3aeO6dM310xjq3gYVEoJsTSMVSkWdicGpnxZGslZP6YJPxmXee4yito5FtM0IBBn/jSDDXEppTmJetq4uJPT6eGYxnLPeOPLHfxbfE9rCiP9blB5olCoIOKZVYYHUiBQqGktDkB6gdCd9SK9K9T8q6Etr+BjsRxWqR05mE9gzvXkgQORL3jZW2VG+eZhf9BkiiyTZiGHgoGZt2/PCNj0MvnDEllpF1rgQ7oLpyieO8zbBVIzJWoPOjq+pQ5at+JKjivDi0oImatYnjaNZXR+mEPGpH2mN3kff7KBM9QttgpTldqVQL6XaiJ4j3XnswZ63QEFnoUoWrtostaGztx1brfCPjYnuLMnd+uHliwSXoJBeEwt+GkPHAOKrBzktAjhKHFVe7Nln4QilGmkQfUcmofo+anyBuGPye/oqgJ33UZDFiDYyuOpuMzcpM6tdNIfUjPpuBqvYAxWHy2ZJng55eL8QszH9cTxQPsBLf9Ey4t2po0kbbHGflO+IF45QB/u0ko3DHUWZ4kn+OJ/diQg0rU/L8gKbRsY9ISbaoRr7p3FbMzeZJ7YwYnHRNTweXCrPPrAtRWj/r/Hbu9bbqQiC1G7babpo20eSQV2ZLBe7PqfvTB4XZhoG4kdBJvPkVO+vB6WKcppVGGWGj7KLa8aAluI/X2J4B+QOJ/mWtgaw3bV9rW9DtTtYUTdt1d3iiiZvCn1c1h17fid7u8FoTgfO7zjN5ne6nHnfeU7KQp84lIW2NDeDe+/qU/OcJTsKlqeEcjnB9ISf32kawq+FuBrQnWcv2EwXqgqz5gC6+QNVuNc143T9p8Zgu/kI4TD7TV1BIylIDuqg/R0dlvn9XZKYiwip00HkvjIS4ItOVqmBSpGU8LsVgBteEVZfHv4UficJtBeB5y8fpBvRNuk8aBVJn19vkTAYt8rKaJdxSE5YpSO5/NgFefCmrUrATilz3sWPDdnM9YdpoHDbIwV6Illoeg7O0pfZFM1e2ClCxaGViQC7gYX1DPnkRvD9ek3YAP9QsreaJULMVzb5eewAXzs+X84VlHFYJvf9RzYge6TP+eKGw0Aneh6KQfBguKfEK7KmIMRCo39IC7jyv0KQHo1er1HTFWDkM30kuKuYGU+g1kzrN/2v2QKryGkT+nHylAyOb7xeItIggDZJ7jMbyaryx55cZunpKXzj0LjBmTomeFZPU0wdWezErxPyJvDQLBgLAH0RQf0B0dUXO7qjCh5Xdmd83JnRiJfdPDAoZV3QMQ6yThTX8NZxkxdNwRvFZnezxcIBN+PTDg7MqxyMYhySZTvNrbba54dtwovWjGyI6+2aURKcVGWVYhL/83AeBWoba9BzYak9PYQQKsl6eb0ilpdUe/2IlZ2w8LGl/u7tT2liEg5DxsLyEFuHwm96U617W/AHLxn8J1M7d8AwpKeWm37+AwPSnJnALgClLIzIYMr0mPou270Hnn8nAP5m6xd4yiSmB4jX5BVy5IzHJY2xfkDbZm1NylzS1aXUDY5v2004SPIkRIkTmipStJDRi+THn27oPywFZYZU33L83GEzSGnn7a2BETHhYS8Xud+ecVMB4AeZ2Y1y7S0b8R35oMp6ZTd83ZecJnumjiH4Thl8TH+U0NBNTRh5s9oceHqbvmF1r6D/Rqm2u1zITesDfnVDWXGTuyWFWyA0iNezdNYOFY59NROzU7Nlc/F1EGVZIh1EQQ1pZ4pg4CCTuf8B+Gy1X2YW74Vba9dR3DNmoV3K89whFeJOC8UrbKmBkVoo8nlwZOLjeMgAemK7aKdgKVUVMzHRTH53yXZFtVcFnct2gmDabQVy3iwbk17iRyjhsw3fJ6oSKP3zlZIq8JH7Ev67jSMLmk7Wf1+P/Cnl+fmCJx79PG6dQQNo/MiZ3I85cR8K6uRh3ZuQ+BxKSoNNmBSq6M4P12UPSB0EUma4ckQ7SS5Geqvm4/UwSmKOoUUFOc7qKYJpTGoD1Z1wXZcifQWXcwVfevrp6H1qWkG4sR/oba/MEOYrAuMG8I0t1bfJl0zUQP5pYtcMvLBDEUIACVJYAPePbCVdyGv7Oof5Oyw5JPqYUSCyFXI1+OAS/WuWxffJGve37rL2q2h/B6wGzkKhWpO5NGXtcLYQsGa9Q/RGjyfNRTNySWyBaOwHyfOzcB+xT2oJswH1qmyWNkQAH/f6hZbozS0L7YCgJAE3UegQwynO8CVpec2f+MiRH8JkHzOUw9RgmY13r9kORCDWDwJV551ZoNl1pgYmMUBHgaC6XMTZ6wgWKNLUuHqhPcZhC3gfFyV1MN98PsCULPXxFTF7sz+86Nm/2qWtIPncR8fY9MbullLvsP9RBosAa4eVJozpHUodFlpsnid/gfZ1X1D3mAxWdHP7TwNUNE4LwrNh8qrtonsblxE2ra24O9S3QqK5VKOLHXwtbhOz2DSQyF6I+IQCxa/kg/4qS+5Z1clOyh+0n+FExHqSZXxUuyI0MW0Hswvh4yecOidrZv6/Vf0uBihyIaSHxaPFAGu0CIkkpYlFqr2pnvJjvQ5SDOEsohQiQ39UFZ5/19s40zcUyCflerrSjWMFR4/YmQlmiQfZuzLLa8/jn0pc+TuHcn7dFhxsszaM1XRt/XWozBMPmdokvuRhVQsbSAJrTYJzEQlNONAlqfVQxcFGAvgngfqqKXJHAJkc1IYUrrVecmGj/GSvdFeikYoRAV2nBEFaW6FAYlBfDS1sUv0IUmMjZHdrovGTvfO+4TjGu07cbIHzXrRb6coFWB6L4v4KwXJLTs+1HRFPdzBB9V8iCrMFtP7qMuIJc3J8VMQjfFPcse3UeQxIKvDElerHtyROem6QHKdddBGZtSI6z5bEBLUFr3j3vumIgEgB+/TZUA9uRVI+RVnMCeVVPB6Z6NjcF33BbVDlYTJl2ig5sxULRj6x41Vn5b5442vjeUIMgr410Zovm+0SMI0ZuuoYjx1ZWZOJGVqxpXgpUlMHGWLZDuzYj3THRyxOwB4/YdkqMD5qYHATE1O/NIbYdDPSdIIJxFusOEZ8V3+eaDiq464ZMD2KK6cMUJrKqXdPT1Hm7XFK6az5rlLaL0LpEyXwaAEPntFp2kIVhB5bS9fWd6u8yfGCwXWtLdfZb8+JH35tL5jOtfM3UGDccLQqHFxw5j0sj3syYNZP3UAdRN0TOmi9vUPhN0fuSjnyMKjwa87FR/H4Wz8PE8Qy822WMtN2APGM7MDgL1sjlgpZ4joIK5j5/Hoy1Y59Ugbd0cARKL5GEY/J1k4irHysRf/DFZWjDuSq8Q+6O+gqI1zo1df/ZW/RHVTijk9JpkeXHAexJMKN72AHvHxb5VC9GYH4PIQh1hIEDMHZOsv8NE2AgsA7RaIUFdAo2zeC8VRqmuat4WsuBCTZHMtTd9+mYv/KqsF4iMVq2307ltukic6OiPdiz3aB1ckGf2cvrizUNmUBwbjlPz9enS+yTONyTEQaRicxC5zNzvoZTju5Utc/1GYnHkpcDJiHHpKiGXm6DeiiYjnW2RquEJcszSLxdsrnP/bEDPda2+ZU8EJKXlKpmnhrkXTrQqgN4N6uNXnwWrOoWqKwQVrHGgRpP5VJsLowRitYkMZC4tlJEl05vw7XhMRSfN/YW3MGkpYCpPmXa7fIc6lMJ748Fjhn0MfUVa059Gu7AFAjEDIrNdraP2inE/WXq4uZuaFb9pfTa9FdCloGUL3qQCOwMBNL/jgQ1angLJDbDE3PJ68HorQoARLKiv0eTMnU+pSgCrANmQ7suJsfbK8fshwAuNONR486zmiGe/fZjkR0DjXyQ3eoNSTs+/EUeLXTdpV0TO6M4SIyYoEJ4yBLRnLkqC4Q4kml0mmew+F2UBMIof1g6QAhNqp7mFq0WNua5H/LMFe9xPo4xPh1y0/UdwvCWBpEibdg4Xp112h6DXq7p2HGvSpqiAJx4FeFXlVW69ICvtJo2GYbXpzyGzLMM4PpU6pEBPmVfJKTyR/hQHHBdNFJhSqNWLrX6Ej/dngoYkl/5xjLMxDb2yJusShZqfukFLy7DTjPb1bNxPQJlaxZ68T6jMLfQQrat3yCCmcnOc/7dHCRUhYMLf4y0cfATlNKlAffrm72Spc989giu2a/SEGwyC9XTeD55t/I+BpLtXU83Eg63IkeAKNoisqjF8jTIsoTl5ut9FirwzIbcEtvh4/lrNdFR3OYnI8gCpKU9x2BMew27j53AB0K0Mzx45vm0EKrBvN7lSVuz4fnjZpibS3+oH4HQ2Yz3JAe3YbOYZg5Il/DKHDZXTVLHDO56sBZ0JWR4yV7y+LWk2bPD5GemzSwELYqgEnx1dH3eVfBTz5EajYm/BtqpXMEs87gE7BxoAUU36nnLMIYmEfmzfoXClmh4Dl30cWTLPKP0pbUo4gXzSp2AnU1aKPnYNUIS5zAJKecR0fIwFgonGgGUGrt6a9OMHSTqMwjTl04DxH/OB4E7yuGmrnQCUJHSHmSU/MOc5hOVMAquAytz706X3yG0xcy/vtZs5Sn0w4op7sHssZWRG6HG9bO3l4wQrpiVBvnL8PBjvPCjcwe0JlWVdwKBeOjA2jS8iMv69xyJL7tlA9iIqBaXUtP+aRWGHRSWc9duzS8I+/0MH1kgKxHNsmRqTb9p8arCwYWcbKSEEjrO5UWWYgYQtn/RLNx63Rexc2WFmfbj4PM77O4liaizPEa5uhUBc7X63RF+J9qtc8t19sj3QjKdstgle5bxIVs8QI/zq4aLpqjebEVZKIbeSR7qtfH6/m+THghVbR0/bLDqLRNcsTYTw7x+4Xew5LPivzJTiQ1Qrn+Tn0IrUNOQDaipqC3O2HU9hUi4e07mDiYxHO3qZJXE9KQijOZL/QklqhRjYwRctVp+Y3llwtfFHRQ2xEFV+AtydfuOeXXgwQOFxsxoNC7lX4nfDGGXCLXKqnkNUvVistd4JupTFokQ87Uf7cLe/YJgYIhHzF4wiDUS4sZ6g9C5slblopcphyjvUVYvx0y6CChCpF29fwKys3nJFJ1g+FrQWqVAPyJRV6KXU6UuKsczb5CxcvHMBb66Jo7WYWgjXRCl8Zx+Ac9aU/P9gOuOyyBSxaGq1UpVv4uHgv24CBkEHoDTkYcHazjphrkl7Eo2uCxMHdBVUiuVHvrTLF8cu3CI9eJnuUd1Wgfa/ZJmhl0IB54RimkaqtkKzGBHmI04kUIGWHOIebWnmW7qGIEGrZA28MlyQir7y0YcIRqIY4wPEvNbe51QbYozM4Man25uxcp6o420OXnYcxbwAK60l7Rl+kLFfmwv/ugVKuPArrMmlqi9dTNweMBgKjbvqDXLu5vOjHtxs0BN6qEXUA1mRvpgiHRu0FX4pD2MWPQLCWgbG+7RFlQKvgbN19DnPL2XF8425CJm0KBj6elYe+R/5omea6kV7h7kM2yJM0VtNqtgaFjj5AAlz0GCqnfE6FRP5sDWxEx4zbHRDPcWssRuqZoDF8hJN/qofpCZnHA41d/fWcwJvXrpdGhMUbI6YC5TGCGdEShUcg6ys7+jVVCDfafv9JhWc7NWSOJDP6glWtGUpnE2BfQ1AnBpckx0gJH2vjjEA/6zsb26LU8A8jF1arDA7GFKkBoOujkqRuE+uZg1msyUTieIVeUNaPikd+2nn2GnOqUwh+DMuomZHWef/YeNMugqhL3k9kQmGtrxLPwBLGmV6vckdIiOD7mhgsLNubRbigTheX9Yd3EDQbCYM/QI2fCaMAGOeHbH8FAD3MyPiN61Ez1fjJOAFTWDNiBt1H3dueaQdq9yP7JwtX/OUJngeZ2j4MnHSz01oP7bh1nx+1T1o4lkiPVeC8f/lR1wVDCgvOTC0tlhnLWEk8jjWPXRNdzyOPh0GrDGDq06Wf0+mS/BSciUsLc00QiNVkgUi/7uwSrMzz/JjGoASnbxwSWAHJv2a15m9vsT/ivvfCM9PbM61sG2P5naZDIwPCHqPJdDhRWY/Rc/EjbEb9m1UL1R8BLSgcZSDClhkvwtJVGZjZCUUjnuixHUVwTr4clcC6V0c8N+hDUuEbKcYCZv1O9VBZoRKOidvpT8XNFK87Rh6pBBy/gvNn6Tz1401qG1FVmF7nyZxi/JjDop+r/oHUMz2nUAE/JYsMPeQJB0rw4wZzA8uJ136oU6whA/vDA0EsFd6XdiZ4lzTos/nW6YHtyxJunMufLPPBXe1ndORdfvvcU6R6OGaYsYGSOdIT9Fei1apvgUtyXwyyziDI4OADDMY4vpbwf6hIFR4IkopuF6T1y34WB2BVCcl08dL9Tft9IpkUA743y9M6UlB70bjVuJAHdPSYz4Bu985A9Pjl0zd5fi+ZZ+Q10GaI4qzM1EbiY2IPCBSwMgSLwEkqzkkGlk1Qp7IFJhw3YX7VfDZFjj6et7EUlWSY9QbM0K8J4FE1HHlRPBP/+nvUYsX3GrRM21Vs1B+N9pF/y8cZuhbVxSRNrxcvHhzS7dFGqzZ9FKOtuBksBsO+OnoqAJ2Uotg/pt9D66dHUxJTttLaQASwu1pX/a3fv9m8wb5sTTO4eX24lMzrNM28Bajw/qbgpAV3eO444+bETBGn1rCyNLm+HUnIcCHS/LDwnGkAKivf/dmvZf7Y10ef15G+lzBaI8pcg68QHCdwxRdQjO8CuYTylLhlgqyT1wyCwRHe1w+fajXzhMfXzdUTTxEwztQ7Jt6++YeMWVKgXc1BXipoBObj7ptA5zIkXXKgKA9hCU3V0mpk4XZ8lb3wutjWyNnOjzkiMfkH2eil4hNraK9U89TM7vUrk2+p001L+MEdCLDlMdfjip/rlvAjG+UbFzpFqISd0VmlX8dNQ9VPNCQH6VEK4YfTu5NvjFj8P49aGigHYVVoJJGILTgYb6G0f7VU63TFKwBAqCXSL7uQRlUU+RI2MWlN8uh4uCJe6/zUwHm+LpJv/wAIBJ6KZXZ7hpSAWn3UHHZYWDBpe366YM8Y8TtjClufs0JOVhnuzjGqRUeE4H+EVPL9ZndmRoCNCx7DNxjilKw/waaNzIcXb1Kjg7aNBioXy4s5uOVK6f49a5cT9DJ6IAz1tCvCgcr87tlu2DIbVAa0SevYcU6r4OT70/L6lcutwRAH1Y5KN5+whwzT5gJnct5soh1UzRatVrqiwYmJWDMLUwdUS2nqhjaBgsC1sJxh11RKGtD8QZnw2Ag85z2wxUjmXnoBKTpb3cj25NFDIcZBxVUv2RFu1htmLfF/t2J5tSpgMVaOBdF7t/Ntx08DL3hxoCYSp2BhyezcWqJ1AEBZXKYkhdf7CV5gLalTggYroq1VsDSXMh/nukS8/09lp5//Z21lhD4aroREQo3a5O9G96Sxo0hDa1oqBEtvDnbz65TvQanvKkJhApx05ZBmXqnKSVQXLjaZeonl09hwurXr7i+Y2DrajXCraMQR9y5/MDoNychFwZ71E8Iqx/KjEErB93t0sCjKuQ/Sa5JzvpO2/7VyLQmqe3ZN3uz0Ka9L78znVYyAp7unuD8s4ZInMfsVLZfO8NCfEt+yFWJ9icQguEQsNTiwNlqEC/48yAUxNmoExdYqx0xHdfYOWudjoArpD8VJcRelWtfojCpX+bUXJxQae0apkbb69sIrR8I6CEK0BRrfIc09lCvneH02n6coHCQZIYko256nHp5yF4WnfnYl2Uod5ZRDC86jBgoI0LtYbpEXn1LyAOIiwYjJxjEmZW18FrxeYL+PjRROTxRJH2lb/7QBZ4UMATXFoqsEml5vlx//dQ38A4dG8fkgPRwkOGP5WYUMYZ5j9IK+rM1DG6puXkKZkd/GDov7EGb7hhGrhnWJmU+qUACRwEMk48zWVinwQ1jmIDuOj+v5Xc3ThbBaWW6LA5BmuUXT9V6w91LV9Jog/nxQcpgyknlWnniszCWSTepf4ZN2M2xIGaO3uwm2kcEZ26x6mxaEAwcDbrKg8vm0trJUMaaxdydbxHpv9SgbNmWTznpyl2GSM1MqEdxiSqVsxcWS6JUytAaqsw6ldo1OQPJrn07YvAhTnmBeGZSRnIM57IqPm2QSaFoUP6HZnblVwJinvOXvMY6lgaqxlVKRVvspd890OSDlfLIsDc1jp7jY2TU4hCBK3WTnL3AqffBGYbdBsefMJOmA/Yjw/l/wtT5JWaCfILOfhZQrcl2yRIU9gyE2yC99OTjq9cqhYdajI1ADD85JholFYmz9AWn3swu4UXuq/1Cwm2zECrKrT4SeifvNOhjVCgxOkbLXwTyCcFXfElHIjn8ontpiiqtYN4ABVB/Jk124vLp3tHkA9FRGWA7dJkxuOBnT+XklwayCiLAJvddfAmbkyF1kEKDy79vHZRS6Okb7Q+NiXERUPiBsRC0IftaxKrLukfuj+4s8WrsuC2GCiELLdAVVzzTkK2iYyqKaa1WN/2/6PJDs5mpvw2YQiPE4ZnzkATq4bOP6jGhp9xDr3mGjmj1G7LTwQUQM3Ls7Fh/RK1r2NxpeFK+yqbRu+vw472uxsecPgG4Bxvrly0H03rzKaI9YYXpLYAzTNX5MqTT3jqIjekR6r6z+tN7jP7R8zVLbJD9fy65QE/YwVzlBdCnKSsH8LaBvByzEhqNyb2rRNalGzqDe3HN6M1xj+gqRmLbUGf0GTf59i8NQOA+jVwMimD7a62HXftTbdiL9R4EdwQyfE5N1VnMgMEgewvVNxU61kgVhiHn9SRilwuMEqG04koBbvGUZ9KjBYaMRwrSbOcc+MlqMTkA/iy61KgEgz11Dt2y/lwL/JfyAIZ/ulRbQNdrP0o9sjQQSqPmEHrj/Nyov3dKHpwIIrd5Jo6+imF/hxocv8fJ9XP0PXO3oZ5uYwL/nz7uOiHGc77vqTUePtvo7Snv3UqhW+nuUazk/agQBV7dB4UrrXSSkd9csay6HCHbLUgVrLpH6tDnDpVcRQINwZBRWGOVHTUbEhLF4JOAQXfrebXuosDiSHp+Pwr2rYzMtjgQqf+Mc2wC7QpJnVvQxOUtDOVsB3/03FrQ7rZmly7P2qMcC4NLDrvbdU/lolecL5FkcA06S+uv69vqnus9BI423oEFt8eNOHddJmsMnkWFmOIq/y/o+XZSu0CWkK6zVTQxGolUdbD0ZpGM3Fu7z+piWXawOafKaGV7GMv89oOUiXH/XBPp4eASzFyI+hnHKFBtJ0SKh6DOSbBMD3zh5EqKZz6ZOpQuKxMg7uGdhtvpcLdkSYqEIa94x/YjlEC4L35p9qkTHXGMXQ5X6qSrqdfVQ27s6t2yGGhlcTzO0cBtMtgmpRYnoLfIcxC6T32aiKZ7KNENiexnOOdaeKMh7LeGnGZOruvWFuOzLf5QUuNRcFqcoufvJZkAb4D4Xc9k39fjk1A+8Rx3xVHisPYlr4JVjuQMruTf7iWunM6rjOOzRMiVLQZe84F8AclnLgVMbrqkQqgaAz0X4R5c+ACOlfr04tQtQNOTzqLxgBWYGlj8YbjRPaWjvIhoMF7OtrUO8dy9B2caSEt1b3LED9dPhy9Nk5xSVin4Ihms6SwBt7ZZ0o/xyQmI86OwL9GXFnNs8pSyfgu1bzZUzZjK6MHmi9HDSK9WwvP/f5xJJC2WQOsFTMVb03gZPZdpyhk/h4jqUfwGJ7HfQDw8qQ5GTZqpkUdpfT+NgMLCtiDUWJJZADp6bwVwdrtTdCK89sGiy/aaH0f0chF9RQf5EYqksGPvJUyQRFbauAoOPZiJcOP6StF99S7koCcOZQkrYO3hA1nJYLOCFVz/Ly3uBccm+EGziFJK1IGQOkXG4wFVTVZ+pe0M9M1xRuGQT/apVNAsz5YcCAOqugwZYoOTS72YHYgIV8T5WC0uYk5c4TULIAbzhZUBPdpSqdn3Tt54HgTX725sHhuEUGKJVuNtp0mES+7qsbehhJ8Hd6E1SG475AuANaA6v0k6UDw27+XZvkrCv/qyUlPkTgMS2pb83EF6h8Px0zWGi70QpJ20C3joQWAQT905Pux3Nk+4nsfupcvLfRcNGX2eB1k6r8gGUoKSBl2xabEaeRgBL86CBzyaUN/YryaiQ3/dmT8/9zQA6HJwJHzW+9jRQLm28eCEaIkNNsloo+scysVs3Z0px8SEAFpA7O6RSMOgkkgq12wV6Q5RDcJemiV5x18EUM/h4fubUVhY92R94uBSWx9bQ5bPQ2Oi8sDA3Jnk9Xc05LILcS2wwxrurx6M6Jq7xW4kkWv9hPCYXhI7XoJr6zo+8Ca4Prp1QRpf158n7BOCYl3j5u2fQJ5Ie2mPVShYl7M+Q+hNQtM17BGfKhm2Ntyq2OD7CrVxAaDThxENVy73umTX7ziufEcVHOSnsmHtW6FxpBHBdFf9tkNAaqFyLuAkcdjVuBSykC/gPpQlvwao7WRK05chfExTEQkfaZIQg499FXdgzXSVzTF9DYK2fN7ri/h4Mr7CPohBiL6zQQOTYxNpmwFP8TrUs5z1iJQLBYUvkFZL9vJ3qmvFQ6t0aVxX1TykIvacredx48FNgndZ6id2jVGiciTdnkhwBzmojmFt3S7qf0atJsuHFnx621QSZmcTnbRtkrhy+RIiVJQdI4k3eUKenT40hZw65Em8wC0X21LDenNwX0yHWvBT66w2xBMXI+3xx6KqWS57dRekJyWPmFP4InVFZL3ENRmXaKy8L1gL72PpqDHuCwU7YFsxNUwauHFEbnW64+DuOxuro2VLaB0sgHNFkBNen0QY5oR9SNMB8HcpunpCTp2yn9a9/Z5mwgI0P2vk3xwY/L/WmfqsIrPbuE/mu4asz+K++Qf94+FgmWdDdVmmZ0Mksn9mRxS38/PlDNxh2T/acBEfo69M+s2hHdlic78FZIHtayUwVxRhfXTxazTY3LjrrzqOxrRNHlSTStUDN0IHDLEH+PHvHXsHSiZdSsRPSlTq4cBT7tRCQwDzVi6lDWPaNGykQk/1x0ueWQJho+Vraac0VP7HiYIWw3GZf82Pp6tYbhTFnqZXGy0CMhHYmXBPNTAaDAB5prrfLnfj9WycHccdeLcYFXIHSbgdF4xtY96GZdMvs+czyv1fdXiFxS/oE1GKkCcQBXjvfhMWN2/x0GsiZjqfUHrffbMqTT2TP+hr3hb9LumUAxjksbfirudnElMIFJY05Av0BGbtwMV655UaygRLN6z2kAcrVKvXBLA2NAsu3fAiNRWU6PFB4zmVVRyQMPZcYLECzb271l8RQpqmrtIE2/Y5qKStfV5QIi++JpgbAsXCxX1z0QsMghxovOLFRnXjZKJOY0FTjr9E7K6OOxxZEy2d2VS205R/sV/+TwvND3zS7lMt0lowE2UQirasWwwYKyFfd9UpLId+vX1nkii8IODxxeD33phkFUYGbOdL+4kJcUrnwzEz3IA8FxCcpE3JEUnQuQd2M3BkK8Dp6WJLZwCb/0XFTqFDTbtXO6cLq4gn3tPlXlNFcJZLbTIfHO6WBCrScIq1xjySobE4+hxMATQuaD1z/mEJQenBa+JcUVR9I6LYPxrDR2AhdmDOZ1V8Nhb2cHIfMFIuQzP9HoLVUsW759Z2admYOAcXmdsTAbVQiym0k270xKYCnmWzIN/E/VhN9l7yB5Vao12L7Cp8JTo9+fJm4RaHduSf9uPqNt9Ldow+8klqJG8NO74gyq5XZuF7TmHTWN/PR3SKVxkP+TvIU0fltoH0IX+NFwJtv2rPzvv9kY3r8XdnI2TzemUQ9SftcsTK9ewjiPtxMcd2Y2+QFaEj5MoQCDp1UZGvYGPJlx8ykaD4ZZjtwT37SXgfxCwoJm8hyHufccKD66os/Qx8w4+24cxK2Cb1Pwf1wGaa0bmVpBbyVg3uVUdVD+GsH+/GVYXkuhwD6zcrd8V3WNWwJMmozvTRcTIza/+rIOA3A78ON+MroietCsnvpkBThduh7Sc14kD2sOVDew7J++hD1NA/2/oRnbCFPj7gQSDkoE7e5KAZr7g+KXSHkSNE0ytAjW2o7g1aSu+T8vg6g9f/bjktj06mNxqddqV6dM80tKCX0D1No4wp4DmKnfZE9RANB6M8xcR31PkBkT/T0PQy5bNPblM5wc5l2we49nzq2iOpEIZ0RG9R97krKdnVzPI3iteII9fISnNZrraQmMYI6cOnb8lLiLk//mhchyDSQWD73/1++LRcZsnqP6VYQzO5xchjoO1CxfyduH3LzPF1+Al1ZY/HvKyQNpgQT4JD1CvtUy3FoHhgF4HhJDtvon/N6V9kBc1uLJS4ChxSHV+5L7fJIIXie2U8j0Hi221s71EMOJopjbV/B7n7qV3q6woADZmNSpBpQtJWvX0tuIMfq5rfNuMI7y8u0yt8SSXp5P+N/jeymXicqRFHwcFp4Hwh15NVRibKzjvmLHud/4OnwYB3vsGgxD6AiLcC3FEgYwg2kXHog0xbJKRrmU/Sb64VX7vRWrrWjD/S/Ppdr+ZQLDYN/t5zGHObdcyxT17p/oLVDwo8pzssjhfSRQf4nJY0MC/5OOeAXGZrxltfa6hw/+N21Neu6pLaByZ8AaleB85k8272kM3AZaeZqlR43S2v+9FBD8z0CAPdAHrQgJksfQjW/Uzr5GWYZ4qVEu5DTAgaI0ejr9U6geD5f4XgM2UNXoATKNuGGyioP20cQsJO/gOU4COeg0Em1Qxe4sIzTkcAUdZdqZ/CR1UuLM+4nqYaSfhzaZjJlGNN+YfLWhbOOxMKJ5Y3Y9mmKeykR6JZhUYGhfexkv4SY1ITOvQxRBHkQyi1GYk+kWbjZ0Fm4B+4DPvu/ZV8CnAa6dDOClQGPlno8YPXIv0Dz9k1aH1INUZskCACjeksVo5YiVFiyOxuwxnHWYMfAHnMPvSAMIcoK3NNjVhAoQAAgOuYHDFIfi7jfD/z0Ldj4qJwuh+kGo3XnemKaEZO9s9T+dwD7akyrdyUqOxM8+Jhlgv8AvAbFFg2813afuhbUHRnWppyFBs3ZLoT4OAxT0HhoqO63QzKjrTQrK7P4FMDa1th3yYm+opr2kVTuRFpGSFoc3waAXOqXH9bEJgxE3+tJvImD+zGOAMMbHkOlI4McFJe9Cb+JmMxpc7rLPs9ZfD7jW4gvGtn58KkU+y0C9VrOIVaBiIQVUv03kSadm8+VZMwoVmZzN13fz5G7w0rppXUsOkZgur8xV5XOdSqTHaODjbyZ7CCfOg2zh9k3cHzQj+6KvZbFY7LzvqA2BO3IskEZ7tmMiN3uWFs6RC08NrENPAH3yn+Jkvi2KsuROLLTIc6WndSw7mIztv8oaLlFSsmj4uIkAp1ufDBDREeQDtTRHE5P+p+N8pP1Qld/B3gBgTmfRK2d2Ycq7zH0O0kAZw4JQN7lSqAlvAhHu2Dbpbrf9FUcZ+aKjEDziJl0gHTvKtnVxmqHqvI4WCwIVin7Dn82wfAouOmWkW0j05XvsynocjoOo7sFMUkbfUOP3PBimVHIMaydA9GShdMCc8EWe5kTK0bl2VbUliWGogIogtu7TC8X14WkMqowezmAAJKK52Lfnk2JrDFaBHmrSX3jnN0yJNPE0N1bzGCqWj352t1gPpxEld9ddc07mfPH78ApcZJvMLccgGUTovH3V7KJP24U1d1YpWTyDjvPUfw7r5/1TMyVbUlMO52cmng9IyOsbfaJMhjdlrQHDd77Bcp8woysolmKGPCn3TcNsLvporVJMmmDSEh5r2l2Q8dAmtE2xemUhFfw7zA/MIwrf9onmNrv8DtdtQeuOcMh28ibu5YBdhHMDpdTEnNAd8gl81VqmxdmuhqVBxM8YsFzYbXH/k9gd2JlcOB8+OLTvEjprnWu4rd5KpJs7Gvw3yniZtI7v0Ke2AjCkpJdJBYqitQp3oPxxC91XmXXqZUfd5pY+crhSKNhPd8vy5JerREuo0y88YbofY8BZvm03nLRwaXGALKkG0lPNchAdNhrYm9nKwCdWSeGIebJmQ6D4H/dsZZ28Sp2C0MUdbqUy0NT1NzQFtsECtgnkGZU/j1RfX36525q81hri2is5eAC3k+l3tQL62NQvAf1WF2rb6K+aSLeiG8R1jKTDP71l+wS+8WODvtEYAKuppGDBYCvGl9KR5SnCQT6eA2Njamxk9NlchtMXKPQ731ksAFRaE9AvhI1LkTz9KtQCWJvihCX2o8P8WK56k9N6SKk2QORaPHb8flMS9dLtDxsNYK9kZYrEeRnoLe/d909blfAppfGei8tj+MefNDjWMIxJFmtOnKEFJbyBDbhXBRd2lwBBAZ21oRWsZAuDqr0XUD/0qPQA8SAuAYUzm+jaqdq+jHCX4jQdzjm6hkgOZyV+v0kglA1TNmNI6aJukpKIJNbECJN+ePyzz0J53W49AZ+2g4YdlFd9vnSMpw5jp3ij5k7xm/YLHy9jce0xyiOJKQ8pi5xXzIOYlULogC+wILsm6aU+wwNA3sxCDVc2+3z4cD2axQiUDUv+mYRPgsOgKJaaTj502m53v+5si4rUVGUekNlgbY12RPicIsa/WdS671adYJoq1IUafqrANmyXKvnBt2KEPzmQsefWs3Ukbg0AF2r+3rFJvhNzf8sqYrTio+sZO0ppHUQ88UAjLlo/TBj9ObJoMDthaUqQNy8Ct3RIr+d5zcrCgUJe9gIy3vZWVMpVz+aoJ+xCj985CORx4xqTfzEcPC1CPNex+GVfw8IRdFe0NS4UfadW6ujdZr2azFHWs63SsQHg46W7tpeccq8/VkDOKiAE/25K/bEKAp63tya68NoBCTOQD+XPYSvDibFEARKyQ9byVNM0pVuU5OMiXZNnRw8kFHPMlOgjocmERnjGt7XYtiD9Lhkaz7tin/GWAYBgBJV51pj+K1wRE5mN+pTL262pPRfHVFKL1dBWdi9m7jAf5aAXLf0UnQmMDzjtxnjFJjMVTyZ/gB/3stwcD8JLqCxKW9WZg5AsPRGETsONK0J8RchzvoTumBCDZvIThhIpP4D6bUae27dd7vOhWdrgdA52otn0hcrU5YYQW0T37ue8Ck+FxtF818IRZipmoFCJPgeySUgZ9RqrkRF/PhKjPFISvGVS4Yl9gz9Anr5bz6MNDZuMlvkwNAyBgQvXhPP5M6kpGkgwDr/Xbn/Ef4aIyEPCQuQ/aQroK78v/QvwfyiAhjd6UuuGuzexvcXRmybp7eR3FQWEXePBs6AMUVN506Q3TfqFqqRiPlJjBHoYF8/+ddYGO6fvOSoKQygfuUfEjzyIDdrWUfqWXo4fM47bRN+kB56E6tEjpAz1tFt7ux3KItNtVLsjilTaQEA+vXPmmCnYOk6ZBeiaAql4ftoVMMOWS/Jc+IofuUUvitthaFqGmw5scWdZYlD8JO/Sv8FdW20WD6PLok+kDasffUN9p+2UETTTvAHBixXB7pKegbxEUdgxzpoiNjfR3bPEP1+lHNJUwT21ONe4j4mcr/Q6f9HR1/qIqPAHUTvY/h143CW7NmlNPNOuPFuU3mp0iovlBw/nTkUAEHSodRE1FR2S+Qapdnpn/vp4RS8XsoX+fbvp1hIKG5Qc4G6gRDh8YW0wakEChq51w+kfPC3GRNyKiEit6Bd3AGKemY03Sh608kbx7Oy3ZHjNTrgzEzbJo2ED/JjpYbC2oMXtGxgBX4ukfEGZehi9USkuTuJY9w5tde5k7BI7SQCqucdo6iF325kipN4UaVfCfgH0B8iPDm1hgwh85ZJjBB5wfqN2pjsY4QpAjkEsPYC/4NOy7I+6CVsFdzFXiz+ZJGqSTjteUu145NRPwJ87Vtzwd85O1bKmTaoKk7U1LyM7UV/Djlb4xdEg7LflVKzrtsyrKh2lLcskVnls4u4coVDdn7zIgtUkOHuiAzNE1v75CUcGc4++zc+nq9MVVphQSDeilwxSjrZt2R7D/6FbZxNaa7R1scuzzBMy6I1JKZHMXNkHBvTJt3GdBvT61qtx5swSgjiMMWRepitvQjifq7BLOUdkvdgAtGCuYcnaPaozJ6xcerLfSIBkDb0IRGiV8kEL8+y/U+Z+qIh4E+6DqA+VTss2/8QoW7MVa8aPptZLbmF2z1s4HbvwwKvfKFUL16i3t5yCi62RYPy+tnoHIu1I07OrNTP1Dxi2yBfXs5BMtOcBQ5Qb5Q4tKTEcbjPvAI9yFsGGnmPikuWX5dM4zsEj29KaOYY5/SAumNzL8+ALd9gry9T0yYxOMvvOtQItb6o78e7OcVcgs50ReNDttHscaUHvJuZMPz19zQQ868ltBcilJ2vnpF80e07Elic5Z4rN0mfUZJNK4bIVqBKq5wlS+7eHcXt4aqxtYq/s/QKZHn1Jz4Z5Sb6Pbx+RPj2vtJVBeLly9TOus9yUuhTmzZYO1yjnyc2RI7ZBOh2P4LPmF20OKIqHEa641oHPzxqb1Cz0t1P7P7EDPF3yr9L23EwmGZojmWMxyYtXvcXmArJlyteuNI2COXYESJm7aRBEDqTO3IuGl5jV6flVivGMp4Z1sC+HJkziGqziEODgOBo0lSFk3uMJbkoUHR6dccKfnHWmSx9odpZeE/Us1K8trxpRnIJQTVR6yCgLCtJDvbo0p1AxjYdDs2XvrztYxxmPqgnkqkW5UNkkgp6zu+KlqI/k8YCY35wyfXDaeU6WMjM1oZvHMBpDJeAJ2KdeUubrHak9kYwVM83Ou+PF5/RcCvRyeDfKpwhUnY95E1DFBgup3LTaVTSJesoNmRY7PIs0c2lBvoXjLEMRzmY1Tpev405L/9sZCt3jwViT29JpKJ8Hb8oNkGZ5//5R6lldvVLY2ToNHPuTYKMmTBmKmGOHE74x/lRSgpqawyIiegA5DXoXTXvPgW4uAbHdzz9G8gVLbYmmAm9RT7gzevcKb9alExJFL595Cposk/FMeV6QIqNUuLph5pWswFDxCY1/9a/dNIiKyoyyRf+wsl/7rM65kjdrHPPhfGZwIJUnYRyyce+x+TXFjYg/bl3VehWwNKoOjM0Vja3V1kPx124jnCB2G6ruBn4I0SqpIoeGloEZ68pVZC0iC89I1bglbwyiS+xEbJ0/j7Stig9uQ5vcDEvIgq+mll84ejNFV5FUsdAigo8SsbY0dx0UKhdQhY/Xpw02ppUl3XjsU+ScoK3F8ey8BaN4ibdnsGtYJPqIEXbamWG5maGMrQsHqj1fZlg9jr/LcakyyT8U9/yt6xP124CTPbpcbaCxYWytvneG1/AnyN6fyYLlbwh6wtV//46uT+MPu0ggefpfUpUnBUoIl6vErhMdKwpLH3Hwk59hEXOkBjmw05IGwPUmOOEpQAF4c1ssdz1BcS3X+pZ59ONBs2HVwu84Z/P5Sg7Idlj2swM2/hal6Bg2LmCZ9e8wYqpu1hvzj99KyUb/uGbJRbw/BAqUmktQMcNRrGK0VJoHTYzlV1dMXQe7UL94L5Njx+EXpfIobBbmZZHRqkeJwvRX9fnpuYptMGJEml7XvtFOu0eqAOxGairmJ9+T5qn5eGg22gWGm8l782Hpm3eWLZdJv+pQCamMDN6uyABN46HqYFA+RmkUZ7S8oeazwi+a7HzqGqI3dQ9j4JGRTngap0mj9E+75eAJ5u9SH4mRmxoukkYVC7q7lnn0AC+NiaVNwEOx2azwGSlFvytfaZDDHaVyHjvNTGWi06kF1imxfyw0WYP8Y6J1fOuiK73YTX/1E0NrUVj65heUYegC2V54Hg01JUHEIeRSWnPkUddUg/Q+elXnwJoEk/iPYXY10m326ToIdADRHt+Wz0CWyTjpwz0EXsTE15P6l8dA9LESMAmnap2vWlQrPcksl1nXbIe6wDvziPbWSkXCpkC2/oxS2G57FQCI7qKOmHVyXjKS/fc5Tma38v4PAgx5wnLUYZCyfhmhqxYkChRlkfb7QTtysDwPEgwm6y9GG8V0SaN0EKXhyvjrnvucCoc9IoC7YnbZQWG97tbVq2NMLgZYsZlTccZxATf4mvhsNkM1BxHhK8RLUZ8MfpHFaGUViZj3q716CWmx9yKA8R5mvZzPrLLqD+3hK7UiUNDrNL4S6o5DQjUZMVGPyFDWFGZgfoyJhpe8QqmEkM3Eke+sowBRTzQSOnQUkFFgo57WD9qYy/FVm2aOsbl+XjgwDvvPnr6nmWnOWsPJolI1ZCBCGlHvosXr4dIRz/JrSg3/zu+kSL2ywCsDXuZFcCk3NKZatvtsV9kL0uxk363M2DUEob6ZuLYAzSjm6MJDT8qaoPtt2OQHmWjQ6+4ingiZ2YE/7QneTsVYZILh72bVZRsDZ5uw7C/tpmk1sAibq9EsEHK6S3lg7tfHyrk1mEx/XJfwEt1PmPXeDS3PnDjj4d3dUwARtFlWg5lB9IfkWSFNF5KOzSBOk8MgfCZ0OykNAdFxCRZGYqIzDZOp1luCDVF33e9P76wIhe2AUI5pvr/7GlSMq9yB+cEluLbhvgXhi32zTQRnPDpcIN6CTACIYqpwlCBWYwmi5Fgyom+4HuA1fF2mtbNmKTvCEPSxYCDpr1HuszKoKXeiH6jk8m629bsI/e+EmHTH5HUsdtagdNVokPv8hXbrPfYfBZSgU0MUAiMt1A15elm5pg3KzRQLIOMRSeJiIt/QyQtM+iC82OrnjKV119LAmtlTGDe1vXR+hNMDdYM612BVssUHJjWxpf4BC0kKqiJCKZIEYKEMYznZjuf1iaF6s6AbphNqOR55xEJUwSIrOxEf8h2K2FssoS4FpLu63Bel8XO6RG3GaAVrCLwUbI5nCzVxPGqwlU4zsdzKuzz7Zk9q+yFG/FFNVyRJiYPSoGUxHfO2RXJQAbotc/chHkFs560rlmSyxWEW77iyqnFsupEfbegARtls68lCSMMy3zR/AmSEN8638HaW2niuSTfq2NFqCrixojoJsuHuX2ZVbyy0AM1hkN95KKNHLbFGZI40gfMxqAmwixVVBhes8CEJFQjaHMSC/EgP2rPi9wxgRugYTISYlCpuZlZ1j093YXTwB19REcyCLagnkthZHVTYuDS0r0ZLyySVE2RnaKCt7fzV+F4/mpv84vthXiMnpOwjRUEiEGnDFaKhgVTcYgcXo4vOsbR9OpenEoLLXf7clYYJ8tHpdXhfEEc4PH3eO/AlT5wOOEDOoQa/Y0enbJFQl4VZk10eRNGiV5cMQWLzxcQiwsb9JOwKfw3MktfuZcOPp/M4/qr5nf3akmNLS4sFYvsUCgpF2DXw4zsz3rWbOcPrPRD2AbQXA267lc5yq6T9r19ZuMUbzqCGnO6qcuUOLu7TA1MvAEBz8V1JbYOqTKaLnQRtqu8lhH/IWRbdrlAK7GQmaPy3XqxsUcwfs0wRd0kQDdYfBTYg5DBTKCtnEo8GsBS7Nf1o3jc5+vmeL4nz3ar59SGSko9XEMzKje7SyUK7yJhWNA0xV8praXPjQhVCE83+PGl0zA8j9ON0wx1Q2CCvDUfXM9BEj7FoJOJL4zTqxSh9rvYhBtmMEuu/y6AmLR8B+bFnDYoGFmb+hS82LEMN8FmYc7Nmcxm+Efq1Bwb07hLq4FXkUQWPs6C3rt22zzVtsuXa3VinchOrZ+ykot8x1soEhk5ZaQ2WeNQINa3qAln+xJqgsNNdrEztcx/Ddv2pHadvhlCdY6Kb2tB9H61rtmk2ZPQQU6toojSQGQJGOg1nmaLmIfhlZ54lW0qMlOLwpcqU5EjQ+YRDrKVK+2V6YXNdmn4QGO/cKqdMUJuTLQTeefglJjZ6/A2a1Ef4AN2IpIkvR97K0TjQckPlmoUOTJALx5rdUqwi5YS6RCz9Lig0hWGT5AtuEBb249Ub9jCi9WWeFCrLxJERIhhUIyWpZ3mxW37tkkLVs+8sl5GAB7DQARkhmc9GTccXu3pAmSQhn46Ka/6xfWoJSWSnfw8gnBCRb99MA2qG9wf420r5CQ5CE4vAtQ31Aiqk2rgl+UmGZeTEx54QmVLmaMnCcigWibF1vIa13jfBhvatDQUUq7aSzhY1YdJw+ZDq+UvTW8O1/jjmcApgqVMjrAurdYOkhQCdAM29Irz0xtMcEuKAk5c6APVJiqL0xXltKwTBbjDbgcqp0ptp010XNBHEVvbaD1qNkg1zbg2Q21sssEekyM1e9OkUzGrhQfWFiJgFfi2BfGNZaD/UPpeUygYaFe/tOUYaOm1LdmKD9be+vZRGNLh+d6iMt5kA71BC3P0tFzUFFeVqPrZCGb1aZABtqloN2w9peowi7amyxHwF4hEVgOwFlK0W0P8WRljU5zzvCI+Bsfz+S+/qkPw/JOr3YwKju7fVGzk/cQ66GqrLXqdPlbOLZbocQZd9wIE9xu8MAnnfIQz5ZV9Z8BauznKEU04vulTyqPTRNxYH7cig+SRnk7kLdxKI8zIE0KzUncgua356QMd9813GpKvhOaMT6ZSrjRcXMFy36sydilhHv7BfOwmKZiwVCRIMxxtpfRjvo9acp/VqyeIpmJCLO28KoMBlC/Y24jvyaNfSuhw+bdZbrENfx0lGj9uqrUpwrBya8D+YXJjFnh/xezrsTTOYA9wHHDkQ4Xk70VrRl1L2s3a816KHyN9Y54C3PPdvIBb9ag3hJOdyuOx8QI42sBDITaO3Eyxk5jPOPTTRRgfh0AdkAXx548yzH/A/5K2iaQS/feTlKJPM/yj0qZq8H1y2FPA0/taiLQ4JQNBu9d2QqfhrcnI2qf3ZEmFOwKQfab6khoRM3BzLJkaTV48Qaw2VYvWIdRmjisPSMQnNcLaqIBb6D8KNHc/mVpcwwbfZ6V0/Xj0zSJjjCppXeusAwxVeQiSvUf13nCc2DsJfYZ7m+mN2r4A8brMdF6E3BQz9wf7oXo+K636tPoLoIx1S4irr/bTbY42F0UwrnJ4FKOmhYHBPf6rudPFftGocjyuNamVpaOJobEA2r8nnC40jlHLq19kGgoQK4cNS4m+X4u2De4v6JYZqlkW5+NDWcgA/crHOS1h6T7FJOKtTfPqJKhMZmrbJiFgOUlbB74I0//StiXkt6ASuVjyWaniMKdn0MeGu//U7FfD/iw+PmEpS+MCZWqAkKyCa62XUXE431Lsn1dTykRsqskon/qVrPy5TUkxMwqnBNWr6OmcR/Vff+CX0BWGTghEIRaWD2fMQkmnBJRP7whFhkawKg8pkKgWeOYRBIqTtT+YYtR7WnEnL0GuKxEnQB7x1BRWToxWrNtzHLGHwGlLpnQYuisdbz6nWNcO/xousLMj3vpD89lg5QGMO8SZq0cxC3E8vc/N/KywczwglaBpJn92K4GrOA7DvutQ5XM3RI0YRoMzxfT6jwarT5+W+GWTaGJukXsmQgXlNacuNTGjGbN/KplCE+EC+kv3dak4PlMuOT3hYl58CxAgmheQOUwFquyUnTaotaDs5lni9pzlKA+/l9R6+6jwo4bgCDuJQn3ZZl+zznQCKSzJubW0GUC1lAMxm9DGLDGLYf2CIRc2/zOte/HCdRpDMnpU5aEgTcW877n14MYV9cGoD1xw2XITh53NaxpaqGSNfl8iaebuk1fICeCDAiGPGdWjvTRyZGjsBAYUZbYKbmC87wjl/XdNxCJC/o2d9lOxjHSHPgtqyejfnI6TNUC4jFC/vMqyoDh6WSVSSEmyP0apPH4eyV0JYzSQGubkEqUogZxVDH1IXixELaVtxIYnxCPR52GNzX8pNIB9Lpg3xGkEw0DK+S7+X2CK5ZKzM8u/qk7Gr5Kv+VPRB0h0WA5wmGqOTUvyzb1xVLSmMGALfjItMsIOAJA4tdysXizbLbazMLnHsWJ0GzJTEwzoIwT+GvLnIdYzh7+ulKD3HMOTKxYqUmwy/eMHCXdeRCF7CeG2HCiYPOSFfsFq1cb+QPbEJEo5eYh8kZNGzxaq0mZ67fKxePvZuW88t7okdnVfQZKGrYlLFSwazTJjJNGjuu+X7R82wuNOIaSyrxq2Rt3c+b0Ci6AqBGHZMVbSLLdZYQuYmDgWNtn3nlFavdQ32tdeY9lZd+l2mr14DDTN/b8zctopBf9/XjSQGs8vYjKmCo+9krpvcpearC4ILzy6o2eFEkUOtH9uHy4yqr6W4WjLgFL8q/zMS+TuOBdXHwVL0ViACwRIsux6fITS16o9RLyrTf4nrBFUWdpko2ZIZvUnwrz3HppniQ3Kyb82Ut6pFgEaoY/3Et76ElLUd8WyLD+UmMcboExLyG0NlPmcaVR5lK56TgnTMyrwrjGMm+QQ2qXjRi3ngoqlmaevyMylwGP80uxCxEHkzvMDULh4XyRwLk/3OY6X96KjtOjl18ykHLbkGW2lVKK4j6SXzVoxWM56+OBcG+XWtEH9VOeBwA7cVT17WzDz2Dfbky6wXALhKjJ+OTDFkDF+tbYkgNCwD2HbGpKC/5cyTYnKE87YX0JDo7c8yfoRBc0nrrkcju3NkuMRE2qvJb6K1BNirnCao3vy2PBSXyvKS5hxxI2CqHTivtJnJ9LNUgNLL2zi0UXkoTiS1BiILibPjVnnwPe4lpXW0ohVazE+Cp+h/9VgBbmspbasy2L1jDsei501wmV7SmQAirsba/h600O4gQzjupXPHlHzCc43VFHKKJlEbhJ6h/ZG38CWEDOaawlqMsCLRAyDFq+zaX5rm5ZuflTI7x/YEKPkNfuJokc7pmpSq7qZBpUApMR127S2DFiGEuViFF4FIlf5z2NpoYNy/7FqeayeN7ioXWwCp19RKKWSM2gnErwTV0XmRUyu2qbb3IPneEsC/EnzOZfH6eo9aPOzVRYlzzQv5Rr3tNVzI8uW8Yb4qj3688tnflQOV6VEQd4uObRYmBMxDOr84CnaconIR9DxYLHgxY6+wl4c6RLweWIqaUK57DF64WzOUP7RsCaA0B9PqFczlOGmlv1zmyP7ccD7I3qcuGw/IAnH6NNaPINy7DmG5FOjkH8xTvpoZqG3PjPh06zL4Ls6LSSzWAo7/uAtenNVuzessT1ePQq0oPcbPw1KJnSZhZqMSzmquQtVPtNgDubBO29Ar6I9XcT+1mYRtJQ5CgC5+iqH/bwYwCb+jrfvdK5HQBWG9KHraPV7JwAvh7Yu/4aX1v7xUkAgKed+DxOtVFx1C2LgCSG/sw+N0u7O3fRrSkvagCVx4JdG5qyMhbuHrgBRNpkdRonEhxO4z8z9tgvvZd1hsgfkzOdZaV3UDsTr/MUEBmIMxgkH4C9iOZwcAiqYFsGBmyiTKeDQ3KUt2lk9trcYhAhcPEP96cPsHOib6UCNISIhjJX1SG9/i71Y3BrcywYeaL8xmiHc0Fdrl4564bFArIFDm1M9xkgJ0wVvNK0GEsIvZfvX3Nb8NAdKlVpgOk8pyTrT6WRh1Pbg0N17t06HfXE7nQ8CGKv/ERfOdRPCC0K7/+QKFzPcggoOu6SLqjMxs6BzRZi36/4pShSbn/3wWvbz9sjQkX20VdPperFIoNF13G3XnKw3Lxuno0raXzXxZz1ojNqmvYSNF5Jy8GAUEwRSAlOBMIphgDcIzcMJmn3C0VNOhFm5guVtXaArQF6//hdhY3EW3EI2/Cx0p1dJBnrylQJ5vMfXwTt4e1+WVD+1UqVBnKhkjlWbdSfGYuhIrK0BAOrqLK0WuSF1gXatPQb8Y6O1h7V5zeOnlcjGvCyGDCObxRHyM166wA7JzwH8N0rlrTOQt83yUevJ/pbAUOagyDzF42+sNUQfq0dDe0un2Iixbn75fELHl8X5HcrCs9IjPMkscZG7VIo4it/TORLvI9SjfJpmpvh1nGE6FtvJ6FS0i1jRulnEQ3RUeVOvEuUa/iWFJgzzOu7wqz4PIBEk3E5C9vwVpUhHsQYjdv5HBtOJvgI1z/ARovlEjAXNfjM5UHTPZb5f2OYOBk62tgVhdIjqggPeybz/FU5F3D3p2qNsddONPzLCmqnlzk0pq0B8rUVnhx4xVsZuVSShi8GIo7JLfmZsL/pJNzY8ifixuVrScIQBe3dEkxf3n4XHeHI+qnJcO3jiwCzPj9bIoF3k2xVfOsUpqISa16dsAAL1Q14LnCRCZlq89bHciG1OSqzAkBfx4yymAZDx7c4566FJpgmKAjz7hDXyeYgbNVW3Z1QDRqrnesIPJFFBkzd5nWBVMCs8Jchr4w5MFqJ0fnN8XYskGp1+CM5YNBznoj05eQOWRMiI8Y6fsevqr8/6w5ZajwWLeTSP985aunxy6Hq/eafkXuWSZ6PGAMh2TCN3P9VI+WY5XBWEa01qZbg8/NvWirxooEeNVKSc+jfCzvuMaLfEUmII+iEXrLa6N5hgYaAKkWQVTcaPBIUxdTLI9ArevtswG5gQiklie8aqej7bfvetmlyAlWnMmUfdLGrGAYMz2hppXIOmuNelDHkntdX2PIXxuDFU+388jFF/PzCIzv4V1sKGn4uu4fiyAWZqg4ARWyeyRgjEDOexOmMXpVSzbErUfBlENEh8ei4LOUPNJUsH7RrH7lGj8nds8aM4mhtV5Z94ZH/8fUHA/DM1ORxPKXnIZNpIvV04shvCmxjSoD3R3Dsw2agUpdaYrL6H+PzCRqeurDcu8UNtY6PJq0T/Jzj5Ydg3zUjG+HZ5r+OcNVBGL8HE2Ch90MYcB1M/gwiA0ONhJfE2Gn2NoMNzW8izZvnWan5F5Ci3wImUAhYCw1G3RduJWETqnXI/NNipnswJiKMBLzDcUz8rYrPeJdR8207J3DGRszp6GlkOoabIOzAl0DXcS1jkMblI5f1EZWeAcylWYzVzNzxBPRhISAz+MOJlevo1HoD4BAVgWLEW4rfl/ojlXq4xje1bwpsWi4E9lslKSweCKjMOAvxl3sO4lRBTWqi0FFWlpQgNXIS3hX2i+W7LUcU0gbt1LFhQ19A5cxuOTxauOUWobJHFb5hJrL0mCvCFvYar6Vfommzeb+GnL9MD+LTnemgX2Z/uVj7cbGrf38QNBAd/0rNyLnMrKwG5bWQ5mjsglUlYyW/wrD4U/bb3dSCu7LuxinPlq3tfIY+SRRQR7fOr3Yx2piyuOss4LD6Tlcb/X2CRa/+GFfb5OqNhyMKBZSJvQ1PKsUCulutoF+5GMrVFNoa6/PkhcRdXmQ4l8AZlnScusE/GK9WIHSQyx3JgIfvgIPflpU3ufIrBmJ+oM7W1Bg10M9UgnNxtI52yP8NvDJcg+FdbHZfRHUGZos8NOAhHFoDw5kg6NMOBPMAS1M81Xb3bZjl3O/cyvZMgGbgbqp4rOZJbZde0m877tcvx8eI/iZPhtxPUyv3ef9mwHz1YwIinPNqkbAPyUFzP6oc5GLZg3+EZW3470jqK3FA23Xs+9qVhZ1+rYFs2RTcpfDXkwGKy5ZMXzsKepXC0wmIydAa0iumbPK0bUMCGUAiuPWywYAApBDZwcRG1mxyLO/lM7XqOzRgoZcWkYUVdAQfPmS6dvI0FYOC1aetgg7K2/mfnhw1VD0y3MPElbwQ4cNZH9dggFN8zGEDbpGNMxuYnsAAxR2bLMydnc4jaMD/dMwF1UgNszDEphkQpFhR+LF7DUTFVP2C1VZvvwR5mqbCAMvdkPKe+EgT92zriLK7MJceU3dSKRI+WzCe2khJcz8mtHde1lEAkmrwE3ifiGAL4rUZHqkN5CYl/R31JtHwMlrS8supJYiyLts9SzUZRno2BFWJOD+oR6wuToK0A5z9uNUZIw5UWrZXlQ9Dp66jgkNtUcMaM9y+cHLscpAtEqNOm3sKb33NH7umGRffEh/nynDEQlhj9XcNycI8Cw1v2yP9krwRBAlGvPs4xEHtovWHPbjmYK4034BgKreRGLAnNsq8RdSNRiOb4fFV56G/ct75WMSdNGkbLCLYcpcwLEbHz+0r5WHrpM6fFHdL6uRXXED5U01nQgLTqjzxBQPVa+IrmPsaNo1qwguKoGp8pHtaj3k/LOuZFnTzuzKcYXBab2FXKAimsmXW00FesenHkeU1pk5yoAdtyZuRYWkD8pYCTLqzJ+JFlWqZ8ylUsawCvgI2rSXKG9KRFGQicVbM8304Lef2tPtUq+sUcwqdXL4agX+fizrKcJFG9m+STWAQl+BWTj7IuwV/HOMzMzf0uIOpGTmZO80VfkFceWQMwzf2tWYl48JUamA13biW/e5D7/Iv9fSgBhI/lgrR4kQFBxxEO9b8GhvVD7qKJWpXr+vKNooMA/RMhtt2fSQAuSzVGZGkAPSBGuSR9RoUuXEnk2x11WBopmPKH2yjmCtbmWInlYQFGL4i5FyWX84BBHhDLmG63iXdKynGKD/guRYsEsjZDBcjM/H++mPy3IaQnjLwtZLZKpSlH2oFP2xmx2tsVABoBCkKBi3c6deeeFuM+owWk55W3mTS0Ijo3BdP79q2/p1+gOgVSd3Qklbtq3vGq255IY9LL9B0oiE7Z/Pex0qv4KIU+msJ2AxcgUGdU24WWB/9r5gzQM3c/nES059smXpriY5tzojge4rJdoJ1rybbjfyS7yFCyXJ86yvyDh+5ykBXlopl8H50k/7BXOusMcsORQAoQ6lbeDMuUjJPF/LU5K5wXfxtaul/nPc13Xgsya4jgH/qO0R+v7FlAJ3zMhIIVvoVHhD/amvyz3YeuvHKQYsnWfshlMOLyKvGaA7dPIlUEm7kfTvh3pChzrU9jmVFtI0vDVd+2S/cW3tXkRgVYYPQBLmzPHZZFF5KXLTcBYujrXRAwALWobyRXVyW+PjJ+mhuP+aB/LKV8+Fk8Qy/k1w6vwMAIxjjtf5ALNlsNhQMKnG7AoWOI5sWTpt+mClFIHoQ1d3DwLgrvVCPBVaiZ5A4BPDJvsc7dKCRHlhKZTBbbJ6r4ipmdtFjPpiM3ZALNh8wNgXvM+/BpIUw6Zyx4aSJjXzDyNK04VsGn5/oPBO+WIHTSlpjX2pF0D+qbFOT4qemONIY5uNQ0j9eq6hKKaNJaH57SQpO7MSZXXOkiKPnH59qNWQEf6brmYVec52ee0d87qnxiqtz7q2ERPKg4LKXxVh7S64BIj2H/UqdV3omeHKOSRJHsiZtMtLoCyaQzN+PtU7Uz+O4q2iAFX7prZUYodxOsWfA++hr1qK48caKQmeFnFWL5FlPqSoTmSREPoTvJ4AHaSoiM047CEipgAKYL3cTVYfNMvcwGjLfYz47nBoFM25+djyx3M0xArJLWnwGjMwMEXtBbgnB5bH5rW2TDE/lviF4PF+Yw4vGMNNEooLwyNpNcmbI6KD0NuGM1GoseuoYcgrsCVYBFojO3FnWxM3QJOJh86HN8He8PeE2vjnL619xREgW6HgwXVTuAQRwtwyszjxUgvIV4Ttd93TWyaf3TwSrGKFc2rF3R3VFRoiKntKE27Fz5pyefZQEdnqsEKrubXUuLoz4yCFDzeJBFNuocoyx03xEFMRgEcnWM24TOLztS7+UoIHyLzKZrhww8FtW4M4ODGgjoygO27fWL8PQLrPc0UvOmtaiPLc04sTLQtLqQ1mXYVnmZyXp4/YqO9DSy9nf2KyMpxlpTZbXPI6If0qR6DyPDcGVHLIKArUutroC1LXhYaO4YKC0vs/xTlNMCt/Gs8hsZQ2qouLSSmOw7SDD0WUjIYUP57miE2JfLKbeazrzujd038LRVZhto0iOqRO9XPX1wOR5RjTrNz1y0sg1lDu7kHFTZRdi+hHhfx05Cprf0xGl+ZfWYxrJx8mXhH/y3FbP7sQwX+qfDoOBsIpvFVZMzaVSuW6VtIJ0ppfy/idEdGuyHIVbdR0+OTzwu938UBC7AOvzuO/PzST/vBs4HzgKhms1p1Rp/I+X1U5w3urzulSaK4HylOzWIhPdPf9JO+CLtqR3G9PUworbXwMpvpEqYP5Di37zKBnwoFF8YY2m9E3MX9aVTI2cq4betDVGwr9TbDQwZkG/v/dfVHetcOfDxiKnvikl5HS4tt+GaS1HkkLvXt4PhYjzgg30vik/J3uXD3ZTAuaS4e3THuwxNbDzpx/5X67aVYFGZGU299q9SfPn3j8OSnEGVBOc1Gf0rLTvxSwodwZfZEOb6iKPTZniqzg1XilUq0caIyaoEIVzOnLsos2T920Zwv4bfR7KBW8fxAhTH0WRiYLzrvjgEx7iH+1xotDC/2M3X89SpoxgwHBtU5CDWX+VzH7dtZ/dywbVdd/bOvTiT1EnLhjfM95isj3rDTmBu7/r6jddfBh4bs3f2s9nm4A8abhfXBl+y+6IGXDf9NSmdkkM1BhiBn7gArDDUVmcFRcyTFnXVh93zPOo1Dcw9AoKSuO4dZIiy66DCv4bQ/WKtc5aoyqVGvaiWkOiUBtpQRbBBKwEW30XPgy72fyD8f1hN5/9wwXSMceEMgnkgBLYa+mJyWUIGbAn1lU3xrgw5xCweWiPAGXWhpRr8quIV193FGCgvK5esT2sZpkAZJuhfFGKwC1yprl3Z9usLbEDNY2qCjeDy+Beel/ZNWgJQxeGk5qhnQnby/ReIMbUjCRlti2SabiL7OsEYvAM/rVkIE9mSUqiA6Klx5ZFzGFEbKjT/d/3JjopRdbjQmCLZfLaIZVobUKp2asLWxLoWr2Zt7lc6q4ReTT6odavlyfK8BZMbGwTel+u84pV+gG7+glu3xqTaPy6XOR3VkT9d5ZkvaTqFHygHk/yXEZMJrSHd20zR5zMDJtZf8mp9ZdQ+QJwFheRzK4YE5lhEopiqg4wVXgdaHPiiek2uKS9OcnQjjf+y90Yf3BK9EFkj2OGG10C754wt80OzbfQPXUV7naCWJUC0uvEGnYXtLyVYgptwtqfZeM7DvK1AqaAKCIccCO6H4aRWVHcgkMVON5cpqZ9KgC+H8Kc3hOOJHVc24b72QQzg75oXzUpVwEdpZBDXHHfmX2nc8qPnEttQ026RVuSNo6s8jkviIiP/6JWMo0UnY4srlyBp4ROGjXkOR86Id8bI0Yh9JW6yyIlXbz7u2dcWezjnchWuFaYDU2CE9iRWmkN5ViMMeBvQ9b447kBucXAzvL9HADL7YD5QdSiqUqhxnYDc4OhDPu0nKZMBptZAfGSpSUsp9TVWfwwcFTdsUgfcHsmE4GukXYlEGf3ad1KpB6nI5uJorA5N1A4AGOr668auYX1dBD5WModAZEG7nQz7oqhdjRES9z1Oh5U5oVzZHF3ik02toww57is6kB5j8pYgePjx1n6TUXCc3CIhMa0cFLas0CN+YJF6YblKNlJc5gjvuH+/Au1dlcPafDquF8TgmdynxkWmt+wuARzoqi+rTB7+RWF3/G2Hp2CyamjD/nB232fWMJPaHaQVc21UNBEGDsqWvxzlRe4rXvOLazjFSWtdysrXt0DaRcuYKPZHtTSv7kwnjBdRzCiSwDQKuzTWhx1Je6+HZsi2f3YqpfTva6q2kTD+5X1ys5wC35VoY4zGox4U1+EKwWuAiCLJePa966edzGB3l1d3aM1pWkK2bH04GrGrHhhqWw6qJhhtOS7ZsQ5wqtuyHAo7XtDV8C5r88TrTjGjhZYn2HNmzBw0euUzOtNc8Zsgu2wfF3HNeM19wweJqj07ak4h0LZKKfgINagI2rxVZVffbBLHiwV/Mem3Lw4BcL/ex3KWEm6bO6KrBPcGvMzrt2ZZEgSF7aVXvItG078SsCrYeTXRDiWhME3YxzzxC+27oRRan93NOuCZZVgIJRqqbe15fDXcKU5EtuOTIIlVPLjuhQQz6ZF24X+vQhQZJODIOf4vps70CoojXp5j63hVZGmA3hb8aAx2WItgBhXFLRHNPM+FLDIm5/vA+ZCwBTTkHvz2kB6cPJqo/U39IBkZ0f+k8VDhbDSengsFwiFwKukB6yvg4SPdCr392VWOG7tJ1iSfssUPwUwEO1v+3AiwV94di/xHaW860ljOH+bZo2VjA9M/ztX8gtlsyCyYH/K9j0bVbb74iMmfU4acVajEY5xcCzH8o+ORNtQAS29v/KdSoNdyn1SbZCbp6lnBneq3OzjWRHr3sMMdE+GX5O5TV99V7ecsXjSDgwXjamsyBXFhd1k90aJeBifcEq+Qq/mlHSPfjunVlyCz9+wGbzEqJL4nUe5T8r0rQtrHeMQiYZBbRe9yDQTZ76SCN/9cuVCqIKpSm/abWDpeeM73jrbX6BjscjRpyJ0Jw+X4xwrVDpdWF7HNHCzMvdvWhQoK1QO3wVZFmH378hqXgBpIs2VhUTYyT//pH3I+09ic681dUFhz4FB4rOxKk2Jav6oBOWXbps8taDV8a9OGZ+S7x67T6vK5tU8dy1DrYxXDaZ2VpLyiKTNE+KhTjvLCUXNxXeCmkc/rmFln/+2724RfMMg7MvCv/M5jDGAgQVRycclGISQMEmN7AteBcUpkVGa55S8P8JBbjmovy13nVY/KYGsdqOssHF6W6iQa/7ZUxQEX27p/pPJqUaYbG/z2WXIL0X2+35QLj3lPm9F2iUHBq4d5kkrvNKhuTALX1UwqAlZCcNcclyJSRhDL2tVtcbekXrX7aWRwIMdGR1e01yaD/c7Q/WVweqpU5e46GE/Iff/jWdasvROWRZRKGatizxQ8ITxuDp5BaFPOucYOatJRNgWOqMRBgruQ2bAIqv1frKbgmrqbJxOdSjjy92CHol6RVZnJ9hzTaVH9PqmXknOHjW/eLb9x13Y0Hckrl/GxIX/gKQ45h3Dp1kAKhWdSZyUNSOo8pOUn7ZTN1DE2ev8x5lTLreiX/vpuTYVYA7c5eXb+3huhLgw2o0B6fZUg0Gj4osqGbQcZeNnbamomey6rLrXhGZs1gDUAdUAcn4QcUqArk7gB8mjj0LiGVgKDo873y6rUd+6iWsB9PgAaZTYzTQXrCcsLkaiGhg8cqSrChW954sud+mbe7y7LDqL8K+uVlECzH/BJT9t8AYOBeswTDiN4UYsGYafQXG7PWUYsGI5EBBl4/IGkhLGZ5LsFD41JSLyyUBvNX3JeHQa6GSQs8GnZlTZcojWntdKM8XlVCetbzH3IGMeIXLPxE1ODmw1cgkd6WzBcjEJI78UVf59gdkT0kPkE/aKWgaPsoYZGspXztPwnJzxEIuYWiAFst5e4hMcwxd2ILSlDUxRSjBwFAPtajHsC+5yhX8w4/To+bPhgBOF5AmP/qIpc4yCvK23QdusHWpB2FfLlVrZu79rBOgY9nl4jKIhywrAI5qAg54lAHV3RaU6ZOaIoq3qX7ULCCL+XtIf0Kp59okKDqAmTXoDPMTx7uW5UQpyYth05Za1gw8e/sdKm581+BGmrK+fSj7TGJGoD3qMAPyZ1DUdA22qbZHFAs7+g4krwG3Q7GcxajfRfPP5m0bL226Yk9d+XM7FbIov7oMC3iP2RbRRJ0DjMQ6gBdcFL5Q+T84QeMg2LwBx1+H4AdMV2vm6rNqdX3N7+8HOKVFqylqwNQncZ5WJEy+K8RFmBCOLkwO2ZewTIPoLfvGoa2uGhBddqPfLUXQfb1HBw4kUpCaMHDVUHljWPOWKs9qzy6f52Z94I1CzHyCuYR5AD7PSwq6BICHPg+GRDKb3eMH5rfPhN0sxmjUSgs+bS19nqa1/auj6Y2ZgWzNI+2aeRWIG5L3HZb3akt24i7ZA//PMCh3cePxxYOkLKsgl73c+hk9rukHqKsXOufTmXmjH0QkRo79KM7FD3VljCxJCuw2y07tMBErFcDtSL9LuvdTgX7AWwQWMMv788MywPLwMw9PmW5iEXnVmSv3qHNX66Ay3SmioO5obIq3GRcam5GmRGssIjkp699sKTQRtB+IwJKxZeghEh2sc37pS3mCAKX6oR6V0gfMrVSTMUfoA8v2bGadwFZssaqyA1WUayjYuxW4eUjZpfcQksWAk+2BNCQp/xHiuW3ftBzPKH2xaoFbVmps1CWReLulZfZCel1ZN6Ipi5CTjtz1mDAZObo28GLOTjoVdDDjRkE4/kNN5EDTF3tHqq6Ph7goVA8cU5bCc3LNR5l2tcfvEd3e7ubdb6ybRKUc7PGYUP7bNZEv8TvSDUq+zxBaFVhUGFyI0F963ubMpGOwn6vBJMhguroo4+u228iIs3KRw3Ro8TcguRiNkM7hp9WmvadvShxLT/xZVO8dHJPsMX8+nN43BpREF1XR3HhY22rED7GhsIkF7PFZkSg3zlLCFFamnv61vSXT0BwPs362HjA7uHsByGZHMVoTTnil231U0zfq90YTuu+OfppWj1fqNAUQFp9cWgVhnIey/CrWjig1xL02QYlAgn83RVdzm1vGd1mQxl5q76Yw2/VNDYuwfKvhGpamsRzdQunxIRv0bhlQmVYKtqXGe9tz5+8U6XZ/d2yUs1yD1eH8PSiJ65uXhJWu5rR1gmhXk6xEFhUJ2UmjTELxrAdiara9yrf3Ae581EQtohv3N65iy+L6fWlR4ZcONOZlivdGuhfdJjYOVwfpHTyxUOB3WBAYSS99zmdBj9IYkgch/8ddvnlkbpLorC5qCjnV6i1Zvaxf44fTfWAyyJyluAHc5aQUC7tbIyl9heEsvVaJGxizDd6YxBi8nAwEjRBnzIozizec7vKeSSoNSHpFDM2/ZrNlXfQDYlUB05BLSpTSSaxRGPVrMDj/azpAI3WIua7TyeedhmAJ5v2AJ76TWzAT8fVuePqhLemLFGVApt2Pe/Ecbln8+G93ewHAM21z+rz+wMvNeK2v2qHmZ9uu1JaNJGvdwhCvz1CWo/4LA9/U9Hfnkk5UNvy0LnuLFal8nEvJ1ZRJqnvaa8DC5LmAJEy+IaaVhNI7pFMVlj1iLbm9k8kWQq2nIrKkwDVcZNQv4VCzFCWq9ExrhUyyjjhu3MBsqpOQDLwBiHFTwZ83a8e5Vlh+USjuzD96+ytLOGBeQISIa0NmJpHIWn7BVs/1b227zVGScUc7yBhEeJg0zILac0J5smdA5GwMHSTaEpxhHvkvCiZw7ictXa/uyEXpMi1BYVECY5hUFt+ym0j91QaNAzOSCx2tkQkzVqUnO8ofcvpK8YvWPtidfVDEjuLq2vEtsj/UK2dD8GjRQpzi6dhZH5zV399jx64xVCf9aGaWPt3t4D3FPX+7I5BhpvcaRmI0kHYg1QkJRenlw2g2SStvQw7p1Nks7x4JZ40MREha+DBcV4s1qRv8QbnDkbyzJEJ+7JDHz7RC9225llL+KlTpA0yEXoMu68BMApKt5AtXz7X1nzD2SxCDQELJUC6oIrV6HU7eC7IV8XbWeFun85UnNro3E9exdGI4yw3gZftu8ov0SUslUPxa2TtCuVa2GhZZ5WKEZ4Z7aVbkRJSy2Jma6Bb1xg5HeYyZ1Ip7vI1dUntzOzTTAIuH0pOsVpKjUt2Xm8f2k+iu23PEPSDa0PHaXsvtMMcXrnCU9jvuE0q8UkrW+AqOeU0b+QWwRP5kEWKckRehv2hqG5T+QdwXpC20suC7MQ/4kJZHKNHT53nK31hKU2fk3g6pZcfWwuJkuxSBtjgiPKZZKjqFFG8mFIW8tlAa1GIr2WtZuSe4eiWOOrgrDF2xXMIcbK9P+wpy+InlfxPL5/D9PDPtIL1w7T5c/Rg93WUQYbHb+b1iANZp7xPd703GTdUaFuCEATo60Ect84dJyTvqnJzXbHWPnHg9bjsBuxTdRsEilFi50AE+Zf2L1vUur15NxBVW/tdQBPsZSgZyGQXsYbTIHsUEvnAwnn4zpC3j15rg43GTbLbjWfM60PMa1KSLGXxmGogUlgsDK8EW+m9qE7JudjZzZeiaGzmn7GSF2kK7zTQ1CFXWoeG2wV0SlXvhxS7MfiE+/WmfkjweqDBkjpgq42I9lc+jJeMNjPzMUqzRUmoG2oLL8P9bljVkmBfVRlYj+YFWCJfEoSxJXHrpJSkfg7PBg2W6c1N3fOsKr3ajX/FaQJUPce+z4d7yWy8o7dSLwoqPDlWcS29HRqz1xMlU3dQD2M617fpux0J0xzP11mddSGUcKBXB8Xz10yk0El/7S0Ikluklj3bf52rK6xqSwLU6R+y1fZX3EEtz9nl0c1xtEfKw7mHphtbmoi2iqRVyuLCwhRb2BiL9/uELtzZq6fAqFZWXowQCUjoWezkgGxkeW2UoxFTeK4SbQgPSI05Fzy9t9nFVtMB+DJc8wojHzvR5+JSmOMxxrzrZIyZoRrxYGmDsrEO3f5mReUZ1GeCPmVYdpPvn1DRxJj4wbgaCc7nnSy1mQ2Yc0u9LnlL8Stn9tUrsyTY6hisFC6nwa+npkjrhWTpZwVdKZPTLL0OOUsclJI1LqnIu8EzAnoJXgLtFUEedD60XS1+ihQSNsWt1l5JIQf5ipT/k0HzEamvpJjMUAkoH8fGL8sWiK79pXv8xDG1KQJtR6H8EKsv5qhyP7pzoustWovseWjIMk4989HoQpfGv3xQmjkF2gq2eMjlA+BBHKyXZkvJmyNReWSoclbSgubrmQNZPfKoAHlT1OEoyNmvb7+WA2EssT/EPoScXJaZ3a/P3a+ciqFqs2Nou3zBQpOgjxgQ9mM7HfCrm4sbcqamGKI4QWn31mRIXL6zfBrob1E7kXXKUJSlh6wBfxFKNQ7TMvhMs39EoXxJBAr1Un+cTVsZpLumriRz/cYsawWQ0YdB6+ednOcHjqubMzVbFh1imGVpZG/7Uo7JFFiPyaw8zHdIkt18h25WV7Mheh8ogxt11OUpM1W1RSfltyc5sKKk2glXQzaQFPjkZGRtnrwapHyq89/lCCQibiOwbdspdbGaPoObss2RYkFsEawUhIrd4j4rRxTnElaZNU3Qhzv/Nlmt2odFi5NO4et3vxItt0xNwrF20iA4ZIj/HbkIy7+nQy0fpuR2SodYUTl2uqn1jHHkIFpDCv3PqI3m4qPrCf3NXwheFjPZUqDeqQ89uVIN2d3wnigvJZj6hQUHy95Wu0PjDBrlfJiX2Di2MWzDk6Bof4UhPyRw/P9orSXaA9h8+/ar0xKF1TbxYgL6J40m372bJUyheTYj3JG/ouF7WjjknYb3AUrnvf/HTCWuSAZLwmxW8+PU2eRBbUZNpzPphZhBUrLnTd1KHwUVM4q38rrAqudQlXsVhTrlzq1wQg4s5HOI0v2gChk7njdAGeUn1sXKLTdqhJf/iDVT/uYml4zvGICM7jwXe1KGe4rRBJwRUOobc14Z73nQHhQpXVDxtKhyuOAQ93jLnmMau1kNWjCcbzX7eayMQumgdIkqCo9vmdU/eb2F9V2CnPlrrEjwzQzhG7BPaD1OaYeAy99X+mVDXIrzZekss/PdPC/obJK84llprsUZuvA98j0ua+2OzvExKAO1h1fP0MvbeO/uKmv9j8mx6UcpVZCYiqPyS8PYHIsgwG4eYbEFLlNNc1EXwuRP+PUTnXQj6eGztAfH3xprv4kmWqZT54r0zc6Jnlv5l4MhRChddsHCnDBPQ/IHgFTueS/3vEwOHa3cZ9V8xKgUBq4dEOmYdvUWg1GpATvlQJhR2s4WnmhYjPa1LVf6FJ8B+OpjJMsXYpVoNCzqMC6v4KDb58P/gv8P604zo+gdBJZHAk5O/hSdV1P7JtIGJTnG/yA0VBJazFYgUon8NUw7inJzkhK1YDZgPHR7Wr4VNeywWYJfk/xRiDXxwJkaTDm2wZoCReUjt+cXhQWa+3MXkX8SNyqUg2WqW2obqrFSCNz4jz0GYaV0Hr4oo9vj/9DDk6GdLzwNFH4X3s0e/HG7zNQsEyFQzjBzTTAZUQJZ8I4P5lsBU/02tpAEf53mD/Ooihep7Pc6A8HsmZQBQL5iU2tgiL86mm0JusF067P7jERpp30MG2BA1mW2lVNKu+JgCYgoAIYOPUhhRE6zWmukPR7QhrXqS4cVV6JxJbuDzJP/aTUMwiA1q7tLF5EN6x2KtlDcCVqx7uaKRLKFcJoUP/HW4YrTCJpK3wosMabZCZlkyMARJC82VTmhvCBC+hrY294Uwk+Eg/nFE79L9/JX4Z3t9gHdDImamosbRZMr+7RAVmDSXeZZzOI5XH00AB7FFi+pq7ER5Fq5qSjZDgnadqWpRcZBErg81JOj5dypx5/erpH1iLVTXCVaP/J55MQJrJkFF5AKh2SPoh+faS5kkRZzgox7lWqV98M0Vc3S9R+OdlkAHzmQdpguDFTjByvnpvXgwRw3gZYqGvY/X+JC3x/j5413PPJpk3dy2kGT9xoeLL/uuYMlAFkWmG0SbHQMoO9uVnQOEZjaCIoGEvJLoSDKneF5kDnAnLnZlTFMoDahVoBgu+gJWz5Zyu3nCOei9sF67ojlkyebunC2S4RXv+wR+H/FCrahKCmysTDmM6Ht5J3/qB8904JAudEnP+/lEHf01VwtUsEcwEsGz55m7SMvAbt/yG9u49vpyijdVmKpf3ZLFLhRvG54F8t+uyv776BA/bm1C1Wer/BoYbraiq5nwW+LhDw53eQRwSvp0Vd5Dur4SNb4DpSP+FoJhYRQX6c/WeplEZ6qOB1uERZMb0J77rnUZFdXQpSPvTeomnJqJJgSaM4EvDRRJRtY7b2v+LVV7k6iMpyLe8IhtJisqqzcJkSxEzrygNj2Fm0Lc35gnFv5SY7MGnABzxc9n4ZU/Bj50zHLUVtkYrINbm7N+Vh/iWPBgb/CKNLAEWC+1GxqLHCzU/bJ9t3m+gL8du4cEmG3uPLk0q+F+bbu0kaoDFpFXx1fcfa0syYAyukdpBeBl4xiRcuvwHen9iQu2sBwzees+qOBzqtRXM4H9zDoNMrZ4okSOP8jdkccVHSxI1fUJocciKp/YoIVC5YmATIzOHcNy13ukdOCpKeQo9aeugx+aJnJ9fBf3p7P9mO0I6tgQ21OwseDU5Gc1bB2xLXCWRn2y5tWu27X6p07gbzRZaWJSSSy90d6pwhGlH7MANaXCW6ZWrhbzAku0+XV2VZPaBop97htF3SmukUFeAihCU4YkdZA+vbr42P+TWW3q/DpxJhioIFnPFO1j1+34Hr75xnsp5Glf9km7KQBN64tl17lNcaflpNchWReWf5ddEL4MESpeg12VDqqF/PJ72FX+vnZzTkt/pBZBQkxUtoDBgu+nYm0vTmhnTqkjps87GkhpoR3IFNaEPwmxQYIoLhNYVaFg67nFxW+7rtwxpWogH1bU7JquhVyOqvvMy+qbXKPJKVaFJDiCFF4V/CwUTwe/VENCXZO0R7OAsvSCvBj3zZVEFnQBf3sG9HFSBQVpPP8DnoG1exw8CbGwE/tfCmiOe5rs420LlwnVzsH3gvTbi7riw2loAe1E186nv0hnc/dKdQSAguZuPWjm88wfuU8UbEFbs/i0K1lINmvnQRCuWp0dSLOMJpyWPvsHWAgis1W7cVmCYbwM8OK4FsbHEYtVntb3UtgqScI6XakZmcZcfGifl7S+f7uiLozTPgtIqEzY/skdeXUoHviAsB6FJB5MkYkITOD5ktBuDejie2BOJfRcVytPHJr0yQtqevhGz8gDTtCR8qzagWdck6DmTy6jAhMYGXtXD6mvO46RYvdSud0pxLugJTYUBJ3WhLqI5hJDA7IzzkZWcctkbZqSS1chWTMAoHTz7DRTYNvq1e/5211L4jTdpQI7xOicceiyvltPsHnplY12LUYSkjGZP+kQQFHDHJQ6eQ+eH4rGre+ySJ/5grfScZRHsSr+9K1nfk993oBKMo24IgyJZpX0F4NJneX50FsKdxjNyTyyWerCxa/xZa2QvdPUjbpUGmPybnra2XJGS5CZhx6xSJVxQctVxgyyMr2ghOoLmrYTNHm5NsD+G4038jvBiLWHHfnn+0MegWwKbco7qThtohRR+KHPSFzFzixBFZP1koLpKYteYV6+KdWQTtV2IlIHUTe8r0rMzU32lcmxZvFo12pdi9TPcJ8Rg96pqWj54yp7Tk3CChZASzPmGImZ7ko64vpKsP8bIJ9GX0zAs1h/kFMzfgMW8iqyEONctD++YYrN/S1qPsnRlUYaxtlGaf/ErsiP0WR8HIqAqy8WnMgdj2wEcqmFERoL2IiePZmpKAncbPU5/l/w+WD2onqHGsmchTeL2B+wRpXpWLz92dKe1ntXXybi20SVAJIjrx1LRjMzvFh7ZeOu3okZE2W040TQbzK23ropWeUJmKhMfSCNeWrTmT5/ujb07t0lzIsChzlZKdo7ujFI6c4dAOx0+B4Q8mBEtTfRNaO0J8g5pmlxNnECt1zgK3IJjOddNLlRBLYwfpjpblOTET8xtLLEZyUtf55IOzsG+L1suptkl8EaDZdBDrJKxvqBd3DNRkLvtb5di27Q4aO3/xlH/5CGGzELjjaUSIg2z1JqrX4cP9GklYyDdagewiqW8jNvj4Bw8VJXvGP/1MwfkptMN/1t/IJ221clOh8IPmyywZ42EDqGmFDrLUqMhGcDQN5LmYvCWWOi3HzJD54gYDYwWXJlu9xyCH7o1deUckVgkZLiU07rMoBkXKSeMahOZGlTxThI2QK047JsDChL5QrYxAzMVSi19IxzR0VpAzSbe0EwrI/JDmxsvCO3kp2ofiJHjRjIX0ywwss97jJZ1XrSmmzqkYI14zTNSSnFWl2LDR20+jjCX6CpyVkN7lawtZ/Pcrxsak5/fElhIjfi88PRyEUyN5YF3URNGAVXJoy5qlnB6Xp0y1gyqecPaUqh8iNBMvo1ZNGYQUdfFDnHh2WrYWVHrk/zQaRlGjh8sNArA8+oPk7QbUSXCVDzgeqQsY9LGOjcbA4Tm+TfDDe93Fnxs+xBmVJHZwh4kZUu3GdiRA4rmSX6bbroRDB3ts1f0za8DX1zrhtbanXezvV4KBArMDnVZAwDCyMU9qLHKnsJfWSflASBPLgIL2yGr0urF9+E2zecGJgM8K41jWyO+TenobWeJIuE4Rm/2C7SJAkn/QTB2BnsrtyHJdAGmXLqoA5fUyE2RJ4rXOZLyMJRyNeuz8t4XDALFPDE4131DqUZvdJJky6OmC/7s1dvDmlVEOUtMAEAEbZgPZ1/e20/6MJMsavD/l0f2V2SdSmpuySnL5Vcl45+HkGpNKzpn7ECsbnCVGY9EnofSK8+KBfdccgiNj2g6g7w+p4kMn5tDkrZV2F6BbPIq2Ullt4WM+zyEOD+7mQ1Llg1Ep/Me6TIWvIc+uFZCZGKpp1/H43LL03Y4O9zQfZhR3PYHdMYH9hShZK1uu2q5GaBCBGu0YJO15UL5Gdqjbz7q0oUXW7jl4IohWgLzalxnCq9nYA+hSsp1aglRmz1qEfqljAT4+P8wIbPbzGmUzGBlmpandAfBlAgjtdEPye3NEe8pBUW9rsJiPEsriisJh6JhtdmHZW+Um4HHgcRZxuU2Dw3Z5Yjva+0p/G4gaNMKY9ymRYfzNlryEt1o2e8PifJ3Bm/u1E2oUT9isbxwIQqNERWFhIlPMKG01E0GV6OOEi/OPbv7KIzEHwig5y7LROvu5uWpTEDSQhbPaZ204+jIsfTGQ5SAj3+zdACVOcYz7otVFxLtVdyQUPuA5GUC5tibcdX0DJ/VJ22MmDn/Mq7DlucaMG80yyNebiN+s+s8Bxc5UwT9HQNXHRpFTjntjJ3I4jOQcZijJ4fZIezbOj2lz1X19f1mSgKHRBt7mj0JAHg7pxIRUBmZo4jMrdXqCzfcm/NIoHAaV00JZzKjC8tJnKmNxbklE8Ue+3oOh8tUgJSrAv/FFlanGj6CzcTI2h21x9wpDzX8uKk5Hm/3cvgx4bPxJpVwAxtXzxPhggivvRfxPbignyFx2XiUj8XJ+jYCtATRz5DHmKSSbkXD5pMrFgTF5NUkAuRhuLmhPefhbEygo4nxsGulZh/xXcI5sZbwvQuk2ZYtmR2JUSlUHmFk2x5fDpxtDsihazbKb7l6hQKX/F1QX/76LF3IzMiaPlt13FAWH+Xlel9T/MuKVVypWi1E6upWspj7Y1jat90NnL9ufirg+LBVMJ9/uqsS2eozpHzzxK2W/8NQHbQdA8H7aYIXp5bqOqyKjxWPRIMxV7m9OZx+SeSMpLgiGHV2uMrXedttiMnnjkgfJcu3P3jU2eeanTg9RK+nNS3lJH+bgPQk9rNe0z209IMZ6IGclboLm1JjTANIX2GGwbQZLa533C5O62QVfT7XEG86khLZGFiJ1S1TCpz8dOQxbGHzNBxJBJUImzwO1j32QHdS/7RhP7kWb42aRFlZnjqE1+XXGl8HNbCvZFOtJ3Zupcx7D2WHuPiDJkKRfg2izujvFLkGe+14Bd5MvSCjDQ5vkPu3Y15rBd4uPLVZtRJfDFUUGIkwirprp9D0+RK6Zs+lmtlPf0VUYBn+sn8abGWxkBsxXu8VVBz9hWF3XfnZQ7Z5GpZguVvE4RicJ/AI028oTxpblpdh1WuX/FHmeeGgbdf+HxHBWovlrKVvyy2ilBhq9qUYDqC/b0KiicfBpLJDdra6zoYtLjoq3d03odihEGXRk16F0PHjfFIUsaey+DE5XlZ3Nv9DwANaU8F6l3nekJS4oND2WM3O1WFzHhV7Ko6Qafd35sqOxOcvAzg9hgMuYYTH/hSU6x49BVppjhV/W0kxF3EdHxXHLUdYWAtKl8D5JSn8aoFvM1T35lWev+B0SxnCGIPRMMGsGfrImi2+4rg6qJ9B4o1y0NYggwZvTrWP1C56PqtgWG4LZqUohUjrcTYzjtBEIy+2WJQqbrr2wTR7QCQ0VJ6x1TG7T/tM6rQ3nIJhuK3TNLtyZvcbykHIR7fG4e2z6/CcXUbd7lj6ZZl9lyH3KbM1e1UMwhAzORJwss/iqORg+S1xwa/MTDZGbnx5qJGE2mLvPXOaNYKemqQCbeeNaEvS6lZMfEbv/ugisIiaASdsp0qH6cv/7xFdtorwQd4QbgCnEg6P2qJarCPhcAKeDH8sMYfXRHudxT7oincTh/YWHKRzM+dHw6PWsL4Rq9YEVe4OspHsHKjpGyCZ5fqOPVxdlDWLi/O5QJLHNnGRbmsyiJ0rcO5QHfcmMfl1piYVjd1eDrCFi4CJG82uyuNvAjP32KRlDNJskS5MXuj/coiTj2+gdrR1dGP5UOM8eas2SYSDfFcscfwSxwNShV2IcYa0lRwSBZaSSaBZbMSSyDpeOct/69Raa1/X23veEDieNFYLyvZuvuchOIKOPKTd0EW4/bF9CeW1EJxf3NMAcGsDHQkMCMuqTDVr1bWdDvdBbECdnlqHrQqx2wLa5qFgjONOkBbx97sR0y7nLvk7qpdwilnSilTjFwjKYVUmR/d22/ZXMB/x7lTZ1t1HeFRbd3bNCOzaXvO161gObqLmE6WWj59+Y097SlGreDgXeyFpdCiA2yh4XET2HOnHeJ9J2UJ65ZllPCIWYJMRn9BgbylA7FHNyTFGGihIyRgm+5SA9XcJl/hM+yf0u107KL7ahjwO6bsjOHH5p39aIfryGgvunmkx+srlff6JFb+yaq0fN2DMquJVufUULLXIAja1a31dafdjiOLLbgQiCXFLfZCowZBeaFixmrunfGHL5LY/4WBnma1Yfzb6gl2XgCuakmYjSt2H9PBdcdzRQChl6dg8BfHU+5wHal08W53+FqxVOGh5sPWZ+ZxaVHyVcHOINj87yspElPaOPLOb2uEUynXsFrfdcjdmqnDk5Kv4w8Y6nFFZS/UgI962yeWbc+PuwumB5GuxDuB1qmDSyApRZ+BJ/Yr0fvoQCFjGjFhcTfOt9dFW0uNR6GXeZgp/0MaTuYGpPprI/gab6FCsewTYzHKmy90ZAqfHhB7xnmF1AWecm1sDNOq/15RSMNrZIoH2gRZQj9Q3paCenpyedWcWKKJwbKWIZ9oVtB7sN2JKHE2tMDTrfWYgmLmo8RPPZns1QfGnsrOUXKPgdqtjNLbehsm7ys5GDSRL2fyKc6GQls1nnKV3lP99hByAlRSNVQ+31f1KLh49uV5FfTXW3wd79iFmPmbY1rZqv8zSbVDvW2W/3y07oM9umQ882t9zfNbHimhSQASFP8ebyewRfeB9Hxz8y2O61NZun1o46AW846L1XA3PgozlmwkisVAMELhPXYbRB/Ag32BbdmOesLHEYGyHo5Z7gGtS7RS1rNZwO6upTgz03tUH3ZFD8LuOD4Uo3f0wD4cNn7NL0iXEJTMejvJaJsIz7MC8zcb297jjDenh8u8okp5ABRipe35Y2z7eIMRZdqAO8DIe21GRcU9foEPMs9q2Vs/HEVLpLPBYykF2KkN68720rD2rj2VhumumIgcoNaYtcbNwSQJQdMUG5ssFsw0sTKTvupj2awWD92OdBT9YLRklV0p3XQVR8ABjyRNrN3l43iKBVico4gxhCESqipv7kvzkf3dWFLgtjdhbfLkdF0VfO/oXNEwTanbAJRlcx6i4rQ3HiipgnpksAVxGDlj9tQoCZbSybdy6WldC7s20sQIiQxj5s9TTwdCbM4yaPmMogx/tO6NRPnyD+JjjKofeFvb+9/6klpRlWgfXHvIfBI/wK/c6UoAza4rGLNlzn7oWOnAStJgAboWXe9wWvHpciHMK5AUPpS+JkD8UENSvvRjtKU3V+ixVlFRWskFFngYS784jWaSzwE75sx3gj7i6BSXHIMwkxMhJH62Ow/MBnVMeM73vyHyTwROnBP91cdl0HvcEKWrH8M4WVknPg/rIQ/fkQ3XpxKbSuSVMp0l0fuebYcMd5rK3k/Bi0pg9tQLXKRbpxYATvsuQc/nbwT4RCeXfVv+JOdceokEexPOzW2sWFR19tDkx61piwpKmHcTBDGKqp5eg3Cmx2XaxAbs9Kfx0IUSwzHLLf/VH6jxZvIh+ryTXhnoHvB5YLA1cA3u4Kxh8sZKpguJtoaiwi8D7dAw85RvyU3U2YkQT/LtHYcGFgBz8qjNj7ZkqJXxq1DzxrVR0HxLhYZSC6z0s9aFLnxsd7+H4s16fXs5A1VyI7TXK7PlgrZgsumLOWWmW8Y7y+dtZbIrCLT818PLNtjMP88hERd0vJVTg5pY47Dmgv8cnpezJY/+IkwuXGrE+NYZCLojhhVjFeLPiz+eRqkFIS6DCkl3ewZfXr9naEEc6GxsmBmcp3B5zwU0clHFhicOIhzzyT56Ukf3pxXW/eRliKG8BbRqPFevr8eNI2DQZxM9Qio0ekD1hdk/rGYRichbs7zMKN6VIhCjHRmThWSeDuWaA1VLlarbEZaWnBqnOY+9X2MXQwASWoxXvNPWN2ldKO8ogc34XA4TBvzTE6J8oiwPGvysJbJBQUhLiuiMGIrH3ypyyt71p0d4WzFhoif8ECEQw8U4w8RXT6h3lTe8kLDbYB3MSlz6PJch5Xg16qnQbNR2lGa0u9nmPUFFRSREyhi1ClDH/yQW7VNY8jHdUkquMq6+etFqI4CXp6NWrKSMHGkKfsPSvTGj/NOs8o5BCMsf07qmczqRbStrw7pRaN2QX5HwL8DnkSHJxlL1SLFE2eSxcBW3+iUgTrVnNSTsqtv+74A2hheO94712YrEBAVxAw3WXPkFkdIjEqvSXFm+bUQDi/HpA8ocwAufH6xxUTDvMr7jV2J06wFcJQE6Xzk+4VCaRYk/PF5Y0DpDG+nJoIk1C2AOkUuyd5JJT49B3fhiFyrJ5QVAD4BNaRwX6hFRnjy1ZPmRTlSm83PLNkZ9zHMLN+XNjQu/u7zAziIoXeXFsmqchqPBRHJSIqPWLUkn7YkCu7SR2QiLVUEOuLDZMGyc/3NRVnKzItGQ0nNKR6S/agefAwLqNBRNGFKsFWCnYneN13hn/CaKIi2xcKYz1AWZ1WnqExXfSrhohYwHyjalb6+Z7TMIyNvB1KoxJckJ4OUZ8oMjkw5q4uNtDvuqGf6TVadiyzwQ06lpNCjtMufEE70+dqHafva+118bIN5LkYOYTND1EqWs8E+4i6l/CCGXSyOg6a1ZdvBgnHE0IMLToiUoosLklU14x+zMdO+24rYg7KZidFYFF1cdycbeWouJApoI6G8XNqEaFCP4OuUQ0vN4XRwTQ1Go8LCWquqQxaslzv3ch8RAR2uhjCk2lzwJdOQJIBqWOoZdejVYAhpglD0/ifrpC1PiSZDVsOYidl5Mwfb9GrWrUUZ6PJ6tDveCPPZ/U6hLV90IEAOU4/Taua3EV6i0n5UliBpl5+PcaOmjK247SFi6hxZKqAe2QVFe4l9+QRF/0eB6CmPANyOKftDUoTZG7C7HfDGVm1ALuiBR2+YJ/RnY3OWOZOCVDExcUIzE6vYFZMIE3gB38G5mpOafhdGnqWbswhyjbkzMTOnRX/8kx+OtFN7zIQ3fSqGY908S58iHaQA2sW0tLNhlZOUm4DaA8AgpgkDqwAZTpDlvM9KCc3gRGMp0nqGQnVhgHl6s4pJJyTXbVUrwYDBmt4xKN24VFmLdS0SjXqX+5kflqWXUSeznbjkLjaSaS+Y0JgUuRbQ2C4aVaNCaa2shlybLfX3wFrjKFtZc7V0Q55Vw2jiRXu9zJUlbotrB517hHWkBdHoGvIGYfGoSrD20k69kgcOdiYK+H7CnlqNiHDZNXpdtAWkJSbQley3FgXJLe6ELKaNd0gGJjhn6oMZR1Hz+nCNa/g2aAArpFJf3RNHya+VPKZpairI6jpEwtgjIbopXEJzZqZ7Y8Ffn7V93tBowHgwnMZDpzfj7il6/wyrmBtjNgEK2pte77e/JmnuV7Vh91/4FQoGfQ+ElJqZIdweOjYlMzMpp2q1fKNDE8TAglKnUTPvMgVu7zmdsZoFcXuTx1yUcg2n40Ltk5CLJgYuBxJykuFuwKegXkFE/mL2ENwehFEmMhKxLwwbnIZMD/ZrZhmxEaMaHdPvLp0aAJqePfJd/dA9fc+q0j27kyYqPfkMYfwFROAeyPwCDg0jpbehNYFmNkmvSy5/LUQwfu7LUCFFR2IiFwIJ3VCdiRQmynr8n5DHG5wLjVHQ1ViH5ZWlzy+VouZJD67JeHx4jofb3pwg4jMjRgKiLanJC7O0A5uAAnaAsNgA4qww6UAvi7yW294x8tbOnN4DzTCUvgk8BNCw3TWvyQIT3FX/RFJWHHfMfJm1p2QmOc/Lr4vUsuH2i3XxX0nT7+rtXQvdZHILfF8mfAb/wq1okonzW0LY7PYmvMqJhE4GIDuDWghgnAogg+gMiXwsGvtCPfuvbn++ACXWlYSDJrxcZIwiomtleBwcFkKB6m2KpZhEg2f0PrVvyIOs33UzYyCz/SQIoRzhkDS0do7HCSAV6G1NsNmoHQ/1TCUwaVlSdRrNyckq3Yk1FihPgiyUPBVdUSBgGPen7RDvOm5YsOWUbVZGsXWWI3hqN/BXeNTd2Vm9PgWGBbeAt1e2ayNcfXQoouVghgEiGkoHbzrqNcB41Yt3qkLD5U2tBdk2AP5DI9XUvZAXwweZYqFpdO6xwYAUde3uh37TzkGzAWNLnbIZtcQPjI6LBeOs+OhjMgorRaxan8PsoZLUH1PdQc8Ab3if+mlitJrY5ETooQ6TYcrOnu07HwAupBUeQxGowcSAytuYMroyDpH4/wUo+VrgSOLL7/iXPGecIMjlWSP0YuOgmKXHDISkL4K4Ut+78wbqddpBnAlK62AQO1/WrFSy4uNm1mLP5fmTBNd9YdO66u+tsuaEIoKX5e7fByzF0YAGH7XgWr+95y5P91K6fMWMi1KuFCegLMyofelnasT5Q++yhgH44m6z/wUD2cqGNhRVkj6QiAnvXQJCF1iAy2iEycj3x0YsOZtHPgI/6i7YTXNO5UWkeFIqeCPvww+V6bhcslKdZK9doYPnaasl6WQkuM6kWG0RK8iLMaIJqE0hn+aPFKuKmKhDqh/WR9lPoAIKgmUvuiEhbM/m6KbXN8CWkIahmT9f4fjEIAQl2p9nCRTMoR1MyMZJVxrgpWM5ULRAIGPuSd3H8Qs4FRVJdjk0ElpMfFDSOzHL0fr9vpAxp8JIapTNv0TmVOXmVslpj37v1RMk10rPHh3IzIxA9IJsVKOJI6ldBeZoC9i8MFFl+GPPrqYPlp08plrP6/bU/vh7UZRafTrJgNGd/WKByxy01fKl7AIJ/5Z49NNHiqqaBzcTPMumKlY0bsuRmbfIO24hdB5oaAUxlBToaMcF6n2R0kkMlIYPkYwmciMUdfYcIm5dFmTtTavNLL1iuTrNK1kDR6cblCKHOQmpJ0PfTNpDRxtd8mSNLfMrjeWDFTtrR9ZWR2wt46yA5pc9hahwdCsvuGRjSjeZh9l60DN7NKpG4yvRysEhL/qwl7WT0FxgVkgPcH9poIyzhNL4KMGvuojEQhZvTBj/Z96ySljPyjO+8u/WUCJ0ikQqOnPg9BUv95s6cxY/dho0UZ6rK8bN4lISElHOnEg1CLCG3h9LzxEyBgIdX7jf9jBh+La9rnPNQYquqhclSl7B8Oro/bfkveFZfLu1QgcpX2sT3W8vKsb6b3Or6XJgCXfBC0PmcDVlUFXIOoPCBhJPvTCu67Pprj3deuSBhSlaO9yTvmARqacPbkuRkfxqlbAzy0FHFKtCM9fYyCIgi+1lOLp5Adj4hrW9TJE7yTJovS83WhffYO/fwY+uL3K5q/RvCyHAjxRP+M2aY9d2U8mFxZ+MV0C4G0+svgai+eIe0c6EwSO9gpQNn9G1fS4Iv0W9O7a+3it33KGpyeVOnHSO/NekCb85P2rX652AVTz+/SbCvHxNsxUky3y9ZBdq6xdThEmTCH3ZEhWW3PBLPXewF19Q1aVIHLOO6OVWbJbTM5+2aeDsR/pOga/Fckf2KYFN/hxVsPBLJEvsJ7K003fQPHPPpOLxiknp9U7dEwyPywn/ZuFLe4lPcIFMv8QgoQc3OgNVlIrSD5KBrsL9/2vK3E3O+Uew8MFGiIbTPGAWYQ5W/B/JpvVuEjWbIP/NvIA6tlMG18P8Mq3uTvb13+ckfbYYt/3RL6yf7oBcikeW3ACchvAON5lhfolYK/a2bzNBZwpDEH5Dtist9u5/KtezcFs5Z7XJCdZGS8QKOvZreD57v1eslvCqqRyc+3qCXHmUMn2lbxXiO7UIdQgJi/2k4HtFUM9B1+8u4npfEQj2ZDvSiDn2lgGQaqK6HUxe5O3nFwIL1eSzuzPPGdyTn1ibhmQ17Fk0TbnPjJt2gU9ibuwW5ZLh32wMi9N+KcqIao7/dm7b8KJDLvuS3nMn4wDn8TrjyApUy/YXl4SOQCo09i9n0XmoqCcF70tsUA4xBPMwleo7a5md2bSPXUN4CJa5mAgaBl61BMMa7XA9dEMj2jUWPqUnpvjKsOfbjdhgSGhD81Dnmg11SypCkoV0iW5WCZmXS1rAf/iFImtDcWHM2UXEuHVChxp78YC2+UlvssbondO3bnorZ3kzWijtKDsp6RfDT3uv1JFQf1U9zyDCmbiNS2q28jYDF0Hi7yzZFDIlEGp7ewQvtsHtBFRm/VJ68Vx0OLvnSPhqkpoqAyoGJhzXojqKPPfqDzG3XkEtEqCMEhCa2xr4ODyycNITlpy75gv2aZQHM246FFG85yLXI6VuKME8sSCcUGdUgozofR7pZR8pHbXCF+X48qxdW+5oiowYRawuTxO4LIZEl573+Zp62FzIkebif0YUNgJJwpegppdWqrPIExJfyYnWxwHAgXz5pi4MwHcTE9I5A3gCKYPMv0j9QbBBcBrctmZ24fScE14nxjqeqknUR5VoMM7U45aA55EF3GzUGvw8mHGDIYxFt6PFELL1a5J+b4uU50vqmMw5DIJBiiw9hEna/i5+CiiwDmapHvT2LztKg5CrZ7DLTKRZawIHYLzECPx1McY7/jxyZS5pEygih/q5RX2QzehyuqxlhXTUX5rhAv5U8Dyal2626yuG1uE1IZ8d8vxGWUR0Iaf25+e56BzWRrN3v/mSuxw7O/wIjbsOjgoUMKvSCXDr+D7A8Un5L+yCj9/G1GBsNRiUmoktUfH4C+b/fBz3hP2EP4fZHqT5ZB2eMw1MawxJ1jrSci4rrS/G9kiXhqZAxBLlMPKdoviTHffbEb1vnZ1W2tJGt0xGU8QlH8yHrjyj1rjOU7KEFP4+TyBYw+/AXTgcum4nXsAuJF8XHKLUygFneAmViz0PbWlR5AuV++WQWepfgN4TpkWE/0idjly6PFQyHdGXdEbhTPLMDFukR4p6L3uLQbruSgE5zIZC4NFRNP2i68C4U8Xop//GWFPk0Y5muHwAmRi/hGvDls8y2wxrKUE3pLfhoeBpdOv7bG3k2gZj/wUlH5F2f6Qv3Cs3chK1DJa/uYdnwXIYrTSa5xWKG3jrjt7ZMNG9lPh+yelSXDXWH+WXjXsVWQRas0DLPzZm6o+4iED4T1W5B/wWMi/3vCFLMJLtakDy7/VZFpzEWswu1PvwRLfDt177IGjcXC79QRXfNIL4YIH4JuWvTvKc2X6ikx8oew6LTniR7nLwg/Crxu0RSa2AsbJ/O0FRclphL9RoyG3fm7rNyXmmy+F/8ZXfHDoLHrq1pqcslA8NpZW+xJwaKc5yBITioLIYkmulesSioP0JSCd9+tTBn2ux2+hIRpyKM7P3vTt3UNhssry3LWR5LG6xuk/j412eRYpPi5m9fZ1DSJjs57Uxb/bWZr/gsp0VOYdYk5jvZ2nahmGjXwiCe7kvqXbof1sDB5EcXvBbhR5zR8WFZepnisVV5vVXCzpuhNoPPhhdMaTsHShndTba0dKknPwVaNaLUNKI7UDnj13aZKC0+0/f0oqUiq65BNFrFjSnj0bPOP6ytwUnZ+pvsAA5Q5GL39B1ULb+n8Er1hmvCGVDxBQp0qr5V2tP1ghPuXGZlRT6ArYoNJRaiaXB+gOu6VxyUiKLXwTd5Le6qkjVSnAWumbqil7sv0ZXG4sJ/EqIRPmDs226y39P+7LQ7067SoaBCgIxk6kZQg2RxoGbuXdtEZCQCOIfbdM8ddTxSPR5h4NKBv9bAwVaahTiUZ1wlOtRqG8v33hNT/KJ6BY8Jxp12ICY7/6SvbquL0+yn3rHO2mcS5cMbvBTTFCDvvyXfgCwn8hJWe5B6C3yJG0J6dIEwizC8ASuhiDvc2UVDHbjYK76imM43pHJt+2sN1x9Axy+taikhUogVEts4tx4QPlJV0u0ryf74HGvPuIP/mqCZD2Ii+HfJZztAHxjhghQsO3R9XNfRiS+MiiYLIMu/8/BZH753e5v0gEX9zC15ME0+TyZl0fjz/P6vXGBTqKhHoB09nB8yudI+ZE2bSaNBfbDPpeiYv/+WDBEZR5izWMtKdtec2yie2DPnJIhIYFnIfuJNtoVm3Ly942WOZjBy/Hp7TIGaii7nuo01I80h0wyBmeKVTS3UlW1H+yDxgoEmXpgXc4cWGox9UhPY5q2s//Ly2cKTogHeCFYkQhEGCOnqzjueQYcDEWPfFyx+ii/uwZQa//bgi6YyF26SsNwJvwA9aQxzNlK8gY+f6gze6HrRLqwnAvrYk7vMf7fwkyKFUXpi19VOTWH2ZVeP6zQHTmvucA4XDHWbHUZ2DFXvsG0MIBbr7PjNTLdbms6qLKxCd//ybqo5q+Wti1kLJcLMDfMb1vfQc6bbmBVbXK/vuCor1Yo2tpffMUBKXazaQ3Glga9NwZRfU/DXPQjowMpOmjbse5++GHOS1BHPH7cKgMKAupKNE1bqMYvZk+zqMk8j3lLcLRhQ9TpOoKdaJbh5uftV6nWpdKlHytqwMfS3CTtz4esQYX6ASWph7WDsF3hvs6pdZyK62ftC/13mMQCJRI6SKg101tNIk9SEzfR00JmLrGmVUx9dClEqnY9aiUgHUeVKYPG1qvl+F6B+2klXHheFYw4/6SiAp9plWtyS5Ps4uOuhLFyMv8dAwUW3QiNJ/1nsQ1KZZHnu1KGo0gD9HRW5qlFaSd4QEiiMDJm19APAvJMuD6VpoX+rJ7IyF8bi/IFyWAxDxSSAOTIE8HyJRdSsXebAyVp4wODMOgis+lH4yYBhd7fvER/9E0Rl5f4L3YXecFNoF7Q9qRkqPBSCf7iP5xX1EE/laKKCH6rQYn1mMz7R2B8Bx7EcxYt+6xivkTVeKw8xQG73+n+8nYaWtZvK8Y2St0+ExFcv6r9jQFL1BuuThXtrrkQpSauZP+nWmTU71ucLsN2x6o72Dq12d2GASYYeW6cc7Qktn4LVqHUtOBuJ/Ms/shb2GCsDZX3aGsGxEAO9Nzwi8TTOoZz22yFsLsgDC+Fl3INwF5pPyPdD+BMQnrm9FYoTTn+cJGUYmHSZyqOmKBLa7rQJw4aq7g+p3kRim3Y/ySjbj1LhfakfD+GYHcZ/cJUgGwfLeXpGYmWrByA0iFZi0oERlymDLY4RTWh81TJgrYNwo4npDrzkmsqutrSpwGUaGHCG7nyt14INgXTMJpT2yMb0uCvjT7mx4hWUIfcXOoHJ/8qUGoR7QBQJmw4v0Gj95CboI2b+zbi8+uFBwzN5CvMuCixJwaBhRxK5eWL5M6lxBCp7cntDzPKx6EOIp/d46XcF2R72DBKDiERVmMtODuLtVXkPzvPE7SVKhYQTiAJLZh7Ps/2DcCtxzrA8jp70H+wynqRYEFzHC2aDb21eWaD/fdYY2d9rZ5msLRnR7vSS88Pk8kiuEUp/R450+Qfkzwr0Xq+m4OTYTQag/9XWYZLZ/nQjuhZUpBrtZkX8jMtO34HbmNE3fY8Pt/kK5LyIDYfJciN/22WLxkrj0UqY+jIqPFCYWyezjD8IjYBRTiZIAFV9UdTxql/QzXoxhl+Q1hiN7jNixBlYMUFh4EJ6Z6dBvDQQTw5s8fPnpyi27DQAL22KndSpA1H3jyV1MzhXSJlnGNnUZq/NQiea8J9oNRsO+R4b6L2s6RCc9aqrjHkdHCad4AaH8xAzfj+tmW4p57m847AJ6CZtRJR/mzsqsNXNDwG5YmmBTdMkNbFeI3suNSu/iXgttMonYD6V3nOk76SCW0M9AIJfd0Ylyf/NWKajVWrXFvAmx70HleOWGhgVTQEfRZFd+yBw1wvESAtjhnhyaCuEC9KjQyAWWmq5ucBWDDn36bneD5MgtqjkuvCB8DwOxRPSJFJI9lJph2z7h2/LF31a+GHKUCBw44h1+yz05RFDzX73Gdg0xQPRGvXeSmGhtl5RXdiTZKHQVsdy5KVuQj/S1ty5bfCYZm5LEG1Rt/6vmC1YpdGtwm70WxJMvxehRjQAScBau6OrCNQVQSsVZlk561V0xnKYRAaYeucEnx+Vi1AE7Piui2AGnJLNkoJJO3Qiwom/UMdceWPH+5TzBLDkCPbfjlw0DydWS3+rihLg8SM0XOn1m060+L3yEOgS70fi2THesm1HuIB0dfbpQtx3PCTGTArbgWH7bxp4V0B0kzWusjJMUY5zQeliqnth7hf+I5RKSPQMosLF++ZVrzet/HGMADmE89Nr4HnuvYWHVEdX2PpmSU59gOKMwiX//84E6Xjl5C9d37usClX2AKSEnXLas2oxpQ4M3URkug26fs/0CC9NEQB5TQ2od5IUlK3WNFhSvr/IDhqJIGKvZIcVLpo6L1OvXBJTov0njbTaLpl/Ge/bNhX1wvpxlrMAnurbC2Ik7g5D0O274u6iK9zNwoAGRXHJrjoWxVw8TbVF7BjMd2Hg8YScGikiTVDKoW50UASUuUDPDC8KTq1CFFeukyQHxRPYIm/VytDNyJvB4m7QMeqyCl7Jh3ctMtjh9gBLyKh2ZSISfgfGnCUu4pI3RKegKwLWtTUpWsCXMaqvxlPKy5nAvpIizQ8cciyj0UhlxT3b1Lr6C3x6+Cusky6DS4dvntip2r6FAEbVObXzyCOapoPvqMBiIhYGXmqWZXpaTtvxNqJqUobi342dzzwW1GKRxEM32Ig6m6HHmpCXD5soI/3LRHXqgE7MOqUJH255Kf7FZxsl6IJFI73ra2bDkg79CNCxmcXynAZiq5gkJr+kfQbhNKnpB5f+TM7Bspwca1aKNIoygVSMg0jKnx08+LIxLpWBmOztnfVFh30BK27HsKdFWxaZZQpE1200NWglB9SDk/6vjRixOAI113KuS0KpYGUCRJWHQxDLHAQQh5gPJwR8XcMNYqerLir+0DymllWLRiforqR9lGTtWYFxbB0Iwr8VMuzr3wTiZGlcusiFQnEB8XW9y2327D+mj0l9adTek/1EbbQVxBXaLFWdj4Jmb7YMMzEG6RraFzM+Ew+gTgePVjPx09QZEdadjK8zXIM90VYEy8PYvw1FuQQ7Q67stGjuMXcNNpmqhxb8Dibs4oJ5D9Co3qNzBohBXQPC26YyOuCyNi+vJ2CysLHxbP8HPx17F/fgeMqZpd70w8/33IMj3xax2l+gNlbG9mPQ5yLeTolwPWH0K87wjYKfX/RAa1Grvb1YQvFSMaUqHibW1NOtU75OA5sGhXOZW6PoFhxKo8szEJ58mCMihgCq9GTZLzk7fjDv3hoL9518rikn8NspAA2nG1cqcpSX3GKim+jWVoiF9uK77w8o9Wg1u49WMbZpBb1IfyP6odogVPXtN6QwpppCGyYm7k/wzdRhRSZVWhp2SkajapIqeJ2OuzZThF4f9mEuta2AqkiLMLbtBldfm70yaBPWFl+VmuvRAl7K5ZYPmqPhxQsgaL0MgX7RuwEDo9f9goRne5+4XhiUVifJDXshRDD0WaieK6QBJhXBtQxtY0eysIrDocjjzNOq6j62ZyEUimEfhI3/kDy05wSJAnj33zLopLYP8feHUFijB92WNCbRCX6x5YjPMpfs4MQT/UeDEeQwkC5L1egxpSSdqOZSoyDnzQ1Lw2iVE2HUP7QE8Y+LwZPGyGPdX06bs6eQU+yujKSfOeSxhDQs5GflTx1DokOoFcPI4tslLWcgOz9X/bqsiP49weXeW9aLr2rsOUEvd0ztej4eMsM5jDN4SvupWWJfZpdgHmHS2oGg5U+2OlF0l7UUE5rDy+oVMDVlRnv0gua3A0QzUzBAl8SQsxd+dXyRKehz3fo8S0vnYHMRpC02WLob2evYMxOWNeV32C9EtAgZQl2/LRkomOPVcsRlbfIE0t87+pgBxgGokeevrzzVFPyw4CYBb68TlLpRM+8gOU0AZ8fn8OidF5SDFhceO8PY3BqjQWLXE3RYuEb3tCSyV1XhwrqTPapQ3DLCI3A2q7kiXf+M+EprZxs8ygbRn+FxXPzkcR3FD+WjZbNtRlE8KW3ItQi3ohcvqgzANGpWjHMpw4Uo4b050fDKDZ/8ENDve4QhN6/sDlTjzDeFta5CYnKAqe8KlMqLif/19X5qd3HehlXo60ItdB8sdGqEvXuGfj2wtegag1wXldtW1Onkiq7MCVeJV2CEWkWZzynh9WA3PQHQeW0UGVwsZh3cMUMZbpDOCi7In+bAIQ+hKI9GOZ6e+AbYf4sloZP1CoKttRqB2OI/qQeEZ6mksJjLNr3X5aJ86BHuZd4lhDr/4O+dvA5alYgoAAk7ElUNM5jnnu6NRxMbYsSyZrHSkvnClc/QJO0QyW4YFZ6YPU+383cQ6qEofmM+DO8bZ6K1JacxrUgc38mBpdUSpaZVi9YszVMV1b2hAKTCQhz0bW3lYxn4S+3EvrZ7C9lVcqtXAE+I/GUvgFIrAJd7+o0DDNtsXRExmU8why4efctwAKErPV24h5p237H3EHgQYcmqowGQTYWI3SE0mx6JeLkVYWzpTJ9iVKajbCv7NCNdXJzbjaEaRdk4Ad1cpOKpVQQT4wDeoIVik0PecV2dszm/DUl2lniHe9XPLhEdsaUuLZZXjLUuur/Ns4xn4jiiC93JaSaRlwqikD4RKlffiLurZdURg4an6L857tuTxMGROPOoWk8PwGk0q2pvK6xe1aGhGyL8Lb6H80pRZ9/zkHdw7hxtGPOR0JXvOOhEjsMaDfbJajT0VW93DrFbxZHS+oKtwCdgQ62hSm35Awftcm9qrJK91hKh9Oc9SSZdnaQymguHO4WcnXmLtGouG/iur2Ez6OFmEFzEfi9DUN5erRVjAx+6NblhwXH2trMt+KgIk6bV15qAJDo4TwovfVB+dxfzN07c4887Nrch9gt8lyWL5XPNlGrP0mxUJLANqMykW8YtlWefON0SRI7T0rzhUN/6NwqGUd1b5+j2qxpXSlkX5lwImDzomg+hXW3Luga0Jz09UkMyQe6EMi5RQv/NnGsZCa6FW6tzbNGTiAZWF+7yi/zYX/cd1kMCzrOZOfsxNM0fe2LJgbAefMmmQvj9w6JMGeLIOyVMcsv0YM2/nj4XhrllenxLMGzTL9+qzlMlktNFjXm9o4yyTn9Rfdd9cG+zhMNKwuqxLUdw8x0Ofn7BduSs8ENMnOWZbaMoAiM2PTGGFvUJFwFg1VI58rdyCv4BS26jxeWgqCnFSj5hCJtJsuPe+/3Vikt/GMqiz1227tKeIM1Pen44M459k1th6GYkntxPDHexP0f0gdDWq2iQG4kFc156UV3QGKA7lt1xrfmWuqnLPjAUFOoz78LUkL9f/0hxPRw6/Wbud/B3S2+yZ074sPG1AgJet6k/JJrVkz+tAdxsvlZ75VVwGdddfk5S4RaEq9OP9njmHFrupXCiKud2zqJwW03UASk6qhvfKNqxOAdGrLsF9CydaqRMmNu6X2WSTz3w5dNe+Pyt8aGqEzoCvL9uI1IymTrmlFn4YoYAhsNi5BQLWhKjJdoDcaZ6Sy0mFUlXj1sj03QFKlFgo/+tREhKp3prSZgEqgPQrUArSVM4JIKbbio5T6OX0J0HkUaDvseZ+lwZAhc+wNMZLy+Ph/zTxQxdhKcvva3sjYW4ZLuvjw7mDLclsv8TO/3Qjg+BR3HkQxj/ePV0b+M42XPIEsFIg9Ygfgma5qFFJd818D+2pB86tWXCNVro4J3tV3C0C3T9DDrZuYFzccE9h8ACnWfSPff76GL93loANYNbSa9tcqMlmwuCd6dAexDr00kW0IiR1TnV82QnAdPObA8h1iKzVkSF3LimzT3p14pSWL3wr0MH+zlOpfAOUAo5HsIhO8qS8Q1CFkO0ZyBDm/qdDGooLY5ltW+O95ivJMANx6+HtQRIguRCjixyqB1RLk9kR1tY6u4lZ3qTqWepumH//xpVKy1MqeCGgvEBOMU2ae6yOvtG656UvaDog09r4wsIttaQk5OpISFi3Bc/OoVqo06oqaCsS5+nPvS4QFaUOPSLweMT5zQd1g9plldc1PLV46e7L0adFM7AVOO4cEm/9EM8ztXyO1tXk5k/ozioAUqBvLTYgLI2NDLfvUuO5KGx/QDPwZh5iIjB41EJBg9UuUpU265ngB9wvogooPL7qSewrO6HrzyG0gGb/AIG30Q73o+mG+x/zL9xDMQOnoc0WpyZ9QMk4GEADODyK9/VAlE82KWMKRNsWy4s6goZ2lyaJ0VgBv2XJIrg7udz10sjo67aV7mgGexu4YWtz+cVDhZR7MYmXSPI9JH8XCRZtVmezYIbWCBJEwo9pUKxt3KxHizP7wwaWOyPpdS7xtJgS+OhuHWD/RgUtokd19vpRjKD3HxtRYioOS3BkYbTSnyCIwf8Nj5OmGEEzimlaymRflvr1m8vNF9uIOF8k267OhppJx40lC/efl8VrpKc2NIecCZMOpTAgWTvgtR07AJIbRni/7mfnvh/tMb3BHA2UB+YdpuDCjkBqJkIZE87CnPSnbGMRurka75Ihu5KfZrnPbuGkZk1dG8vsDmuQGD3P/suG1BOQHE6TN77ziujarFnOyMl9mvXxg9bVvB8hFytdLZYem/gzOnCSlgQJQ9NVn5JoJ6nBQ5v9PJlAJz7PVWbfIsf+LX9f2cQZewcqgNwIAwDDNlRoae0yyR7fL30luyKqf9wDlM5QuygNTDES/u/HbL68LNshftxurci4rYtzaknla+aTEt1VZ+5fJA8Y66/8pMj3rIVRibKiQHAjyVxrXbcel4Fe8CteVm3g1/JC8YzkoxLArI9OMi6uFhlHNwz5FpF1Ksp8gG/6RMGLAyvxznUzAcuAvYSudPu8Dej7ujUMW+oT10Dhg/xB07xeZyeu5QQRy0twSBAulp6amy7Dq6j9GSU5QCXbyyUN1qyv+1BnneccfmkXmiFSiiDK9PknpCdUB6gqq84AcrfjHcL/qzfbOynPnuAZSZNuACec5ISibiYs7c9bk3tBO2TGKEy0Wj7bqGDaIeJ12S+ltA9QhoymuElGThHF/VIVKhvw0BCRUJCHRU7peRt8NJFPFBToUPpxdposAQ4U/yethO/S5GIi+YkwA9g25vKnK0Lhk0inBn9Y3wC15kg5/ejXxFKJtO/vpzJwyVYRm6Z4g4GOmpF4enP4VtVRlV1+iLAseauLQzFMZvhn9lcdar4RuM2/5uMLtkUNCQqhEeARE3ERXvGzjbmTAhY0XQxEiz96H2svvte9wvDiVhVs1yUjHOvvRGM8J1UwJmwmu2QG2KpNmOZl5z6oOvEoxlGotNE+aySpe9619Mq0YCNlOugNaeVaTDTXzRMnnLQVn+T2uyA0/naL39Zo5wB5/9yvKpXcAdtZ4KrLLendnrsNnGU7UpcmbfE5N4ZPOrb1YaZ27mTyras5XcShDq98GE/SF31VM6UDeW2TWVya3PXzGVFox1EDmI7cLDamEVc8iJt1uSHVHbQQMYmlo+9Yg6y9WAUqx4YdAVnFVx7yQ2slb2jSMI3hi+s/3gw5P3VVQLL6uO9PlbKJzcaC3nBf7nq+v5EJ+WiX3NH05EkP40ICCLuP+lH4X1+Omuk1XwsWdH7bHGcn37Kv0o1p+fvEW4aYaHCqczDGXkppvsMGy11qgIOisSnM4xqdleVDXCktQ87hzbR2Dj2P6zRKNjQU+AiWFq/CzPE/jew9w8Fz0+jOkuiOturlyvn7qwpB8kPWaWt0EpTWliCcRWlIg+RoEMCUXaJLShfX8twWZhpGFQuOTQKXpfHqXM8Jts6TT26oTjYTWmNKWTnbmMMs7BeBs94bKWdzn5nEdM3urFWTZV7bR/CM6/eFgH7yLkiOq0sSxPK8Zu1JkMl0C6SDF6n5BH3QT/7oKkTTPWRdjEsFBGwXwOE6ttR3vS5gdwKaJ/V26kzXE/mZu/sdI8fst1srfi0CcvRb3Yi1lUpgml6Mdl4LZ5LfVdr7E76qojr0a9UYEPrRWxpz7BNzu2b4wTKcPkK/fZpROmOaamwelWBPWYLX2PdnKFlcYLlnKPQQX13B3UruPxtgw9pkbNqCqo71QWc4miPe8TUZbCGHgBXTNT6Nhn8a5jx67qMpG54k39ODN4ff1HgbFjdCdR4y6NU6pg5CZRW8DxeFTUB8LvS2ggmXpcMNGS3bji8CfnvIPEMdULnfeo6FvK8V8g/e/kN90ZpkItXx3zxSpjKs/sSozBU0gr+U2hA8cwGerXun38OLOihLyvCyo1x0uuqokICA+vbRV19xeMN+SFQX15xsfthGCOCSrOc+9nj8fpDp85M3wouinyFlKhQcgp0REV4FM7YSLcIpowRTNUguAQpGMoE7lrHqRtX1mUqXujlzgcQLK9zqVXNmiS1oJWf+PeCjVjdHPcSu+zn2J1AEl7+mAxQ40IqcCWe1I4QKP/E1NxCaZO/jdBMOBkGnZuj09foIgk78gj4MuQX8e3JKcu74eW5Na9EbZHZQGS8aXx/C5/KKuuGO8pSRxVe67CDH/RKT+qgmMRAOfM+Ywv88JfPmFwpsif5eLETsjD1JlPojF6RsKm3bRphKuGbH2E2TdIfkmHX6/TH9VTOQc1ROsSZZRDhWH/FQOzNTPxAE12ciLPDmfAjMc45SHdUp+9BbwHxoGjZwhMwrZyPn0fQx//PivbV6YRxC5bEU7an/AaztB9EWX57ISEDmb4tuUs63Z1GIsHawEW+9FxBZHqXMStDIA5a9xzxpd4lpnoSH+pJqQIRWJfwEtaIoHxo16OxD75HHwl65FA45IHX2ZbQg8fxKPL6svrI8iAC+KqqqHMvqVLG99SytZXKubPCKHYmhDuKcu+exsiLcxE5oFwPrIF3aiy1NfkmWfrh48D92fhKboa03zsWm0zi3sPdCnts0jpWARHrWQra/kHFth6L6OxyLqXwg3AyUIu7PqOFFL/IwieztGgeyk7uT90RKQ+ZFhb8XAD+fDR3sFNnYPkR3IhJGh0wKGrxobJeOa6BKvqQTyIn1CDH3NmSKvOsK/dy0QWC+cvDw2ayjwbGj5TTMJ0cXtFN8sWmVMnAXJ37/K3fwRrGYkIwK5MajvZj0gCLvYhx7PRbGMhY5XsK4oaiMP/wRGP4yxCV27fiqxPFKyTzcQBRwcdgMgtndfAkzilOO6hqNIwzG2WG9rlIfPtB1yfoDT1CBfzqbX8eD8NdztRob0vbVN5tVrap2FBBW3zokTbXomVkxZuwVLfG72sl6I8FL2XURJPWwi8ikD+M7CjpXlCQHSdTafrSsu641Dy3A6nKykFwu0mRmKAfe1b4KZx4UUo3M7tXp2WAELm9l43dEre68ycNge6zTobz6Q9/iZxySs1Ytery9wuxB0xzAcXEiPK4WCK2VqwC8BC8pxqLBH2uvPkvNRJuCWWXiJ0QJpJ+meq9EjymYKoMRwaAq1yc/wfydpW7LcLQkYn4sjlN8hnPPzpkqOrR8VDznrXf7+8L2AdlIJbxnJjO1aPoiqp7XutxJwzlioVHIxpXTbxeyABInmI8uK8O6N+TZwQgHLkJ0fP/Ku9cGluV+qJzPlpgP4z+WQBZKDTJ98fDsymBmL5grtZX/w6vDsLGpK1KhAA+zdAMwlEUT4bV1Q1tfDj/HU188sAKgPnN/MJ9aWvrgQXD1XH5A6Ix0LKFwjMfSKR8WCJ1UpqDBzAtwR9zpDSySWImKJ9c34dIRfXpQxyIP2/kqA8CxsOAemXxw+YzHCN3FxUJ79dLxzHc+9TNdjBkjihRivsAZLkEMyI7T1cL0UtN8r2fCrj1VMQDw/2YRdhyFSPR5pXUar5rPyM9BYWpYmuKC4fbu1cDYbVv8O2gLGRE0AFZmHc9qn9282sO8ZJNGZep+1MQjNWLM8Q2pKv6mx9LVS/iPM5C/kcmdYKZ1CvHO1e2m7MFNt/m0wh1bNqORuxzEPE9pEbYo3Z8Gp5Cs+zAUJ6u4knmP1LnXqriNrFa7NY3TlunLeIar96i+RDP9jiH9qV4s6fQLTRvL22EArgyXzpfjojKWcvPu/GhkcQbxXW4YH9l1QIptv3AlcB78UnJGdB4/O4HhEu72ffVB/dHwheQvW1so5aEOFyiOz8gLs21D8jAzrGayBhnedn4EV8BkwfwMFgD2RIuHo1ngLrPPYUFAAlW7jh32FVuBkMQLHv4B2zmYkD6OSKJrgVzrKSK91iO7M3aWYHxxlznaX2xcdUUET1N9nOdF5rjBogEhZxLczFks6Pbn3O6dMy3bpejVrQVxuNmXBH3u40Mid8RsZsoQJaxKZUdlnM6iF9xOIlUN2aiLd1J0b5qgCZxZu3sX4V9uZXJs8y+1g/lWoQ0SK0LDpJ1gFeFok6FJb1orT2xgckab+wJDjxW9+M+elLiEuskx0DSUqbhh7pefRkSxpxvVM5/NcBCCspeVAyj5bxkinRI+/8E4nsuYYZSVM3gQpCgcBEm+KvPcXxyai3FEwntNctdcWVDEWIVrp0DYODhhPl2v6ndJuQwkXOovmvJQHQJIlP2PYklC0mPiXdXlsPp9ubVHYxRqZArzsIeKP1MuXxzyRBiAByJZXSXrovrsSq7muhGPfcq2k4mZrhM6jV9vWDespjF54c1f+PVdf9L7Hj59RnYOA7X00aFe3y+oGXUpAtQLuDfDs5+GICxyWSxGADxzZtjCm699PPvPwJCcXVTzWRvQ5dzV9MdcmI0XEjjH7YfvJpz6H+VCokDJFVhQwPdjDk358GQUr4IG75xQb3+4o6Z4RnwVHCsz4i7+mMUsblKXXnml1Ylk3fmbfHP8Yss3gFKwKG7V2PS/ddQtXjTpSoX3yCtTsyzDBwURW2z46RvcXAw0nGklhmjor3eBAGz9l741wMqs3220QJCLZzclOLgbYfWo38Byz7BXajgF76sAvHFlgwxeZl3qxVPFaRK6uGsHfHHJoK5nVHWGOm6oE2vfQAsRHGHyYu29zM/qjnJBFG+9UQk7cgrCVudJteOS4R+Z8hHipy1xYVFKuWOMWc15heuIMHS8DHKYchOt262QkIV3RGTzUmx58iVCvAB8VoVkqD4nA64vm1a2ANyHjgyJP0HKDAZ/2pd/D5lqDbSdR+M+8tzn5fivx6PBMiVo+Y/ywV4TH+/i5EL4NwBlB/pIZ4VCsPInd+go177AXy1rtPU3toyaYKNHUTAFfkARWFRTaqRNqNG2pMuB+P1bPkfKrH++HJh3s2hDa3qP3X7Dww8dgOs5DtV+hDFFvyxv8gXI9dB3Z8D263yk8epQhX4OJx3sgGsmckz4zNobhqPyGpPJJtKIYQEszUSbHWaGGE6nxMgUl6ngM+wdi146/EwmACtDlyXZTq2TN9fuP/tCOu+/1yI+kJBX2rYmJT4cC30I3Ug14NBQ4cQQYVOo1YeM33lKuKljvkFHaDTd8OVKidI+1ymSadtcOE/PwfCcGdskIGzc1oNlM3McheFRQSQL0D40hL+2I4ig9k5AYYM6cqZf1rCzpZsVK2wQsSv1oirzBi//aBxtXURjtoeJebaZUo0wPI8rJ5ZKRTKSMfWvk25c5dOYFkf/7FmKcjelrbyd3L6XapnV1K+IksKxLPlLcTaoZboZFTa5pS1pzJ5myjX4Juv95jKSqeHm3v4Ah5TmWeZCP51mfvySqrnBEhE8/lCbuJDMjUQfLhRZcG890jnifd8cFEIT5rJ/QW7sI9O6vtCVjwyjqjst3H9a4WAZBQdHUJwWuTqPRuEH3XsTkvMn0BuveImanpSyTlWbDPRkY/C6wjMbjOedyB6CbEIS1pE4GbsTJ2NELOUoRGShkwE2nP6Pp0PyvcNM+lAKRDFw9bgePJ2326NtmmqOYqp6sRuWELOI8WWrdcNcgKld0/ZtS12fkfPv/gPtyaeMaTb59XjmqGCJBRsHazspYbNYB4FTEShwYY1dLRp8+zuU+4pXFM0FVjN6iRUU+5jYb+0QnPfQ7f3Mjkekxjk2Ixjigb1PCYC+yYbiwFwBQSPE3jCj7xU6x/OBeAYZxzNcaxFg3DBr7RnZFeEeaBzyApm7uCbWRGVXUFYWduitnzKEufxNc2evxeHgixguwGmTXPRUpKW3DkvzSt95pbiPFpB2fZNrPvTnCHC6alC+donQ/9Fs24ry0gHM6fl+RmE0A7fuUSY6BDk86BoR5FzTWvYhixjotOMxaLcIIJ48CYcSzQTDLi6A7IKTL34x/gGp8suow1+pdLWUc1c5WxaexJAJF2loJQIbD9wkFCR/R251LRL3RxBBJI9HuvkjMnF/DG+VSysB+4X3CHG5TR/TTnL1//OEL9GISkcRhMxmLiLsLzjLDHhTRGIqBMj/cDI0A7xGznyInC+x8k8zs3COt0exgovkYqz95tir2JNB2uWCX+A9OrVTtzSTthhPGJjJFY4m0SY6sKXdiCZsckxb8M7Lybloot6m1L3PxT1ele9CIvzo+V/hWE5Zl1ju6pxwR5zLKSIlxJ8YYOyEc8uHPmjCXpGlx6bVPBnJ1SiiUDc5PGS1j5oSJwZV8RcJRYKC1ij8L49Bs5i6a0k1GFFOkjRWfjEvL80I7u40FnVABgpo+mp6ES82MB6YXY94+MSi2X+nBHfXbA2N0pIJklnWjJg2WJLffLF8iM0EvI/wsY6vpeAOiTtVe9AUV610KvG0lZEnGqNlUFQ5hZDSvXWWLByuMujRC3z3sktPDPW5nmqaZ+ICyZ6tRk6di+u4kwQr83WGgGz0jx1tYu5oXv3akJllhDLBAwgdHl9cAZbNoPssZsDlNHzLkzcFna8PWDk57XfNrSnCDclzwAEkKaWLAJAOi7H7uU3Gu+D3NHdCW7wamBZs96atMrhP9WGc6lNnNJfkACjf+u2f6CCt0vXnkSNLOcRlmUcv2eFdtTns7CpcfV+0C0Sn5icUITKZpLBgKcMenl/ePPBIC7VPYJpxSv0mkrqOy2uxBTssPaZM8zbunnSQKcdkw3/TuKmPcIo2YBmdyS910cd0m5MAPovxoICd3n3eSj5GjlmLvHe2XACs8dgQhazzdVYmp8Ipi5v3y50AVK0lo3c/dWzr4hON6nWH6ZPmgtRxWNqBTzjwt7faehJt/MCyR9HjtgLhWENGDY5/cCj4mh97Ec+0vDl00OpAyQ294m4nloVFWPHAS9icmXMYqjlgNMnOntm3cpyv1/rZSeLR1CRIoROLfHKL5SZmZ941IffJ1GYk09eQ11WaclzcsdNAwS8tK73AyN+0s/0MX5PGYiAJx49frAYXj+KzkjQVOYGF+RScW4sW1WTR78TkVERymGZ4Jv5aKfSV3KbQBjD6cTHFDCuq4XLDB4gGouZccwgvQYRdBRMh5IbUlsPutezixaEMpmUeqfW351mRczZ/HHYZClw1tstSKhMI9WGOAHv08p6Ub3OdZIBHr1WfXCHmfZQtDD967qT0xgWuxZzZj2OpyoDz0LVNZBFJ6pZhbioNzdNDT9rI9si6k5s157PoDTL8A0B7jSAUadGZSdOZzi9jg7bJTDATlCPbvOYybYocpA9Qy3HdZDVJYSbZxjg0kVZsYeFqmRSIpA2raPYFc/PCxKV7glV8lvUJ+j8yLrd3rB8P5hjvwsAd90dBGbbeEJM/eGLttwrhO2VIC7Y6hAODrXVRtmbRcq1EJIgtrMfWN5jme2kgUd1NW5HWxdn2GeA4+MHPVpkvdV3v1zCJveONVXsAjEXWJrOW2taAEnaRov0pPO641EUed8X1odZUXEaMatJ2VXnw7Lwg/ielkGItKewcsjOolN+Os188lpKJVYHW4GFvUxC1lyycLBnCclq0Jl3uTNrzix5jf08sYJ9s4TFpAURGPO4u8TvOHrJfQB7tr5QBxHHBwWCFOq1Y59Pfls/t2RSy3PsrDdSKvYWbd4kV/Fl07ZJkeEQIxOnDhS3jg0LPArRGBGXJS4XUn+DV+l9+T8J4sHVA8QeyDkrWKKKZzhTJU0swa6pifmm4sHMC30Ge0yDFIsn4l+g2WQJNnZvMsHG/bK+6mKhoW29eUUIYUmeWxtJ9p2Zbh37lYvDbpNM30PL4uROCWbhNwmgNr+6XHbe4jxGaHp6h3zOFqW2Y3BBDaEcCZXhgqxSV5OXXGw14CzNOM4QDOKZ7YycRgQcL8h5fmo0dNiX56auKeCJDVi5aj9yuLdGi0qwPXmQk/yRyTYpW0rGDVhYzeBJ/Pdv+ud72vWzy8u1w/vX5heNxHj4o91IYi6aZlRz55qoDfkr54qjUyvmnZMHBZc+4iZLLlpZhR4Dxo5vfTqEcF0feHTpth/ZvgiuNjcQ+Pf52SSWmTItCIZIoSxPAxKOt2p4yeWQFPeWgswmot7MWZqg8roD/iN/9EH7z5XVzoCB618i2ojGMJx1T4lX/iwU7FbMNVuJ0iElH90QAhdz8ZHIZpILSK5hKVdmZKY5aA2/qCey0vMfTyUuCcUpmNWsnnNEcVxrvpOk2/oGgWsCgTDZ5z8xvjUkPB5Fp/q7N0/OTA5z5Qb3hYm8hCUqkOBNfgRKWF+u+XjQm6tuOuSIQSYjBGAa/r8NJaZNCtnIQu9jsnJDQWv8M7CA0WgBCavCzG2qGv6BQQ02htKXFNaYiF4Z7EkDnTrxyT+VzLnhvhEnRRMTugRc8nxfPs/o0Z9mDXfc15VuAT6qZhUzKFqQsLFvNy6GwSPg5QiwaKCOLifhDqjjVqlpDudGH+GCrE62wNlZv7qb5khofbABrTpcR8DY4UtSm+NRhphJa3XjYdDusFSih65s+KPwfqaBkx8iVXUyipRZyu12UzJ+qp7AwASdwIF8CksP+QTr4l0oq+2co/ukTjeuaU9cf+YbSFNAF95kjDXAStHGrVaQU6z9F4d6CTHh4FZHRBxgz9J7USqgRRre/tTALOw9pTmgg3G6qIQFz9LdgfZ/sLOAhkLD15nxtqRRbDuAuVWBobXch/uZVqoyHybtElTmifEoQj8sE2ONH9uPiom+0sRPS8fZtWvyyqEX8o0oeWX/Hm1JQJa4jJTpFQAcui8t3O3hmvYLvSUSIhhfUXOJgyUaeH17beVjAEI9GdojM7cbScoDZR1heaeYmlvga3d65N7GxT+fgvz5jTNVPQWfvxy2MTfhz2H/UWYNKW65oBoADzHL1cvVlBDhyoId3N+ZsFUsPivin495Y1W/iQTld6m7ne+vB/ULd7ee5EnimA9proI18AQbvoh6DFoFtVlMYfyfyXdC7bwpBVNXnLkba6zNgV1/r9LMn8zN1nBvwJLH/82qqXOpBZbp6C+zMEvQkVdbkr2sDtOtoUWbDJF8HPeb28aisU9Z1zH0qz1VNlhGq3KWTGWmMvYBMF+xtJ1DPVsXaMahTLZQxDu2USYroauJADYT0zJe62KJ74Ay8Gu8BT/TVqzXhn+IXjTEDAzr1btL1gG2zKVCG9d+sfSGy9aQYZVrjkiN/t3qsTQq2+zCJYCfoXlQF6TNqPcu4Jq3/3PVDr0KWunS6ztkCjBtPC7+OJ/nivExV+2X/N12xASLxZPJ8+vxNMYwLrNoaV1WpH/vl8JiOTzkFU6jnSXr/ReV+qjYUk/pzikDxcoFGXnBa4ciOia5ZJwngd2RYkJgoR2UtPJnL1TSNZeoaTNQpXg01JEwdSpL9/KKWiGvxSOIlQA3RlPTR++G7hcQgfIPffpITxvOZKbpZgyUEHxT6TGHHIse0lMdD/iUM1rQFdYc7vTiuNbzfGGH0SKTb2lVacVPdatE9iLvR0Ab1MWCmiwurBK3BJ0OllBE2mqHhLn/neQ5UFV6d5Vrl1EX1Rif8RILqY1Tox99KkrFQigMLMMw8N/GYuLMpAQhwjyh1S/tMH+mcMUrGxNC1HQteMExrXgXOYcbQa+On6wPU513aw2WQySjoFUNHY76doFtrZ0AaX9G4SAfMkg2cvXmUKOqzIcYn671aZdwiFAnE2b/pTycyc4d1P0mq9bITzgxCVb1CWftLjadQcqG3Jwxj5HkjhcBX59n8l/Tf4l3nDFmQX7wL+eQ9OExGvJXT6S3sB8nR9ubTn9C9g+O9ND6qzeKGc7jhRss3KoRO0WJPHjKmVXWxCTzP+ED2y3cFPIwahkDUacLjeospJRWbg4MoPGTjFmlzAUsrIofzL1ObLZXIOrg7zc+B8yvKmFFZF2kDX3Q8QFZ8bLHFauoM/A/vKIawk3PKVdW8teOJd0IvUEWx/h2u/2aEpgyex3CVxKEoxs2vmu4xLjwF+xpq3sS+yuNfuQGayFE0xXoxXJh4DrVpQYyJkgEl6IA7bP1WCiMw5jhH2a8LgUEEVbLMaLvqYgIZqDCTwlzwkZOSwR6Xn62YKycip2VdRqw2788G9m8EGz0d0klAjnTNSTIph8h8AHKi78ad2UxU1TmjN4xfU9X2nSj5gjysyrGcEY5ynLV8ENNrHhzsfQRYhSmQ2fLgxmWC5WnH5LgVyzm3VB2MoyYy1Io8DmxAd7gSq1RVPFOYV5s21UBk21uyPxGZzNh7UohRhCUCE5l4M824D6+me0TAxj+6WM9Z7yEl1ywWXlWkWKDjU+lFtL/Cgh1/PSp9EhkRTI2tiokbnQMmKFV5jzVNRo6ift0IMu6gUAZuBXtyY1MgcDZcTZmOyxWON8IxgcizhyRpMe5Uvjls38rdMrvvpTFXiUsH27iRWvdG1Y9fP7DAbdxRoylLeyNvYjCFZZ6Xva5bxoQ9iIQXwSls4gYEl2Qc9AYVQErolVqb6U5fqEOUDQTVDJyqd1yl1rLe6q9VDRyynwfHDu5ILEi72eiqs6lhT7MwxYSZogorAicUDAsRCyuPPAQj4j1Yb3A65nEydutNeNeD48kwbkNzE89f6e6jdi+br/8pYukMaxNKMHdGDi++sblltLQQg/Q0pNylg43ov5oEtaYvqnONMl0UKxfUXmmyvRjEQ/YAmzk6x92vb0k6sFt3xlZCv1WeeXqh/lf9tcxsowSXZvyhJ0tnaJAaCxUiNjIsvErTY7HhQM0o5fp47QD/ekYhABo6Wuawpnn0Cb5IC82Y70i50ELcOgljYO73PvUQuy988U+lBQgDgGfdy44RynOzr27Y4RfSkSHEczqXWTt6W1fydLtAQQx6Iui8dxSr4UGj2x5ICFMc+hI9sbPI9zUxFYZQ9gnytMte53UAE8MoQmVk8qIPFP0W4eY/EAH9vQNDfNqe7efRLdZaAHe5RicqBuSbuigiF/9bTPuGuZREvjcBYQgiHNdco3/KJ7yOr/1GnGZ6qD3U3UvbUTHvM3+b15RdelTYyy2pTKjKZ7F0RFVvfZgrz+aHYEnZ+jhhO/+npXf+NA3obZwj+CIn/HecYzJ0I5OFmUdIP69eENjZ3b/ldzV1FGAFXbH72W6OO9KNuDXCo2i+dFj3tI3m2E0YSXB+Iaek0vQcQ8HT5P5ji0OaOZvzLYjh1kANW+rxafdDH6uZTL15oSxkcLQtbipQEu1WlptrQP5snpQyWNDEey41jmksUzqpPpvxYR9rnmFcmv8WyL7/ndOv/XbqfAQtwTqccGZfpJcJpfcU/UylfMIMXEueRJfYyUMyJTSBM5PDOUWHoPEZFYIdHcfJqlPZ8+Vj383gItix2/HlSV1nQU4X4/M2z33Ei+eV+iDh+52l9ktwQBWEkfKf3K8XL/k9rTLMOHaR2Gk88MaytPXC77bHniN3AXkDZ4t9zR6P3iWq2V8I4GGh8cXH0joMv5jR9gZWg9EQ4EsTfJKtVZSmi+fPmDv4CCYlQyRCtISZFC39AYnpTNob3Rr7MN+s1en9437mY1tNHAZDImg4KWFeg5afcZF5MOptWQs8mGEbdb1irXV5jDqdn57+cof6AJtKkyZ6EA3BxpQRHRqV27XDJ+8GED1lfcne8x/gnEq+pc9HNUSfny7l+7iRHjLOFO/HIpHOullLIh9T5+B7mEQO2+ZyLkjbuyufcwJFn1qoUzqmUiU2qmgKsXVicBCbdv57s8JCYj5TSsz0tf9N5pVCTRhyVh1FZxkBgW4Wx9/HNC2W2Kw3hcsznfSOwXOSiKbmXaVPNv4AvLtJPvrC8GqIm+Vj2RNQY0vYXCJdogMPJ3Q0NzE1DHzNhmcIEorhMF7OAnlRWJL4+532FFDo1tWh8+Tg2pFeMElYen+8W8lCAJsbiqmQws7ffvJsAivy2goFt3+7R5DJZ29fwu/t6o2Vtgw5ad5Teohh1SK7cWktbIt2/KMcH3bMuAtn99ZD1JY06zEk0LwucuPaDej73bV1/qTur1Ok6dDOqgyJLk9ErGs4UZ+5FKNHOHCXiWyLOU0KCHP248/Ek71xhLWPPdjWiz7w7yKFHH2fUM/52rZmqwX+DuJcaA1Hh0X1Ie9gusq3LJyZ9SjgkN2d86+C3B6ncKYXZWrCBfsYHpKLBLum5wilFxk0I//hWKmC2JqsqE0gNsIoKigVEB3JW+UAr16X/mUuqm4kw7tjwTCLzpjS+OCr4PmW8zig6mz5+fhcN8MUUKj9idfrXK0XJzA96ofiSVrE11bP+v/dqBVVYNXJSuQqFf0I/XSaWU5u/RU3t4bWD8FJw80FfZA+hTW15yehittc7RGp0O97NoUNC1Rcckmrn7BVS6CuR2rINB39OcRNz4P5wae1jOsuva47p0d4yDNl7ApRrrBskLaeaDi8fxlYvIvxTkWQW6kbjHV8LTIEMyMuLMYLYTJV3ljv7gfkXKFsGRe4laq1RjDXVbpF7nuGZCzW7vptnpHASvcW2Aa2fS6HZYJDi6MfpL+rZKRqev0lh7OH3u/onJu1dtxO21FBwuXWyM7FFUamjSuPkAMR1J6AWoJgWnrKAtx6kDHP1fdeax1lBuM5bFMD+YZbiaX8uwQGYJN/yzMsPXPUPuwnYzCApCDSvjDkDf47+PeYn0jeVsxgVV9dgTFyrl92CNnJ/Ms3HASSwUp0nVuecbYpOi4k7DqMPmOY9HkrebVKXxI1H4qOkCRoquQIO2+4ZdacasLdFX7m20lVxa1WeBLWr+B50a1zHccBxXFRYzW+gGsRvOLIJDUtXBzcdnKrQ/RXxD1IEfB9rPOfTgm9jBF73U1efXZP1WyjLAn3p45/8hM3ds1kupthh/L+3DMsJeOC9N7Wf25K/FCLO/CxPjYdk9Jcr7UzCeQV1ud/Te67L5CwN0adgQPnO5fCdbm6+ih/H3rmAMXJzRYzinuXk+osfxVwFmHWbgKcR/A0+H1MftFyse7Y8xLmw/fFXwPkL25pJbFiy5dl4UMCg3yI/qcnZZuZDeblZW1yu+58v4z1ik0r+FEwbmmVYDSOdiGpJTNBKHrpE0CghF3E6u09x3/OIEMwcJXc8jWoMYRxWC05h9gjWV7yPb02U0DymUrmHcXKyotCSWk8K45ww9KsxiU7hfDjJ36YJ4Mp4aKTiDr8rYhOIEMzX3uT0NmUt0uUVC5JCnJFd8tuyD/vTCD83HEKCoJcp4EF1bOBu51+OiWYIS6bvVZuvx6o/U3zftK4HwH79rf+Wx1qKgMIpMT+Caj2Dz+lS0eSaj5XfrXzPEao6/AH2njVRaQITi0PBSgumf8hGdFZNpY3+qpocNowCLTG+rU5JYwvoZO0klKxeEFMJRVdzjAuAZluG26WVgBR964bLADri/CdLOsa3N9gVo197418zpZWfP7OhTBIt1lfE98+mm9PGwmoL/+RoN5s/X1wAPL9+rVEscf1x7EkhV1vuc7snkg/NtOllVIvydWgIozIXpK8hJ8R8luxQwttdNRVhFmkhvcJLuQgbsmwLamFlS7gwSDFSyUF7zcx6duryWCg2UkEQky9K9AdokHFr4AFw1taVvEUNtrYieFe/CRALZKqkJoT342ya0OIEPRkc/boudwXsKsJnfM/9Vt2Yah3DrhtFR66SuwEUiEga0mvCr5OiohierWZOf4hKyaAkCjLmrIgrLN06bXQ+AJSLW32kK43ailft8TX1baGhYrUoc7reiX2FhSyZqlcWkloE/O/7ZfGBm2ZCxGO3ei1EspgMIPFDHTZkIO3TO2WPpypHjvx6irXPX80YvrhmRLky+4EYEfaLvFqTHCAvK0GhItTSbf+vJ8IucYJew0XwzDQ7ZN/O4S2hcRXjuXlXl+ocPU6HnKsKWMx9XeDjFE2alE26dtHyaxmRhbvdfRA0589d1/e1tYGG2g+4pFljsRN/kZGp9/p+z6NS+kRy1k5Im4Tkz0f1lUCnfN/GQzC/5vdnl/aucyKKQGHXOf7+UxSnBq4EqSnBivfQgOBrzT9eZt8iD528ZJOvJ3z/fLYth5hgKR4H/KUStiX3ZpeIuT2C6COv2oSL4QyH8HShFBLqeNELsz8odX4CGhotX4f+MY6oTF3DZCOCekrmdV2CZH+NCPw5eHTKFWpTYtRCHqUaMuuKCsk/HBHKRrt6NXF1JimCAEt7lGFH/MK5ElzwoehXqzn3rf4DxGNuggOEe9NJKm7aZm2ME00xRmRntCOkIcRZ6rbWiLzRkeN2TTJF2PcVpwGBtoTSfQwU/H34A15ZZrcvOv4YlQznW4yr8Y/M1/Njo3RxJQIGQp2hp/Bm1y4KrkKRrrRFPA4DDOtu7RUYopyV5COqfk/uWZmn5KAgm7z0GjN1gi99/ZT3bhmnKjBOyLTmOlOWxFUtgF1T7i3qvDZzHjmzf240BFVzCACY2c3m4zEZjmjNgoUxPuLJ5PY5JrjFnwfBmwhAhpoyteuVHHxOJC0Y5M4msZL3Y+50Iy31tgL4b7O7ymDJdFsmYNYLILuvRQocjqo4Eq6Wp3UBIQl3Acwm3Dr1ngbm7yRSEQZqE6ObF/P/6ocqgzI7MaGJRH278qQJ7286yIL71qSauh4mHQmD2o/JOYla48Le3zYx3VBgeoEJH8Y38so+YAz5VODZ+94/1U+w09F1zu8vOrlT3QC7K4DvsIRHPz/6331w6seCsEZRGb0ft1H3ScakdxPVzhxxU6rGJQGNYeteRdg2YYErBhS0fT6N2jmjlLh+YgLECerXQ14quBZGJvn5uCs6uUGpsJZ0bYouxOuwelWXr4HPUDMKmwRIr6rSbrdzlbtIZZoidOTgFxIaYt6bjq37sEMFxAeFJWjdnGpiByTaWVHFaV7zBqH8gzUC29naEIlP7Rd7iyb4zxxHVK6DhZR5diwciYZ417QfkNwTOBXk1qyXLkxqCk7aq3yJ6bbpdzzyEGF9NNvgY8WT1CZRYfvrXvR4rDu+dL+FBNV9/wntBLliYClgxGZoi0XPGfxOwEXcrSiIn1h/KS4nrCw25W0+5HmW8ZOXYtNoAsqaDXV8NuX3H8oduQOazfNWkyuUi+nCJOvHXGkCMOM38pnsQaIUM3S0T/ciOSfjqpl91xwXvn3VuuxsPExnTWuWZQbl+KW/Q6DhnuQHkP3zR40GS6jeBOq5T4kc0V1427+EBfXsMJxqCZIc9V8ratTp0M/rWnRV+B6QhzgB38eFqNeYK5XJyQlKFL2acxrmck0yP8q89JL4SaZz+jlP+f+z3LuUJu+lscibemIGb2iKcVmxzO1SHbVVQZENkJVt/xgo015MYYCmhLwpctOkifOoZ2zXLE4LSjTmOcEFSm6IXDrMlQJae/pnlnsQEA0Ikd4gp89QUNDK/ckybymcKUTFQKmy3zvCd+Yfl4MvU+9B11iM2O47YgyR+Th16sIRbDbbDt5K5W9JYaAusfTCZcObJfBk7RCGaHACKdPLzmcMpPolFwi7o32YXEzo+1B/1Fyqxw+RTKtJdzd42wQCqVdprhGyGZMP9P1nU7UaOuf5zbD7qEZv1h6531j2lTDvaqCchEw1KMkUCE90CBbWEK1lozuzxANUnvvz9XAZiXNBm72e++7cieP5hIu7lMn+Xw7lHDFXKN6KorJxvh7ra/vGxF66rbaTzcd1eDleZJZa/GOjH4gS9fJmQ77VOtZnup3W0kwTjT9QvHE9o/3kaPLvBLEtj9POiYSoF0uAFV6LSFBfOMtlMxPxRPW+JvqLJQY/WyAQmi9XNvgYPjwDu48VRYtnkAQ2ApDG3961Vg7+n59yZM6qGvwFIuS8TR33h/yfV5AjtjuhdXUXwJBjdMr3dhwHefosvVHtRAunKMnrqxhOOGO+Bxs/OAwMaiVI9NGsx6wfXn0+YotxUQe7whM0Bft8Xuy/KeUD43ELft5WnPK3i2nAe3Ov/8q+WAgXga7MPwiFZwg5gFB3onmphT5MND/1/tB9tEU4tRBdHcaQvK5eRhQh8UGVvFJ1Oha5X5wGVWQaqAHNja7QfKfU1R0qBgBP7GSS+Z5lNZJrF9rpVw13lMkA85eVF8766EXC0vU8G6i30Y6vpBAuBnU8FGciSDphOjYY8nR4mq3R8s/+siGHlwYEuzWCD/oXpllq2TZ379YxI8lUCDnJRoKWXSLpwrcHoMsZq/hk415BIjCNyzUnojOvap+/2SSOKNxNUvZGZjlmXLO/avnO8IPqKoFaow1zwWQO7FcgdDmIw/Bu5Cyzpa031Pcd4ztOD8HBcwiusTwpEndgPFqvEDPgCLgec4IDsJhro9hSkCMQ6PdmtrO6h51OJfSswRRhBFLlxPkr4C5jVmWKIROP+tkJEW7wcB+xl7vdvfFSziZPl1i/VYtXjnFjYYsgOCUyfi1/YADWRT3uSO0fCKjHLps1jzvHOcalgZl9xwxI9BwxaFKw3YSjxlLIXUfMkhHLqFiNpsqb6CqgNKsPrTIqHIu4EV45xwydLQZQHpEwPSpOuzbjWtpKJo6X8PYoWM5wrUtaabim2Svgwv0EDsLJXiSX72+oeT34LFDS7xtzmCMO3sqqQGR3ca6XxRO5gd9j4fDiZilrTVdJyvrjyOnGkzB85AGtu4ZYqyZM5wXPRX6KyQ7p83OIKFDbBtLv8JHLD1M7YhFIY0QepoJeeGoBRAaKo7DZT55g7pM0g4lQDaIx9L24Q7/oxB4NKVOIpcYOcrONleDwaXIjeaYZgFjnWMBa5/ukhhAEm17fJYX3LPIadF7iZk01NzuJz1++f68wCY/JLFioab5v1XIQI/UDHvbss7z/ilx/KFYz/h9sbfjAOY6N2q1vk4bGdVPwKV0G2P/p0MYIdkk8xRB+4SGm5Yf4Qafx7RLrTzjie7HkyH0pQFNU41XvJl7Jn+1X+pr/yyLWQt4jZW3V4PP07eudRDpSs5/sHjJKUupLZsnHubux1DJO/TRzW+zF1Vx26+1zrx3tab+UepOEhmghh/clZlw7nTsdD6eaalpxpwXbV5+oYmyPikuJNjbcCBKgsgYwXJNgxO3exEnieSv6anB/0e7RzlHKC0eeRa/7nT8hVOerAS4y+gZG8DXElf3XpQB/ZeaYdjrFF44Q+RKvT+s0sOaMcs52ML6ZWy/HYXJHph3g7qRt44vblSY5d/tpORIecNMYtz+J6deDQdVKFYo4qGt2lFdrCBKliCtgbCGU8o2rwPbBbcPCyVaXFvtmu5FFsCdpyg5mhujz0gPGzI0kx0Uj84quCMQiK/sGVKolk2uYHeKp3oUhcFO+dKsUB6qCJpZIFSWx85FdFPrW+64NbneKVPUghXWIolng8fTvSnQmTqlDDGp2z4r1HDw/cjLEgBGN+592nPAB2rUPcd9Td4Q3JUJ6lRY//GjluXGqXCl+00hKlnnAS0uxw0/V0WZyaRG9Xxb/jGfmX+g2GvYdEGlrAK/wcNmJ31oyuyabglleXF6UNozs7vgpHIgoazhdlOA+HpXuSiiMUzYFw88/GEzrc19eIirIGCPjfbj1RcZpKZN8ussLmQEZJntA3bIbnq2Rre0MjMqCAxwjiYXXYw22vDmpt8svxtRa7lqmhD3UVCZWmHatgHMT48/ZNfAiAAOnRpyO5btCpYArzbigNrmHuwKi70mtAo0AYUT4EfPMGkAfJ1VazSmhwVuRxOO//TbaXjfslYskx7gFWePWne5iQ7RUQnTbOYylw8UwDd4kozTz+igsQd76z/17lsxjh3Ku8COIlIjBBoR3RPgIOdT1E/fFUz8KYEQqrT5ZqwoDpopGJsNhDPNbhauAHm/NhbZORKC0k5xItoRXQjFGQAvOTctTwDRDuRmCTTpeIvUmTyqzfV6NJnVt0tLltsScVmWDd/GCD3oCprfoiMFz+pXFsc506MDoYlM6yAavE5zVhhiihLpT5ySkayijgZYznHa5ihKlvk2HFZ0RSMVA4AVUI4rDwgPKJTD4NqySpD4BAvEeG5q6yi0QUzruXCjATvwknUFczfUUs5DnSpVInmz1nlL64Vxmuk+aczliB4FA5c5iL7CUcQtK1FdCeGBs97RinEqVFQXqU5Q/7fYj+I5c0OWiumVPQe2G7xclJ59ujl6wl9Xw/9Hqfm7pXQUeGzQneW8bNzH9MYh2QBIvO/IRYtzresnc1bWC300CNFkkOGNw0eQEt9nJ9U3Rn84ITFza+w78Pday0vyb3flvLhIy9d6UryTxSZn4I6sAE9xB7bpheBjjGmH0bpHcvuroFZQv7QB+qd5/7wOKXVMxVi9/2qangyvTsFggF1Gj02sO/wzRvrYfa52yXdxB2C2DTUv386fnE5R2BU0MqSqujg91wEPjKEqxXlpaHIktZmy38V4HZG1B/renIow4IshRLPPsUiYXkEYp8cVO5WcVvJLlg2Dh1gmRMLo9X4GLN/Nk9FNZSPZwfbBoczcddDHUCGHc0jzUECdx2K+5mNCT4xm9jcWMlT9OJ3Uzv5TcBlZl76cP7NBiR4Ysaq4i+34FIKjmF5iYeQmm6kKLyYaqLD5hJYy8nJMyP9waKijIIRtILCs+xVpi66njdNp1EWPThomO1I1D2URN5fbJhbjIUNkEUCvOsN+iBMGGt7yQhBShDrNybqudHkk22irx8ptbJckZhO00cyIT/RShUE5ubOvdLVbRaP4TU40xiNtjvK55k5c6lve1NjpRC2aheABzG1pp2mUEp8gr3vG0mDdpyaZHK2MDxw2CrzqAuqmVZRab56vUn86OzQ4N+MCu+fZ8Ywaf8NUPTeP3Rr/9PawJC+9ahIe6be42Knlxx52S1iBXUPF94A2t6kZNvBrLxq2HSAOedHyU0Xm35446vEpkQxL33jDs3JzL5f6d+Pl1X78jfPfSR6KGS+PBbuS/zYXN1Xo9CXzS/dHUuvVmGSENgLnXwLJIikrkrcpqEJGcIIWcKuwweiwvB/lwBbYwlCVkOHFm5PzxKIqlMqnsbWRpG7L0gS7m7JDOz449RTmV+fkVJlQZT2YCWbqIIh1cRBx6OYPW2R7n0n32gAcyp4eNefKeP9T/ZunWHlNvcd903OsF8NZKHVmPJTI7vjcQArzfk7ctlFXtfD+9EdhSOhZRQ/bWreNlGidNzDmbXdOpaAj8ZscqTfZlrWfJTFpUgmalX7Zn3gBX8TacSNShhLdOF6zW6yNouBinxURwRPxq6CV6BqK3UYWVfWo64Sstih+tcw+MhG49X7z6LMdFdE13KEN3nWICQpccMx8L3rInj1sWyDqEcYPL4VIHc890ee0p9B6LDvNTc1HtG+tjsCPk9Xpa4xYqwzY1ubVEeOMlKsrlmuKu2x7OJXTmXt0EagAbUDW86zqiqdOy0H2/i57b79X+38j/MgC4GsKzwTGCsOHKzC91Cq69eBx93Jw/74SgZSI12pm+6hHVYA5ysWUW5j5k6e93qQACq/BNyHnxKsXERdCX954FzmMaDIanv6kXDWHBDNWVpjG8GjK9UN6SfgVrMQEsOOjGHkXbsVom7RiPGilut2B1gLyTwCsGXv8Dqjx+1bmW5++B85N/sMsQJcxNVbyue1z+8SIFwmecyREcsDxdp2VBaP801cvAn+KLEIP6OWFb8rXporZ7FV97zIo8xeo4xbng1NRi4QlK21kT7O8YPyvNtyeIoAb/8R6su8qPW/JaoWBA3t+JSmTjQnCdN3ugPmSMrbfsxmDes1NyaBLj5lgtrH5NmXLk1SxC8MbAs+diyBd+NmBlLAcnSKk+LXXcZZ51d38O8uLGrlN62UUGcQOW3yenCUl/Sb+U4XNDScRZ4e3HoOj0nMBaETYg24/Gf2aIn1VPxuNjXJw7YYP82pWxkMC/KFCT/DUSNj2NjcOKAwz5QT64+VaqPUKzW1W0yEhGwykXN09+mTG7dx21AFCoO3wirEtrC2Xt+GjN7KM/Zg8Sl9DYedQJ2HS3xL/xGIL7HOk6aGP3X3S4YOKjf6SVjXHw44TcvS3xcBfq4FzCzS3ykZWJRnyDgPVURxJZ6ghAAWZ2nNQ7dvnrvscxD0dDYx1f3Zck7IIRK4hIbKw/Hbj8FJGexSDHjmCN2/gHf3xYTg/i/NeeMNYn9sG3oQPgONpavCBln3RR1HwrXVNPQtg5mEkLLmdEVBYePCLM4HJ8OV0tpnl6D6Ty1TeNeDBR2khdGOxmeLx+qRgQlsjkvLW7Ox0lO0rfOuta1ggvhhB2qoyQ7IihyiF0/c1fp7+cAb7BCtIHCVZMg05BxJFAlUyF7F64guNXbzw0Kygn/Gw48dweKYe0G6DKWFt5ROLF5s90KCFVEIUVTKV43KVsiyrWRPf403HZdxe1kVEwoCVtgiG4CY2WLsViOCI2VCZqd8Oyil4QMWM2RW49s099nB31oxMa9Gn63n0cjtyw9aty7vOWH3KnM3d64+wl7Hl20kWrGpz5WVXPE0wJ5DylkKBHssU9cxxSmZ9go42m6hiq1HxNZ7yA0CrwDpZjX36+XPGSJGstynDqCaqdkeVN8EQaYSNsnie9JqqHV63DlTviPhd4i3C1Qj0s7C49SGLb3sc+77hcu7b0OG65McNZRpdT9grHeitl+nLuG87w3QWooYwZxxjlrIe7hJNIRL4C1SAyT2Ic3FPrl4KXwkyPEa1sb9S/JERG+ABqb1qq04iJC4UnsSIYOs33g8/SPj7rWDoaK34udRh9EucDh5Tvm2j+JDfZLbE4dN7uLSVxg8TMzlTcefbgHMK/bublQbjfNJeyCM3+pe4yMA79tnS3CZaVc7orRKTw4EPtk5jHyC8eDgPMrYgXpfaZ5d7EcFIN/BsYxVpDDqugfztzZSXd4PL7/0zwV2V4Vc6wWWOS7jeyFPalHDGoiFu6cbvayemE0jADpAUm6pbsF3HLLa4KH4FpBm0Y3OonSWcxVx0OMHm4eCn6LbF3uTDFa45QLw79auQvTu+dfBMW71d7UeN91J07LadLvjyhQpmqJeLexbi5eAc/jSEFAGxgfaWkMFNOh+LCydJ969V0IGl0R9rMVmEHm/IjW0C4ZN/ZG/MPa/xxi660vEN2UutTNLD9neRBdMy1XSxoiq4/U87Mj0bpKRnhwFt6QYC8OJz5AZMOGZPY0X8wx53EqNyi5fW7/I8gAb9pLxRGdhgmRtm6voWMV5qSh5+h6bo5Onb98PcXGz8ZQfvN/+Nn0Q2jLQnsId4xCtrsZQ+09vJJOqYoYw+mxAW6r/Q1D8MTMMMkMQbxvsiriHZjnO07UOvkBRnrCW6R+7jXFo1jyXP5CZiD//I4hiRRc7oiMZ+0THjKaPiS1iL6ARbDPt9rIVEoqNNvwWYpUNlta1nTZnfrl2vxkHsU+nzjt7UKyu5wBwmhdMQAhneJtoGNCcd6jhDRhfyvaQs2z6vTusBfZchy4K0XrVmkltWtNjq7qs4PRRm1mqsgA668vEV4hBJebE6Ffk2RON51+7czD8dNgJ+s4Ujrdrqlt/L/KBCnUEqUmsTyS/Q9YlFRnYers8u3l45P3dW/aGEa7M6sBHhC5hpDUePIPN1u4ftYurrRMeUY9+IqZdZRr6+9cAJDktyFgG4pMHz2pDrRRU/yupZ53FsIim892jrCRUSfswWWrRq2N2UDVYMy0RFHPQ3drXXtqubNK52Mhsvi3G+nCbCpQq5bUhAA/3HHRrGpHFqaUjWQYJoIpmSKyszrTE8GzszGhJD5nCGa6YngC4cQKs0mRKyohF20F4phqxKAPlj/DKplYcK1I/vuXsaQGC/OW3mOFqLakfaPzVOLRqnupC+zrUSVnIVL2Z9qDkJ9pyHXLJcMKEGGxNfBn/AuuCJXbT9OI2tcuJ2ppqw80nejxWLPxMA4+Sh2ixqDzLyus7r+ubPCyi9VEJQGsto9UiD8bY0mv0zdhWZSK+XeoOISQiTvejhiJd2AaSrjVeBrFCGqqoLgofwWse0+ZbPRkuvLcHNUH6vvKSnkv5QirZRwfHYgGuejyuZp7UJ3RdL6uFKe0H9VY2mJLWpUobU6X2dvvvYPLnGxiOa4/CTiS5r05sAooNEy/3iAyq9tJJekiKs7HuXAMawZi8Sms182vKh1Otn6RmerOhDs36yBKaDcWs0Gxn/IQUknzp77lhWDV9vu9FhhiZXz8TdCR4APrK1+4uzSDWIZHiLkQycktjlYHy03NColLPVlFPRnfYWKZpyMM1lDLrsM5jeT7k3jou9gJzohgpYqLuAisqOfX95w0OJlaSE1+IBMBp4dZzGWoWh9zvX6E4BNuWWTXe6fHbQ6uhUw8uwCoskfFiwon4jVpDVKddybGy7m/H8+oHAHDyxOUij/F/08t72ahAnsH1r2n/PVgm2si0p9B6uqLJzVZP4PA0IcNvihzHJQd7CoVlWI4LCeaHHOapIOQ8JyNYYzS2XbN82TdQoTymXpvRQANRb1qNSnpEp7+gU/eNVImNk2H4YP0aVVYIxTb1n5P1WCTyxub5tkLwyJEkXBVK07vzQuTrpJ2t+w0VAnsaDUVQLE7rM3ZTemZVekvWSQ64nMSOtF3F/ILZfi7jwJvbBM+cjxWWOPAT1xzUmxVAIsoX5o/ELIAnuFRfb/Haim70/SPBLzMNHgEEwVD6zE9g1l8vyiD9CgL8RMNTrb3Nw4gZryqjShQbaCD3WZaCqgojSfrEA93xuq+gbSnuODZM9isKRifZVvcQTz7vl6qtZjXREfGZYRYgkHlsfXFUtx48NRcKQyB2/mnhZaoipSn/K4g9rmcV3J0nK8NLR5W5vImqEqo4MvHH1J3gXmV1q/KSw7dJZ+FBng5Fyx78jQ+KH8LgQ12+G5afPj5ZVNZT5eNKi5e3xrfGf/R3YhZP5Ks3D3TrkpVh5Bh71pFPMiXaJ8Hu8IS5rADTwXsl2HzRiFaGMZPqbvHDAZyvtztl+e6GotbpP16mZzG6ggU20/4rbu3Vvbv9t4Bnl0ty8808eiDMFi1wIgchAFZvX8MGiiD+Qp7DzJnjcOkh/mMNUqvSA+2K2JINHCaVactYi97sdUZ7HB0S8puhzL2NjUL9bQOmhM+h6JYDkww/yC7z3vCmO6/d1PUHFkStGQKab449GUyVUjEDLsdknrCZPLBCYJWTR39NP4l6zdENcHlMmnJPQDr/FM2gibJP8hbZai4D6A/2Z/XXXeL80YyoRwglTqpbs8NxSGoGhHwK8q3GwgESnQR9WSl0EjcTBOI2PxaKVZxgjqVe04/yJvsw6jucSChKFXm1ijnRbrBlQ7d4AE8M/rQUvLEM2rjH0HwSjvEeeibe21tXxehVKcPI6shlHYqxCg4JXjrO8iHO1fk4TwG5ShShmXGaLly6CCJPuL7gGCqe5lPfzyAzwarrpnaT7JHf/zdQRW7H90I0SqCXCc1dDXSEkVwgZvMq7tqIiUfFpMmswDu9WIuUYlsO732Y1d8fWvqoC9/nuFAPUhymEHlLyiF4RMOhEsG/3xXVVMhrjvezd7v+ZuikeCuJhmcsHbhMvy0QZegnrNfajHN+77eAwsqp4TROtQdPc4Mepk6QdT9BY8Jy/9oPCmu3Dei7jrYhd9y9opjty58esFxlbpOZfoe7T7RcTJUOx8R1xv2U6SUTHI5pofKmTuemaHoFGO0FekU0PEY2oKKqtRnN+zdN+lpBIJbbzETpGFiYuCuIMS/ySVZEhB7jSNMpwNayPctOZrpBErI+TI4d02B4xfD32STuxlMg2F0zvoQhhdhW49128J+qJ8AaJVYxnTmkVJBjLW2PnXK4o6Yv518C9lb+j0Bnbo+fvHS8bnXU18rN2K0b0r1/neuLdlELmbRVD64TIwvQEopmi79SYcp8msbVt+bJboa41VSyz3mz5FsyZXESqcSCYuZxJ9mhGQmmU8EYWq7PAATcmqFeBQtT5TJ+uccCMJ35TyqyDOwm4y4m9ZIYO32mQ0LOJwD63510EAhyFNz29QrBxARFGTJeFxdJ5M7MADrP4+A+3qieIaHSwNAX0NOR52d1fGTE2NYhj+KbDCH/Y4Jc0HQKwhlpskxXkh0XSztnQA9EvAi2HhdO+NTsDhYFT2BichbzrOdsmT+GdhLe+gKThESpgq7s/dczZ0zX3X+Un59JMSHbN1pX2ZzvwK/fqaYGfpghm4sTSowR3eA2yP2EexCpiNZAXTKK8Xb/v8Ga76kj5vzXvz2EM7CcxKUXntJNoWGKIsU76zC3ySxsT5og4Cmi2YTLjkxHNkGh9jrkvaSmp4zd/Ag8dcR6/TXkB8saFBuyFay+24U0jm3rowsY6dtAeuK+O0A7CeLuqgz86FwshZoNAgq+6xKY6YwQTHNn1TXoboHT+Zhg4Jmg+pPLa3np/VyKBmSZGfWuzJ7gk3wgGMwyzuo+TZI5ttDjzrtGhJ/JSZfmfBYBSiGGruxRXL8oLahHf2+cRpIHc+zhS9NPDdv6XDfedBiLSckghWw6dSS0oiXhqDqUQ1DB1FawWWSqz6sRtL3krH0KxEDgLHgL+qfkIlLBtF3Qhf70XSjAAsdGxc1js1Smaqt8FjPHfptdd0+qYMDrbGyXyDAz3QmSSK+WymHWqrnaB75242xLIdlKiF6Mj7IbmeUTXOGAGPac3/WYn6YGafCFjGk3eLpWmfjCAPqdgi712Vl+zGc1t47M25YeUxgkM2842Fs1IhhuAZPVr7tLQpkMTJqSiQqMPoEQxK1zchQWfm3C/ik3YaeWuM9HYoY5tXEkb86QKLZOF8xX7nvouTIKxFkqgIa4pRG+XyX3+WlorQJ6KYR4VYVJB38QXC88iqzu0H7m3eN0ycG7dd1DPefoJE/i6pbF7Hsb7f/NtC06qIfOnafg2um2BxRejtelyM3Qyfv7NCClabeBwWTOkJktG8XGAFJ2nml81z+zPl8vMAxKhnci2Ay3LUDNLVa6o/G05nnUAcLC35/OIta7Bwz+sdkFA8QZFgHIv99ZuEzRlPNezfAPyIR9X9hu+CH/IVIrAPnKLIzemZSCexPl1QE5qXlWg6mA+deVvzLNtWOJE0qIY4+1p7mXAcOavnMUy2TV3HvEl8+5U97oQH9L9SI2z2k/t7LU/gCodGvWnANKfxS/vwQTkgUmixVb7ekZIxRAGFRwQEw9RqHChf6oY+gXz1C8Qwko/OS40BjJz7siFXsMXtcg2ZA1tVyRB4r9TvUVabGymMsET3nxDfEl54vxR9aR0rC2gSY9/Xse/UNCB4S5PaahxN65p8MWgxpFx7eHq0xNc3+k8RAfKLCLIoyc6uUsn3TP8kSIS9dKZR9l4W5HHzkkYd9S6c5e/7wnXKOJz+2Ij/Kn/E4i+1GYI6bPCrHHCvx5Ci+hTuGMHurtCwaR3cRKKOy1YMx0ZQvYD17AlZGy2SAcB7vPreuRliBM89VU5HEk7ToImLjKNJVlY+BmjzJuU4QQwoDIQA07IdUUCjAhQnXl1ii4svloy9JdhbBuSiaQq/spfQ9PqBs9Bm2V/TDj/cfb2WpF1KVk4YqphBkxoosQqSr9XxWDQC7cE98uQqG8VtZaMZ09UbOapUuckeVdCzdNfmNmGf316qTN5Tw6au5vHUvAJ7SLLam7osKsKkrHMkVCc4KqYef0keUrA9cWlA4Z5vaxyONWRveTzJjHmdjUnoFl/G+QO8PQueukP46bcnSPcKzgjhAB1TuHAsbZhtKZj1vgyBiYzpwI9Giy9JwGy7nZoH9Qj2KZIQ0udJPbRHFqcHeXwYIGdgEx4VkVEH9HiFLEoxxY8EjdIFeYgPRubamydCt5WHADJq0y1mc2AMSdN28da5A7TtSUKl9xrUoOYg0tUk7PbZHUVh6YYARV6X9genUtGcosYIslQwLFcwvLQT+CFyVK9AcMV186c9MhlQBnzOXcMsiEnn84xefjmg0eBDrHqmVRe1oatOy0bOONZauGOQzIHvZ8aTFcvIbE7vKSn/l1tlDnMw34kmjBzHMeN9LRiTGq1969+uECvIa3THewzr6f0lbp1VR1ePCyi/3RZXmBGIHIY2LunP08ubN5TpDWpNMESpLAa3BMWLMSwxUW7q1RBad24wzEBVbzG6s7OAR5BUc8kaJj6fr1wwseCogUBefSX4a0qVpvG6FpkF83CqkKSpt+9USdU55C1P37UuhbMbJLlx8RjXmgpzE+4CqMAoygkygYIS6NuY96+OzCFMRjLafCxcLwWDQPkp+OI8OTNBvvbXwnJXBLBX2SCMA4brb7APzF9suCol1dORkGJHe64tW/T+Ub2cOOpf86i1cSHbYKPQCzjeJ3L+K2xpHmP0rQhJFZiouYOHQOCdJNv8Hhx1EXvAfT7oMWSMumzhcUlvr2bCyH0tqagO/eTLLPgxDkNzlnsaRKOtELDJIvqWfMZWRoOL5ZLf7dyVGUnWdVMCvqA9ayF5c1CKwEmuEGZnOme/AJZgL9+2KslQtIVfIt+a9G3zpxAwX0H0NFGmB4lbH9irTVlqvgKe98cC1hpkpuY33wPwxvXIxB3QfAxfSrwPQ5bxnvd8B1JT9XeAyzTrCFucZXDA5SkmH4ag3/qfb7tiwUUTe7K8nat7+EDMbNcJhM4wRMQb8z0ZgtjEbmSijMaEgJBMt+8xXnej6NwAUkHisV1QYf9wgBTbGcLBJproFyyEhpD9tU7cXDys8g6lVtiO8Bm483MvzNRlmkkdW9Pqk30PwD+4bWydOWWU6pOHtwmN0DQs8B+bVFuPy4ub6L9bTjjgAsMG75mnQWXAd7gQAy8+/joR52irWi63qkx8o9l8zaxVIe9ZeVu4r3TJZaDLspiEyer2LC2DdzLbTXYIFPlHH7Mi5XZpm+K2moSgheJxidPrtrZ99hVRL9eHvwI3m9+8oyJx8/GpWt7Y543bPNE4EcKrevdADC7uAMjgbF8tFufxADgvb/fK5k4oFMD2P//RwYBYlFAj+wGlkbensfY5XEIvMjW1lYcMnK8JC6pO0jdP48u6kg5kByvRjSB3XvemnjP9nNLj79BN5CLtReIp3BbFrrGEPTTjLcpt/ZtIQKZdNPh8tl+Z1UnQYJrpKCYwUVWDpF2kO/m5T4wRqh555RNLj++8ZqDWLf0J2kfV6F3Cr+UjKB8mjVFT4EQydS1pLYEZIUWwUIIVywlnxPlkKqmp1w5GBvD8GffDWBKqv8iZBmN6QVqgdqdl+9y7ZUG9KRlkVxmHwM2w7F0EhS+eZFZhqftEXtYwY3Tnn56/fiDoUk0vinKNaoLqpWNx3nL/jA7qzU7NXktyHEUcy8efoz82cChSo0HjukiQ7V8eblQqsyHzR9aJErALBad3MD7D7YyaxXvztou9FzyRoJGyRkOcPzjZraaXJ3oWXZFC4SKV9PTxmbIJ22KFer+y4csCoVNP/CIkiNkKV3sbtFaC9Vlj9fB851brUrX9g03XTEYkxTDulhPIdcW6p5jmc5TFLhFIdWPCObWJnT1ZKAqSrFui0ugtGdODdz5Z6phpJgtUq4r25laKlq+HP3yPdUg8E2GEYe1MLuGQz3lxk84JYlQUzVmlIH/VQ5uRPo+YxKJIUEKSeVfE5VC4MdxBYaZuS0/5zMKq5wVIaSsWX/Ff4p77Ek/sc6w+MS2lNAiSTYRPpgdamCkYOyfJwJ24v6aCkez0S+tgTmVh3tYxKfDoyHXl1XRv7BhJOj9JGmowyZLEM33Q0+tU+NgIZTzC1VXREdYIAOTGovh5SRMjba3um4EKGSjeiZfp+ncpaSiwqWmZeIJ6LBAzFmcTLDM5Se3Pd9rHZqz6g8fAcL4sjyoyjgQBE+T58KfOrAWRG0Zc0FDrJ2QXFYAAVDrXGGPdVTtPjEeSFlJWmimayJNNbV0oEPRXyhz2s5hKlvRJKTCAfG/+hSjyHgfDrSJmsIq2gTUM9ClDKimTUMgMLuf4JX9N/EWywfyOxJIlHbMVaB3tD2c9d+MCRAVzzwZK/36fApquvVGCmvHfznKMz/LYupWcEo6DGXgu9k2snou03oYEAOPHid0s6fKZEgth4oArXwmhjiVHId/N01yP78QujK2ug+R4b7ajmG4s6NwMjRCqY8JUsEgA+MZ8IMmKWAvywPWPavlAtmjsyl5j2ZZf1HZq1TBsjJZtLLkGJfHsCmHmvUXWogOG4vyIpuLhxySgc3RShOQswq/hnsI5UTbSRv49orPxPkrQPFjdmhjHciWTFOMY096BJVoZVwnew6RRuif2TJKmcquW3n6bNej0+ehjg6S7hJtcErlhiOjLn/LWNg3m15jIBwZbh1CxACdzKSsWfztpqtuuF5GCxn+6VRzyxU2sPf1b0N4gY2WlhBe5FUGXfRx2+Ox4ycl1rph4EA7Qd8NRbl8A5w+Sn7kXIPTJz0chcbKKLTB/CLdN5sl8l9qh3LY7e3JGCvK+kqcEcN7xpSElpy70fGCEshQRQcXWRfQz683pdcQfPbjoeFYjLwdWsdI1eI5wgYDphK1uhieBcuLMN+p4K4ZuHHs3Bld+HcDPNlbWuwW+enKV0iCIrdCoIrUPmLsgS3vnWrv84b/KXbv/tbJ+y2HnsArSwOGEX2Si9p/CY2hBVodg71kzrS6wcdeqfXf7wiC438vI+oktiN097f8lEzUC6ekeDxDSh5iCCeiqC6XQdacrHErKF4hD0DzxErcrc9f873z76AW0AOpS2ajZWvEtTTFv49ynJClfGIqw/lkjBpugHGVMIgW7kUCqMcq4q2ZaS251zH+3IulVBEzYFIRdVFqfIAvavL6A0DFE5hTuZ3HENF5UyOf5NqLfkkcPmcHSvOBRYoPO4IGF0lOQ5MtMWdnTO4l9etSvvl9NEK6n2Rsz+ssFmGsyBDPT8Oeb752owGlPRJUyQj2BybvmxZg2A6xlQ1m6/Hzf3jIW16guEgr5LAqzpQmqSeBil8nHj+ri3bggMQW9wlXdeJHqAyUcF/+e0o8nYOA13EXDL6EIyrjMjy9a3Go4NQiMg1sbamELOZLgVOxfoCzAwAbDRrYecAqu8qQarzG1U+Gv2h0IGoLsS7+fUyScWJme06N92QFuUFFL0z4h5u5ucf/nVLTvCLnM4UxS8eB3WvcfQYKyGsVNxc8v7k1xygcagQ3yFEGQaJzH2vur7felyYcLZIcVqJd6OzPR5KuV4qnQMTZHM2r75fvzu0Npwx/WQG0vfN2bIUQ3b+w6gQspY1YGHyL959e5Ji39Ipe39mnij+3J6J9hS9F3/+NlSTggo2p+6bxhsDQ0soTIRoxisqpEvVLTA9FnDo12BCL9Z384Ts3T9VoPEQg8Zd/erpkRfFZjFqn0c9pBlfHs4Fb2pcxYSw59dLUY6BpavKK5JSe7Rs0LzXTqeKD8FeqK3Wy2sxE8crbQv07xtonhat77Qb4tK8iRXIFQFisJeImoeCPdOpumjbSQgFfJXlplSeHyGxYn5p0e6ahbNKZoPQVfEhwZ/Q5Bf3xT45eg8t0lkIkuRHHjNV351aVMjJUPS+S9FPJ5mWGgQDm8vk/N+eUhwYarv+calWIg7dWzWHQaccJmhj3GSYM0FsCwQ6u0LjunoIpoTQ0nDzbzhtXTf2e+zlbSkk29TXYqCHRfJEX9dLBqoTrDwd3AOtsHo8SSeoNqZs0+5xB3JTgRmzOMhEyNADdrqj9I/27Tov42dmXR0C6anCrjylw7ORiKXMCBPeBhnC8+r23rLjoD+dcrt4sAW4Jsn+RefEymBrCBQvwgDD0OQacfzILzRpnAzbKHjn/BT4ycAuynBkmVZPEQHoTdjXTQ3MhLCNwyID8lG+QDVMVVdYOXLeII47jlNor8kTGlh1OabeLoVCFM8KfGNHmfFu5Ys5E/SAojFeuRgRWMEjafeo7OF0PCO6j5xHtzcHj7YTRLePgxCsLVmeg6QDvXN7pANXJLtJt4OP91Cv295DqMtjO6D6t9FLhjjURzyWnZvORiLOrWRRKrDks0GOgqzh5QsvmpthcQEtiq7IVUgfI34qxoBRbVFQqJdOHHCGcNqVgSz9F4QlI9ufduY5JK2q5yHjWyHfmVDvct99Pu9OgsfTjC+O+Rdis9UPGIOmai2PnrAQwZLoMh62v6ZcD0gFHGM1VnXczp+Y2dG4hKylEGlPbpuZfB9xVZ/xuTZZKQIvUtfSlLUWnCKPIlGl5K3umcEPr/GJoY/UfOzkjzIVOP6dRRxU3gt8HoQJuUr+nddW80/xcJDgDqF247w1ngnB054vHPXVOD5o09K4+OSTefXHzuyDqJl0hnag2e2sV457dYJzcbgYNnHQFZo+MhB9Ys2dQe9Rd7swyeGtWqnhRJSU5A37Y0Y0//XcTEDeG9KzvoCJ/Cz4zXxqOvC+1wlZX4gIdCVPH+fNfJkJLthcOLTeF9LsSaAs1QyQzzliCU46EdKBxBIGfpo9Glpzl00TGmXkG0CtWI3Vs8+NulYYMe4pha+WKm3k/YjVCEEGXHzrQA8wDs5LIm1G1yRYvl0BAfoP2cgn1Vmh1ar+1dI1voJG/c1fLnrOZxKvaAkw1kSHXpiHLhEmXS5rOpFdloCitpFRFGSbLe0xDIgesGSLx7px/hVi9R1ibS+vGhD5rEZr4un2XJ+MPYsOiR7mAkaBjgPaUPwGIVemJGDSGcSxquDKJwBk0AhIDBi4IvlgXiMpz+7oOcDW6bhyCoqGdU29XNKYv16Rx8AIoBuOf6j4ExSNtRLS+F2OYWsny1Y+l5ry9ZIsgRpAlXi0tdybhj7xFDbU6YC+OjqRCBIAQmLw7Ff8DwlE8aAvyx1K5PGhaOwp2JucsMoChJRcQLWvVXwX/Jdk3P2asbqDWAM3jqQRDhGgS6X1DIsx4Xb6sBpSSnrbHrdvFFgX/wiuI6xBLgzpbVw2Nv4Mw1GZkXzDFsHCgGreBG5DEaU6Si7Nky8R2LyY5dCVxTjNrpmSxYYsKVFRPKlmA0yw6EdPvU+8G0SafLuzZ76vYTy4zLtAPYAXlk0GhFk72IsemOUObcmG/J0IcrvQny9iBbWc33l3gkGQdsImZp44cFZGChCyuqhcBcmmyT5G32rjyBK9eLievA48KYAIvFD6fBFKQlLDkt9zWPdafsmVZZxZ2EHlyfvVveWINqZjZpK/0LLnGC5Xpm/sXkepWh8OqYtmKY6kzl2yA11madxfSxcsaDPfF0cgH3w26DyP/i6ypvWIZkXaPN2hCyIUvKcHCcN/kRuHR2JuK1AmVI3Xd6cvAXapKgiqZGLy9iI5pks6Qb+np69E2rvy4bDb7NlnNMAOe2Tdt6MHBzu1dYFXMk12RgxKyBeRZUAX5KAFHdBYyDTZ2wWXa7ECvnkiclhKAKt4PPbrQqFRp6Z4uWdtNqkdnx+qIf3j2Yamli7Z95XBOiaqhv2q4Vqd/6p11HWAxSneaOBD+62V6nA8Pt5Tj1+kB1kJrjT76GDkUJRpHomHJXpah23bfm2duzjdsUAAHCuZHXDqwzxX+Bc0LcYUe/9ddWAaEX4pl0U1PKR1gcRBp4pqQUanWetnUccT+CYxT4s773hTKjnEI+/yJYQFVUqorWw3pCH22BQnpRgXjr+ueWfR95WGS6mn7WZinDuKdw02rpOwKbr5VuvrNbqN/X9kOrKHmtY19NiGLbbq+hsTLtmRnAudnCJthNRZMsUpT6YO2qM1W9Tx3NC2YtANiML7zATysooZM90dTGgq9nWlAM6Gaf4d4VN5yM5fW6jS+pwlOki+Ch6JKUaAYD9yn2maSQ+Gm2Tlz64t8Yx51Yx7EpiqNDB3syJ0VsyTAjCNAd/cJk7xokRkJ9StRJf3g/BLSmDC0S7QFyUEG0VygGsaVLU4YSRM8v3ITg+Ue4xKUdpkrSAzMOxUSzHuqgMtrk8DfM9+RgciugfazoH9PiLhCdRZ9uz3+cFYBvCPYVUIr8glKsIA0xXclUa4fH+zw031QFjfApq/oUk+gi+KWP1bn2aYLlDb7jDhYyREGuYeV483swxiJwqpwLhAsrn8dOieuK7MPHcScN/ikbkRMM3B2Xk5WL6A+cCMkRfHtBk0Ih5OSENVt3kA3ypevE4CUS/pgE7K8Zx1+AmbDNjUpugKFdjeMnq4wk+sZSvUp0nP33Xq8NeBZ6UrovGWS3lQQV0S7+pdBkMbf/r9KT8oWYe842KKrdI9MW69i8zMKi7jo6GU6TDyS3rjleHgNAdGN+USd/oUVUzSMbfg/nNe2WJpqBzZFFW8oe1NOyT2ghi96cNeqjN+AVEOVZvyzZDgxkxa6FxpahskmQBjk2u0ZvPK+P+iYuSNQfk8UHVeGRJgA5vJ8eYNToV37zXPtjT2kfHkZfFp7UwexYhAndOYeOQn9aZz1orGfsyfU8c398BZShcWked2ulwM5YhPc1bTzzrnAlYC0vY99afxhVcY4Cij5rM4xdIQ7u0YKIVyqbjMBReK/ok6mGqRMpnFP4WeYsBgHUwRmlijkdeP/IFYYHDFIpAZt8CBAQI2dALsvIkSGpRl2/YnbvXEjRsiJkoRqnDaTkvS5xodLaFcfgkAqyZ0/ez1RsNeOqgiH0hoJblmbBS8xaYdeHwB8Js/vORDBkAaWhF8CvTld4JQkrl7jCs0yx04LfzSUaESa64v0iylJ9MZ0CR7285hi+WVPtbF0czeJrhop/58+z8tqy/szmML9LKGK62EDFY4tsRCMv+TFKuuJdM5ksyRyBGkGfvw3UqfkLJcCqq1Sa8I4q4XAvoiOHqzAF+Kt7zaWe7kEwXu9VmaaxUWLPgtmLBLYMSYZKOliQr9ntB+tLApQPTKlVGALqT2LgaWV+4S5dg83GG4IjEjEEMg81ZIG09odtIuy0MR9S6YLurecfpQyBsGr5U4QeIlcZV36X3VP+nN0/mc1PEDUDsy8Wg0J1zgEEsxMfcNhqlT7Biy25tos2PjI/NwSDjlIDALzhfEsccLka61Te0QXNR6qI4Yq+ZqzSOr+QDE9eLgbNAC3Gdg8W1YfnRtFK5lg8vneXJb/zdTVrrXq31/hICzjWExbxHbi8PYy2PwQynlDJjOamRAr7o0UKNnOdZeST7+EmE0QayaY9UXiGXgnrCDztttzfrZmIuBAN4BHZ/JLosMHyNI5+3ctcTWcV0kkxzfRxKV3D4cXm/JC/+arWhreKDvbjqRRZcKO586YZrUpNSD9tzkGjkiwvB1sgbaBNNuz3JdxSD780ejr5Md0qX6IO8nno5aHvxZLsJHMvfGZimezNC5LV8uWWgnB0+dl/Nl99k6J/QqNw2SeII4qICwqSX0W3UcqF+2PYRmwVTCrsz79RA1fJjrDM4RufHGWRPZmkMEEpJwmEn5uuMk66/P6TlmiqL/VQFNe4OsaI++krfr0thjJfBteZ4uzP+lQGYoTC9iHof8QxrbsC7a+xpwOiEoBWLV2jkOVC3MLuymL0zkgIPUTKVoBlR7PX7i49XhpZjuWvoZ1OpDNncZAmkx2UBMe117ELjAkyDw2cecNm/eFYUJgYWSQKzKPVE1TTkcgyqm75yLVZR7MEq45N0tlSyv7z2lzK6NzkaSyR3hEFFExbTYHQF08p9udFjskJfpK3epiWfu3fj3+eYMjrjEG148D86JzXfldiIwH5gAaykLLNMMJLPngcMuSElFldl7SpgDAUAeFEoAa5MuaOudy43v5cUygyYUmBQabUmq9Y/ogiXpg+0og7coaxqgYY1NqU9k9ZV1BP+Ks5TffV63bTSsP/u3bCnmgPo0wD8HHfLStRzoADHDkb8oJBE/G5BZZis1badvIEo9cY5+E1jClbGCSureymgF/LJNQc4GfjYL65KJkGIwiusXaJb5rLFUNt0hPg0QJjvnZcUQL4bnMEmfz7p9zcsuu2H78/ftjKqfLjmNdvQRVwyDvBOVCKnci2udGKN2OzV7/pd5DuIt90HKarrTknN5R1DS44Gp6kPg6wdOKYCQyjXzhL1JIMoVUyDWF0reUcDQGFRj20TZZxG8hmKIW7nICwi9bNC89yp3ugBNxySpFy/pHopzDAD5FC4DyN2xT/fqgM2iA7cRzH7lWofkQSceUvIMjakVlv2x7DBnwyQ81dKEjIwAvx5qmayKQZ0RPtMmF7rNBBLoERhhkJ61zAlisb61xdrsOtuV4B9MvhoL4NKBPjpT/H6zU4L5B52zzcA6JX0UcaGzRXP+CbaXcRVOkBU6ol4J0K1T9osQKSaRlziZFKZJ87+bYcasGSs/qPRECwP8WZs/VYcSkQ1G/xFqzj8QuUzUXRJhcyyNeTn2dJhMavaOMDDTjZib0LTzreFU5zrrobSOGJPs8G1wcnrw19iYvKgXX9SwTEjeIli1pQqyY8bjaULYNd1ucWWHoycubIXdwMxe4Bnmvk4PzhlblEcuw0mM0v0b9GcTwPvEcr1JXMoF56WyGYQvQqSizQEaZKf1k4RqE/naYIxN3onujSElRQ8AaHzQIwRZ1Z3h+R6ikpGc1n70vrDml77RBUXrVZexO7ol2DrtlvGoUeH9j9DhPcu5SAjlk+FdQIT5KqGooJA38E1FGe+nQn/3vPQmghPvHH9X0grOG/F9zm3W1Ag9RKWQOtpGWi6ymtQcluIgZtUsJ0yUEW38/5oZIuILwqcVvkmLmOUk9UoEYitvwbX8hYPylWvyxCdTi0jmjlevlwq5hUNtztyB6p67LxyX3uneDSK+rd58RxHeTB57GFGOMFbUO0CHt0Vt++PruIMrp9O4Lcj/KdsZbdQQEUqsBrzNJG4rq5XAY+iSyrv45kwGKU/Jw5t5w9piJ5YgzWcKtNqBacaQCVJnOC+tqAWK+88avlhL+QsGo3RNNbpe2fEnx+jlISimb0CNf/ZK08+i3jSRiq92VJWW6n42n/aWKaihE+K7zal6V96iWZAY66pNe8b3FScy+ait0+CA2sy2orzoIkiqStMoVL4wVo/GQsLxK5bZI+LWSyept3+8PFMIq72HwYaSK/76kBhYEUZL3Dfi2RdOiPpv7hU1TNa176ang/i2PAkBJeWs8xraqzzuhHpFCwSfHfpvIrmcK2E2POlASaWg/au57DY/eQFvX5kQfrkqrTRlClE1hIwBO8UL/LkD8sog6X2fA2TQxHFltzxjlts8alwXC0FPYt5mCdCSpG9yMMN9F9+gvXgT5dxgGn+J5mFB80H4XfD/RDTdPB7/VNf6Adwfpdz7+C3ntNw2bKbYCt91OqHD8cmBg/Y6CdItg4urJdVaEXhbJN34kVx1YnWhGyZFl91LLjMtnKSuUQqgCpK/twhxLGE4ywxv4eY/zRzLlpIag0t8PjxJ9qebxITjbvuy11GqL0hIJzCHFgcUSbGARyCAZy3K+WOrj4wslXIhaPMK31LCsAzYnyvGoSBC6GiRsXt6YBqKxq7pzkHkFoBQxC+1i+AE0WQfi16fErpsInMbA75U0K7VQJGPdD3QTHmVd+BZmpTMBfp6FrX++VfExlH6CPnk7I9wimToqKH9JT4ZBuEzRqb1IkVIK0IXun5Uz7qYY6gIm9zxuiA9M6jf4d5Bin9zVzI31dItXVMNh44+h8O+2/Kx2aOQTu9harYaL3RT1qtJDvGxtQ+l7RS47RSDQSxUHz271FsElNH3PXmtsus/PBYywh9LnArPQjxAI+yD9aF/EvAufWQmc1M5tUy8XUG5/pUqqCIM4ua1cxboXjkR5p6WtOJ7ffGJLMNsUndJzmJeQV1xjuUh72N/hYx9sU1m9m0HIQ+4iu9bYmTS2aTePAbBnr0EPcZdU3V5v0Q/T7kynp+vZ4yJxnKt2L42YhXwcvep8w5JEjYLy+XePThj+ibqXM8uyhnDYgJQfHS90hGIjwpvkc9WOyh77JEQZbuhEbCIvn1r6/xlYpEey6Y6VcDplkY7xBg55TjU2BgZ2rJx3KVT0f/eSztvYnWV04BXKU2W+1Zj4lzcA0EUWCwZElnODq42dT01scJmcEG3GSrV/JQcQw7s16gxurOgF4LgpTb63D1LMt9dbnsq1f4lNT9NVCkAnepEayT6rzwFqv5MaHE5SiVq9rIm6FwuxwwQGSyIBZnfLHZeKVMv65ij9GMubeZPIH9hPVrOjvee2VD+kHduuY21HeryRf0umZJgYdT42Zz4nKaJSiOUVeBoN2a0EhbSxFxrFIS+BQ7JNiokGpK8dsMN82tyS/yBHOkgiyfnZzP0O6S7KLAF7mKWtKyCYCoj33v0KEPjPUPUKSU4VW/afucNZIJctLxlhmf7wSOJLozTGCLvmkXv4blnFnbJ7e2mRmy/3cRc9xueVONziNdFmoolWVVdXZuL8RnMhQU/NVK6Yc2sU5v5Qe35vOsOeeOQ8lLDuN/YX3ZxABeNjbaObt+D5OyOB1fcf429HxreWlmsfJQAbZuZn8UvfHntziredOOK3hvh/3zs219Q5r/f4RNNoIGSI7ujQ06GO9IYePxx4VjGfsv9v0m3QkDs+RyQrq2Np5UdQud5R4XET9X/HbcSTlTKuj/Znz9t0/bY3DtxP8+dcGACH5WXn7kueX7CM0jDEtbWc5y3VNn7ysUbLxQI3Z6FUFqvqiOPS6/4JCTQRpXzgH9Ps0wUeptHWhVMG/1lKwJBnJS7+9udxDoMSFzXpdxaohrdhv54pUfoGMGrtMVeF6YhpdwTco9fiDy7I05qOFTGpUvNNxQ5HDlq79opqGjZ8vXl2jwurGQGA6rB5TyJYuHVKjHjad6a93xTD8pw+BNur4vC4OzYQY2zLDf9aU5XRcwY8j6g1FCDcuVV59a8iIbqDh92ovMEaTQzt3XXg3FxUsc7sKAjQJwU4l1A8GcKUDZQO6XN/3nS54FrPkTF26R6OaLqaQfJHxEPaDa8BFbdvrX+q/xG8ajX/IV3vVv+pV9W7pDv2zvbyPK0owrwY2KW+0KJv5ho4K+itwkR8qqvjwHeXx+u5xUg1kNVSXQxvEW2OcUSO8HdiiPxYO1egHrlGhX9TRztQUClH0fff5bGjy/+W21Zz1hMQkr2/cGmKUTDKHNs9BM8QF7i88KeO0Tw9n7ogaw6EFTdtGcPVvSMjfTVyty9GMCjgxPTyQnOo5NFj+HUWFp3KCHlvTUDQEdOW67GJlpZrqm72YzhfwXMWdNQs7aCNc18EHCRhguNtOZ8iMfPi+viwBmCZO7BR6ZvUVl+Gd1RX8BJCOQAVEMi3O7ftZNGarahe0MQjItjWMAa1HWqfZTzKXkZHJxJEx191+mLAcn/bzyUiPBQoqwDJ4vOQHXVr4kY8F6PTD2ZzsbDEbTowgrulw/pXpa+33kumxN8wxLawefUu3vx9Cao6HO+Tk98yo4UHn1dQ5liY0M/uPyXxES2BWNNzTet8U83psrhlxaPdUJqDGFSgNGDdMUZ3nsgyy31Assz7p85sBo2F6kduDTHeNdvDGK3AaqUbqjy6WRoisLKCfcj2pEIKuAvlcBeJkT8vp2iyndl+Dc2GHo7KYzKf8Y9XTUa1Xm+YbILhdapWbHprJY4dSxlNIliLunJhC6RHeTruuS7iIGU9rbPMWI2dfjkZOxARAfnvboeKe6mtEuo/8NUHkL5X/4YJr2Cc1g7IB0ETuhU+ujSWJe8rORcetZW2HdLMdm1CAUg39gW0G8CQsJKnT9Ta2o8X4W4Zd8/NONnqYfY7TEWK1z+X93vVDUyotiopUvhcLepOraQaysOdyW5MQixTw9jPi7Fh+AQIUYb2QA1f1M4ClGR10wDNIeHXOd+TUaaLAGx+LD87AePURIr/OvoNSKsSDa+Twk1vOSSVBIXQxhsqkcVQVYMUilm6VC1Og022CN9kTy2x2YjZBEtj8ebwmIVDhG9n/mcj2+5Sc6WE+ED1y4zosxPHyY8y7NntAVbK7DG/0en1wcTVzHJeIbp/YQKyrYr74CEmkOtMJbmYq7OPN4imjWSz9BkjkB0ztC0wFBIxMTLfcJ7/GgpkC1AN5fczv35Nf61pPwsvMdDb47Ddd/uCreGHbreFZxTemZo83luYAMBM+RLMN2booRc2vZ7EExsZldn+G/n/Bd/81yOcMyn3kKpzNFpvQWSnu1r0sPNH9ZJHRgvlVPeK8F0emPpD37Wk+u30xzrGxlv/KwMFCWgGoCXuNNYljAcMfe0Enh0Mu+Ds5qh8dRvS4tJ2nam0F/5NW8a3AAZ8hqW1P+iBhklN6/CmjCgjajqJ7agNXRwYO+xZZ5LujKMny2qzJhk5+r8Jv61b7DOCGpf9GKNfp19IsQFmuPRWXurRGXXFWNf1l0XbOPUWya7PiejoOhnB1HuxB6O48CyWsY0FZjX6oYr1PQ7n0vzgGzukJ0Y3dsBXmADRL4zjrJxcB2QrmSoJGlRwUx2cE5k3X6J0gE4ze8Bgak2V7BdRsRh47qe46v7o+zB3UHlLiugpuDRLl9CEglwuVlyCzQ8guZuuuHDIiiFF98ceptBQpMS1aMZVM4Gj2G1iBYcMBnYaioilSG2RxRhLIHVkUbrJibtDVp5kaPjch3pcsDFw4B+btH0+oMSQfFHHiFV6Go+5kRdcO0AaE9sT6Op+3Jl6FmPIFm3qrehBuhptH8N3KwG4ozwuw1h2H4GuAEQDY0l4S2a/0gKkJpTmmCQnhc9ebrZ/iA6PGUeiB6vFdDRXh1vNzLX19IPtKHYnfGXyvLOFw2QcNnsfuwZNETzs8XN8RcCSZxJNm3YjgKZo66YZPrUvtBDt3qaig5+h1n/t8cRitcn1xyKSRYFKGfRqQ7bEt1QgtsYMw0GZ2hM2Z+7t5zAwWtu11c8NeRQVEw0h1msjdcOXdszbJoSf/IoU7mG6VbcQKNsxv8yEq+DwLLvWhOqFNI6ZxIffpIg2cvOUV/6IJSidi3NhVfUf7lH1Li1TLkJ+Fdk2tFlVyhaeFFelP6R6SsACWbpPB0YQVFbGELhM8Ud8twx017Fwabbx9uvwSBCE28KW9r/mBQoehBKmIDvnFxrW6jrvIgJshbaMObnnCZel5lpw/bwmP8f08/mbungSNTlhUgD00M1tcB7Mk/sZH42no0oG9Pix1o+pZyuK/p5KauXG4LlHHimwIbHYelK3rwSoUEkO9mDkGCNszqu+O/pKamurioERyYjIXyCv+FOuvVFOX75gfvycXrIaRkUeKQm79CkEaKfwbuSlBZly7Mh0zKYwhmgOnXom9L1iHYESU4mnToWSBKocMaLc0ZFoy8T+DLiY3/rZSnMPs6YMahWVEv6azTkvSYapOmhxtg23gnR+SMPv/YsyspDLtl/n1/vwhQ9+eheUtd1CLeAGt72Y70fhRNXcw+B71I5MkBizS0ItP4zq85jpPkeQXxoRLI+3DL3yHTq0UoZRelkYv8kp4W+ckDdCZHxPNfSo6Q095SYOVWytnLZX66642E+gStq2HN8WrZw7KDlmUFovA/k+N9bBgslgzCaYJwymqDp+4mIvfcx/PSRG4fck1IsAUFnw2LqyZ99FgZogOyHHVBwdT8MaFq8KR+y8WfRlJTXPqQmzT5aJ4GFgwkqOrgjlvLrGGsMymlSOBh/Tv1tOPsPC1dUUEwk4KzWwbp6TUPZ1bwhhjz+Dn3pz04JfaXXL/XpN7BdfDmektrR8LjoL8FQwF9/OfeG2mvLOVkjXj6VW0Yw95SH5cooAhebTJa2uNxjAWI6CT2SG24ctKR4c95/MjqokTEd4Yj5aXJ4nsmybaLhs2C6m3Xqj+jc76poA1EcdSIg2YiOVSnQ9ylgiP8juO1XgS+skRqOpG4Wvivz33Mkw5egBYsbDilT893Z8vE+IL9y2LuONGfTWTw0IokVY/Cb6srHKiGPyf5F53yzfcbOUS/iRCxGAsSRRCzDuvttWTPbD676lh7Ol2CDfiZteMJ8r18Vw5vVeTwANaaeAyX9nBVpNwianebOCJVKnZemFH+6y6Alor/3frKrukCqw9jxrIE/C4Xr1aMlHRGhzD6aMEPCKaTlQgIUvLB6hdtyFKUCFcP+fJloB9f3edFYq+I5PMLYJ5RYI8+3obhc7kq9iZrQ3mHrcWaE4qY40hfTgAq/gGb7NoxJrQ09F4V1nNFqZLr//dlLb77Sh3PGk2WRTNx77WNsBe0aJTGSrYd+E8ujx/AXEhWiFSXiz2C4lKHP6jnybr1cVRpIefiXlQewjB3I+QOD4ThB2CniFiD6nPO+gS/CZEbSjtS4U6rZEU8qGlHv2HwFMySchol98otQaGiVmNeGs630LzeACmVfjYChw0KifM/XGFVMUYK2ESsMIWcxM4pq0WuXpZGlKtYS2lAWniI0HOJwEsjlCSmjGtzQ6sz0WhvIgc+rX/LyK8RQoHiQjgynJKoDKQCLdMp37xFt7fViNWJ+j7EQnIUKRdBnbOdj3SFrn1HIod6IWpLMpUNkm7qdbPUjecLpcLrV/5bBVwm8Twv7eZjgljAaW72ivwXDgVrhqUBQmWhh5LulbaNH+24TqKek7/Kg0qjEj+PX7bUEzRIAK6aZ13+mtlSriygyclEx2HXx6ilzhW2MBbe8XPflU/qUmGPUAMAVOF9fwmiFOnYq4Bhj/zUOiZU9ztYjXgsQmUiF4rdMrjgPkTcmwlBaKKLDYCaLBGb29PNruUcUlL0GbXCNi7aElOxRFLb+XLGxK9nOmeFavF+viW2Wwf4n5w49CEE+DbYxHYb+RoKyJaELXhl8tm4DVTtO5UNKiz2Logrjvh4+lX9NTTavA49kTlfC5sHWCcvopNhVmZc/0VVj2DlHFq+owQ5oaZn98RI67E0JOHY3KcBx1aJsFxKfm0Coyezk4wdEHd+xrsikcmhqParkJCpNFpTCPw1Clhx10h9dz4mgxyKJetBEaZkQaHRQtEDUPD3KzWPUm7iMHoSnTISbFu2q/anrMKDCsI7Gdc4TRCLtb3PRq/aNOg0j321R/fzUO5LOzb8aWVMJhXwgp4ai+OZkiXQjcmE33utnda/lag8+n7qkvldt1bNW1e5ikVTV6Un/VOqZCyLkk42G4lOFlcq3z2g5HB/8gTY6NDol0Sj3jTbIeTyTaH08zaA4mYBoISRhvQicR5oabZ/UPx4aLDF8Wz9aKp31lRnfDUjOwuHEJvX/YeW+2ON8U2mIxO8cSnzlxHf/xoYBMB4oryR3nlSVCCz2E/ZM8ppiCGBSSGJPlNe7Cq2z4E290NTvt2f7wQlvwiCth9Jpb9wB2yqXC8UR0u1gqxn9uyefp1Vss6AfvHxuB7PskVJfsf9mtkN6DkAWisQawFJkTUpy1c8rfTitfDJdwcD/pGQARupXUTPFyHjmpAuOF1nCF54Vh2PREHFti/42ropHeic8lViO2s10/bW7uImLlxoOo4xn2RP6kmdJFR7piZcv2jsWtknBJeFG89mrorsgSBdDusNsczp2fpzMFwebcrFepM0YVLk1tzT0H7QTTv87imdbsFs6TitJWBPNt1RIemuec7U+kyMRMkMhvCM99dtv5QmTGCpqJHqZhPfdnJFKUWEicv77danAFJ5pk99/KOskU/2qe4dhPB66IW6iCwmbOJwv41hBofzDKLxy2T4pHKEv4XDKDa1AyfXQ6nUeMSfOe2Xrt5mWrXNCrT2Iwn81ZrlhdtmDm2qXuRWIXXxHOnxQGhnQkFCfubOekS8NXHF2R88Qg1nwrDNC1aA9Zx0CkYUWGx7lwIDujFpzc5PK2koG5iLkrOPBzOTqZsQ65nhw7/wwVHaNoorO/GMmEc04C3gXQs9dHTbKULMW6z6dId6N/7O6lejEH3WilEToaDwAf7/UPptDEL6LgeLeZ3yookAnWAVZZyTlYqqcb3Cf02eMfTfplQHE3Vx0IQEvK6DAtGHCsSjLvxKnyG+gFVwN+otZyUBaXCclTNjd6+w2FPGvDPwAjZURLlstGau9fPuRDVC+jrl4QWjGZt6y+hhSVdlv3Ges17/BC8BWH07ywSj5zA7g1yjg6Nh28h0Xc/1yvSe1t+gxeMgzfqY0o04AruDZ3SqYnTfDDQ+CsVWA2ZLnVw41/yc9hQ5vV5m8NQq8A1gFYJ6tC2aCU49h2h12wV1NlPA+5G5U3pWAByBfjwq0r61BOqo5DokaLfNJNitTkfLbHtWh1tLsCdnSdngKsBzRi15Pqjnj3kCQbYtASVGJcHDGEjZ2V3sXA8KLO7Ghw17r2l0ZNJ9LZIcJ5DwVe33p7C9lahUT1b1F4TN3C5OWYHxQ0NXAG2rfbFR2uYaj7CZax0ysXGB2fOLGJ0giwiReHZvHTpXw5aDgV5XNuM3jVCv8MGTaGtDw7zD10Ra7hxuK39LmbcfrLemTeOEe1oewc7OKcZ/2Ij9ByJXxjdoZc5XLlj6HVpgU3g6vtn6RMMiF2ul+yfRjLonkUMCRmCWCsDRfPrv08w4WKkLlj+ADEvi6tMQssWmeW9Q7Sr7sFAL4NLq9V0oddhdT4Ypg3nLlvK1FpqnYRcFWhBM+B6zrn1MT3q4JOZi51wdr6fGkaQMXZIpU86gzRZ9BfxePSXw+zXOarRX/gcIx2uZgJaXXCqteB0setdeLBtgty76/4HmiSonHjdlg6Fin3tvyvWBl1QnkGrNdw5gmNFwI9QO9cA1NZcei8840JOKsz2nLQid2fZ+4TAZYphgbHxy4Js55CifB8fJ0VZtwD7SJr1jbedLnkiR0OTT2naNaFNSD5WVIc9qfZidCZ9EsdPRpjsKe0maGVjqnjrjJgatpbLmzMiAqyKj5H6Pi4+CQvqJv0DlVoVHQFl+F/K11mxkhtm/x74n1clpItmpLMlMLyRpYWr7LBvZxHdtejxKnTt+aGPr+zLo+Z8yhx6QaC2f+rD3+qlyE4ZuGUqCs02XKmX52/7PznaAot2urnIa5gNo12R3S0LDgNee5FvaPr0NSb74EFbMFKkBcUdVl3k5Q9aKh6DkjQGMCgC6VPEyhUpalmKiKpHymglhK75KTOGFh4F6ie5B3qW/rXspdn/d7jdX0VsJ0XiabtRbOYonwwXAflewZm4OGKFzEj72lSgC7xSr2I8tdteQL6f7Dpx82ANIu6tNVaKJ+5j3LCQvQDXLbsgaAks3Q6dV8SNAQFA0jEXuKFeq4KEIOdOaZ/QhLUP+cZzIpv1dMhOTnwYnkHVGiNZvwqE5JTEP+0XPbXb/9B0tYSzt8TDP4GCG6hdaQlw1p+O46HMv77VJZHKigEdMEDaVkPMA+ajN1um9XnZrv4+7b3ihd8lJbgZjkGxznUjgQBdVqqJwEq+NF6VIcH/AzK7lo6tzp1zfVmYQ+FZVRB/WkW9Nmm2PdT//xSzrSVXyRh7O7dREi6jzrLtSakgpRyP1yctU40YftXjVO+thHBkCI/vTNmQu5gsVLQ1qrrBpgKJfkNAH2SdqG+sPs6StcKr/dsD3AAGBJ+ACALIN/dpZJ0EVq/4hnhd3GyvEzbhmvsR76gt3WbwZK0cB4OCecouESRtoSPJTRjlne/rGfVg6dxONHnxiNueNCIgUF1SUpsgKmuvMJBzcddOAJROwZxUezsKp1FcEdziscnQOWqSJM7U5uWorQCqPz8dwT0peSSDjKUjGGp4iKTngDQFMYagBdt65v5uh0inQUUJfCX0yq8zC+//OsRDkpyH4H+Rttn0UVeTyn651mz/YI8wBOiyXRaQn+UNIxA8YcrypLcj+OZVTBol6bqrRkDorwqnuJF25tWoCgRPZ7Oh/1mihFYFzJLOe4DbeCXZTEzGI7lqp3FEgzphr3aV6Oyrj2vx2Uu2k+zr2r6qzpJ9TCXKfVCiGquSChw6w5wzBwZZaWr6bNFKh4RDOghFEilDcZ8p1geE22HfNnMu2Yt8r9KY2OX33M29lRZLRFx6pMBqGyywr3EiJ4Aaf6gHTgut9ztj29iVUewQYQPD6nbWQPKilQ4+ZBUeKTs2cuXrsFlNYe0eOoJa2/QpNUZQSXH3hH6HBBz5+Si/Jcv9kEAKTBNJC0drCyfgCEqRK56rURFPlbeRaUP0AvRMhFZCZC51727V/vu5zqEievYI+C4YN49Mna1+/UZoRPZ9HSm46PTJrYBTIJ5G+RmfMlRJbsWHET02N9LigFRvvto9Vvf/OqmHi6L2oGSC2ABbhCTtOfW23hP6OSdQT9E7Ud/AqZv7bTqG9RHoptuY+AzbRm7rq3iHwl6vsnWKy+/wgrtHbTzUV4SHdORuYyQku31bdZztG6oCZqLDY7ePqdwNddNhy3/kMiLdap6ZqIZOjQroa9m6loqCXMUc9+gz8tICP/sAmKROwVGOylsvXVGKBBOZizmpq0i3r0Hhn0jXlHzCVCUg5yzrtYYQwuLxSNOQJXcSW1XR81F1Jr3KKTn6Cv8GxkXDzB4nEbPNFh63aR0rAtU7cvNLGYDur019HjTONPJWqyts7pRnbTda+bepD5gRmMwQshk1Kkm07+YC3s9hC8yOisFzdwKZpedLUxN6QezskmxjuwxNHKcP3VlH/t9V9f76ERI5NjaGLI3v8LnFIsq4L7MxXHqLGU+uJgy+J48MtK7mO4B/ZoQZ50x2t1sWSiUO++kQQvsQ5Cliqi33GuNjbu/EEoNzxUxnD04TFX99zQ4v5GhrhU7EZ7/nTadRYp42qNTDhJgVCXnNfiFRAUZ3fZBurqX5yuqXCj1Rb6qaSExiz145irClk2iLMhu4DaelmM0Mi+uN4Q5nBEJ/l5vkNVTHy4HVrdE5dBX42RM3ribMXq1AUbULT5322C5guuDRmga+WCZYTPMFsPdkwHBZBFidp1I1Lyqn80raYyq/Wxjrx2v4MzHZNnw41D/tV0MAvLHodcOSeai9cufflJ6rDrlPzrKCrxgKK2xKGKRYKPjx6tc1UmYW5JGEKoH6fjfQlJOwLI8q2NTwgGqyrtnpAKbxV8e23tVAf/aKIUBvVJcFXzkG8FzJQ2Bx9iz2qYr47Owvr2s5e9Pcf2fyRhsYdkTVa0xmREl1a5muTxyZWSNx5SEqnYY+TiIzpR1g7bYH6aTWPPop1pGabcasFuWjo0VqUMhhav1dzDKeSDiE30UIH6EhLJXxrnAs1TXuZ+dDQUgYUEQKNgsr/4WFVjHGa0f3XJQO86YejawWFW8Y8OpxcobbtVC8YRbDmJUUO5p5Fgdhrt5SWytKhKxE08F9TLpbscIGiAqU7MGoV6qWXIWp+nCW6Zcmi9ZSPD2nvPmFanxqg4etCqyx4hJG/fP6mproD1dgvYVDX1n5espc1/vGvNm+sEm7C7rxQS3DBs80ZQLcn4aHG5O93cp+LK1J9lyhczN/MgaX5dp61lcheJ0yTEPFTAT9UdQcM+vi/mkAbqITh8opjhjmVeXRHJWUAvM6S9YPxgJSefm2uAxj91QkooHIAyIKkVmX8cdWUNkoGSfoh+5VnzOT0yiLweQVatvHVXsiV5UBSxk4gF+gqpwsLXsvzXT72Ag+ACuQ5yvprrIHc2PG7IIUHmH8yYt/2u8KdRTxnvPIlv8bN9Fj2fOWZWEm5UAp07BuyumffQjsfdr3152b5Gn3kr3SYS5YWKa4fUhOQONB07lO3oVT6KBNJlnE7c1HrFi4XXera4dtZJ2EEO3G6l5yK1Dh7KVySUAdXP0Jz5+A/OtWPh/KG0Ix48yB4mDplOxH6r5dgeaPDultYUvDhDgXSeFNT87s+bjZGdbdYFPjTU4TCEGqRluK9eGjCssM7EM7t1Ck68ilmhCHDjOPOfg43/QKuRt690sZkU+DEa98TCtYLB2vz7JrWLL8llvN+kb+FGsu08bKGvZyRlQ1edAWtxrHEF4Z+dJVALJSgct4w5cVgC6Eo6qd+xqSAIkr1fOBRt8QQ2fjRtnYo3+CXVyvyrnlX9UnWlh/8Id8Pykj9OOKXKVy79BDPC8P3LXwpY1I9v9Ysl0Y/8+46E10e+G71XCjxjd3iZ09t+PCoJJb6ZCNrnB9iHWSMzcrcTMq0kyD1iw7lHGt6UCAh5xqUhKhXC3OTmR02X17/34Y9619C8RPz5mN1cCM1GH2uxc6hK88T96LQWSIcQ7/bJ3cknw5PWm616kWBJ1isD3Br9nkQ14XFw8gS8912NGOOv99JuKjO4OwtgYLYp/wFtl0/YutFBX5jC4Z55Z+arfInQQU5eLpZLYhuaMU07zuH731sRfnk5cMvBLhRnkVOPfX3pOSU8WfJR29B+iO6XrG4mCgmHrnwXJYJ/rYtjFke1iQTKWi302nNdgnxasasIaVV5nHV3ZcZMCkI+muzMW5UYWStmQ12P8Owcj6o3v2BTFJyeOGDJsjA58BvtAVpdtEELZ74BHqDcgXawjeUOee01Og9rc0LvZjWbenflvPT8uPctCfWRpNtXMYLdMCXioGzLfSSV/t7jXEhThhQKBtA+Jzn5sNId7eDGATgw9ffp5+0j1ujXcQuuta38pRg2KJki8eP3OSaPXvaX8bfIBMnpmdM+rn7j9zQxFgkMGgC5mJlSBQdD315ZzjKbbXQkCyov5EQornO1OEWIBhZ35vAc7NdLgENU68C8BsDpaHU9GtU42MZByumX5iPLWJ6scici/SpTiKwaTcKYwvCzAhoTVyDRkU5PHZfteNopCkr0swhpG/IVteov5+TQiy2j6sx4hhKvHe1lJ+aeoewMXBYTxQab6I0JWntzLq/wnY4fBONvxD50/uMrv/l9e12TnPI9uwgLlq1DCLZpH771g5a95sFKLlfb+Ri3tK6JDklYHWBgEgYuy4TOFrAwlcRYRLD/nyuUgW4vafdW0vvRC/yTNcvjrPoanUAX8PdSfbLtQX8MsQIyIapqn2N3D48/LqdQGgIGQFrI+cuIAYR2MPOEofaTmeOPA6nU9YdGX3o32YIT09g+3S2ll0AU/9hgGqM9hNfNyk3P8N8Uv7gxTraULD+c2f0WjE8kHFav6j25QD6SkZ3V2Iwpx3mqMDuyityAvfpYA+eE/hWH4KgHjCfmbf7+r5NS+OgpyuDVByWOuC1gbbzYBICzW/ZrE3lI7HPHjZV160ADL14dRhXOSyvE2gEXnfa+AFaVif77R+kxJunEL8pzuIJ26EPHJVzt3UPrkmhevXQfA9eVPTOXUatYC4ddGXVBrJgKyCGW+74O9tzcKVIhjMb1KgWlk+aLoeYX29NviwSeAvXEL3o/BKluCFgrddqudiu6USUQVbtIU4+ecQ891URosUEvl10acVRDWLddt+Zmg9o/DrUMAEf6CtU+aZL7KgLvoX3hE9dA2YjbU+hAJe+OM0NogYia/FP2SEIvbgWaOK81HBRsnYM/K+na/yPa74XFyiUu5Q4tt5TcUkzaii9Sx9RX3dhwkit7qNBp81TW9/LDy3dK6fgrGMqazkU1fYSHupeRLA+NHSeVit84PGDr4nIbaSZ4eNfCMzO5O/gSstxsw6p4qfGAcAjCEQLZKmIszpbGNFslOAYDN0lJaSGxGx1HihruLVSuLS6pt6V1PEbu1urjtdKWJYS3CutZnxbMm+DlS9ElXGgU4Gy9j3tyh6FlGRjBopvIf8UepD4Ir0W7I8xpSrFlGP+c7r3onrGBuTPGDBtjXHGtHSdOtmXn9qN899C5lrLpT9EXsvEV4iIbbevCslrhICzeOYelLV0vn7N4jqTLDhmyMe0JluR71YfuEG3uuSOrRZCSfMzq+kdXajLi5DCEjgEUma8Gl7crTNhyHthQ9uuqUKJJa12x5x1bivww7rzYJVsFpbjMgRN7MQr/aqm9jgxY7PEB9RhysxoTBvy7munDwIpgKVxk6A+mshaleSHxQZOqlyA6QwIMygx1pMBsSK0KpJ11gLIlf89VlU5Kr2zyfBAFruGcsm2ycYqe7E4J0OYH6Jeuc2viPWwvWAETyD8e66a3vHtFlb+Fr76ylhw4mzS+WSto8r/VFInUgxTOwalNx9dh35X0EctpPmTVkOFR5KejCmzpCswNqTEfZlHedreLipdgEU0MgmMNeOpYr7ximdwVu0CXvEtee0XExAE7lMzhUhAM9fRnRGjaTf3CvXvJ4UygjLRSAk+ZsNWk47dB9vWvBjOILTKMdZSwvjHfyGTq42nyBpxaq7e3VVM+cNupcTtbbGk0iF3c8WTk04eLsytJWTo/eSW+IceC6fyrUdmcgaOoKNV398wSh95LKf7qsTHcVfMHkfJrRGtaMtMpqL+Wb3rQSdWULzEWyukclTJEJ1/xZJsLaVA3KSTMyeBaAN+EsptGXaoqIqCVXQ7oL8qNmYM+ItSvbCO6Jp/UXrgyHmSmGWI8RVAkbo3CWVtLq6xftwbdVAgk2TvhoUmGSKXOkrfe1VCoLbXcwfEDYm9MvBV6PuvOywzL2808sa8+Cn9yrYf/ujD1KsGNRaDWekp4xI+6yvI1sJDRcN1QKLFjQj4L4YmuV+yRRG/WQLYZ5l4t3ttayJkaa2bWAPD6BvSbmSvv+1y8QlzNnFlErTCy5l76OLhad1ZCw5kobbij6JW9gTY+XT/xMwxJtCvsydcR67wySLlq3ftSLlSVxmqw3KBntc/AdWxFBWTWt3rp9zlbdHebYaRljqVQ0wYIyJHJnE0OsWRazoseer9ui3vEZaemFwq8AkokoS15IMfNqqQrZGuQXB++X51Lpd/Ts9egCvk5PNoAurTJPfPaFhgTtFd+tfbJgjwYPAoK3Bq2h2Ro1xTc8Ar+Fwbd6tZuJZhwrg3lrr0IUeUnr8i8YHMokc6g50rnGCvYrU0IS0BL75SJdN5Tbhc6UB7MdUrxy2OvhNrN1Tsp+AiNLvHUaem2/7NWG7ds0Rcv45hD863N4XEcdjxOfefb+3XTZagPa5BLe/V3F6kx+SkrF9VlXj7bHUddWaaXtHxREVT+C2EVi8+1Rcjnw/Sfeg4f/xvg5Onn/P64kYefyDkNcfQQgS+h7pj5cf+wbWuakwuj1orTvpWpj3r9kLcKVg913d9hlO0j3zIpzsQ4BYanvA8fT/UCSSN32MuhXrAu5J5NQcd+EnrWf02wYNs52vGltynl5XhTvuG6shFO2+Iise5MGJMdbFrf5jNbaUf0IX7QBh9e6SLEGChesTYHGOspJwBi1xnO7/H+slAfGKCBBNoH8rsEnpPsuN2rkeg2pj2P2wC07tmMemkaLYUG4f1JIjXviPDAYQ02GAcPjNh92a9vkg8DvItcpzyohzJNbHvtuLR0zfzi64krxqVnzFcv2M1BSlDeHnbs8L/yD85CnCzoDi43UBG94gLZEfD5FfjWUM+zj6AR8EwyE1Y6B4UynBt8MncEb6OCkQicIAz0Q75TOPSju8llzkTCIP5yHEnoVBr/ySB7uhsx71tbScITHK5QHeOpqhnP0t+CiD3M6K9/phW/9f+5dg/UbQFV3/h3vLffoLExPQq5XH8RD5nZfkX2VwMqzkJYkgusEbJ+FCcoGNYWZ7OnaE0UY5NdjV3R0f0eTpZjrzX3iHsIV1eWfCaWAahk/37Bfg8oL8SqO0NcRRU8kqPF+PIQ1f2cdvUEFpMNMe5OkIH3keh1XO8Tzm+MIKTOcof3xFXwCAHqVN2WpSpnwH6ABe0GScAproRgl+x2bRJ+0mKv5EUvAPP4tAOFLfjo8wUJV12ANkXvPmIBWghXPuxUeiN1twAQ0Lp2BwRlWOcBmY5rrp4mKMSmRgDZujVZ/NV+ImRXaIUZQO3gBcowLOVp8x7a7XFCFx0If5ZOLLKALrJdun4pALiHPk+Qa1qIVoPcS95ecH5xdq8DKeYcx3Drt31C0O+QQ4KPUgCaQhXHgN4HUSDSvVtPTQ2jWo+eCm7YgWOnUjFXxHfzgxaB4nGsOObBMK9RG0FMRlxysu1zDKY17x67IDhT4Y9Jnem/TZPj0g5HQ5+OInRSYvS95ubSFdQKyG5KI1CsZibU9UBnuxdoEteeNHEQ4PuxwtRYOX9aGLll5BFg0+cM9UxKB7KjmFwpUG5PORKBWHRpqVTpLzioFACqJmYRkPCoaDG19/aqOaya7PLUeSA/aPJq2C4eGKZg9GUC9rH5SpqB2Zys2x0BQBReYC+tSDAsh5qreGG8nAMc2q0WIpV2bS4gnxCq8VgaBVSwSL5kLfwXncoXBAU7YfiMjZA6NJITdNGTheC4hxIDcwL2e+sSGSqCYq9XXhTBFOnm0cmbK6O0eOQbknVUMA7+rYqUax/BR6UARrAX+7BRKgCbLo0Otc7n8FsfmWLKZ8mPAdOyCAC//j+rmiIFhwUm3g5DRyIUnm6/jX9cSF6b3jDV5fNozg11ULB02Nwr9i5qS0E5mQJaS+BBtoVsdD9TuiV7DpfSkiMYD11zsjWcJ8qWZrAPaQk6FawVbpRNX7z2ZhwYzBKbYdxKk58GhnZZ3fX3NjbVtAgaIiOvaqmUKtaxTebcIfx05PnHwWEVNhI4zaJHXfzZ1ZHojV6ZPO9a7j5yxQ/gzz63y2b34rtzUfnuh/YnD1VCAEcJCr9mvBWRSx02X/l8FF5+VwohbOIaez8zvqNi3SVAVGOiAu+qZm2OUON/BUFTMh4rhOaq+4z1oJJwjCZRcxnyeb/L8udWUpktKVvqwaY97duMDw2xBuCDJUjjmMQrsUcqxdtKPLgYHrAJKXPzjISikLXpCF4Wrmh0cjHfoxMPYF6Ehv05V8Ra4khzlg945HJ40p7bAFuBSYDvQ/DPJWonUDFUVoHMtqj1OHnJYIpGkZqULx6FzHTAzOCT/6pfr8NL399XYkcz2OHUpHS8EcbNSVOeGVEDqoku4U9f/MtLASmSw4eqfN8hATUGD67ZazTPp6BjdXCQ/CCw9et2hK51jsRRYa/eZrcivLLkm2ycd4Tkdz4Fm0MUEeoQ1GQi0ZY8PkPDpZvVByj4go863ptPukwv/fTL041bH+GDGqohxPTEOLM9uotT8O6URajZi0DveORY/V/+w+F199r1ItTXnKZeV3isFPnOFjMkUU+TChpvtZnCmfdEY7EkS4F2aNalwnveJKRJY1NXy4BD7xfkMV4QRsB160xDh/Y+bET/3swUHPelcEVXH+gCxwxb47Mjr9n0qwwIRJv3Eu8SVb4ydTNtP76C6tYlbSOJRecpNYOo+1kZL/FsJ+bRFLpQFqVCdHjFo8PtyPnPLOj/nIbTC5xDZWBx0NXtlYzdkI2g9LaevQQ8vQgzo158B3NLFORt4tmjAAGc4B8X8Ic7l6sg5QcpbfguFUIZVqungDqOkbBPUgxt5VtdYBUtSmacRdsKIvtPLc6f11HBD2WrnKpwrjoEMnKKVmy4wswgwVIiILvhjslCuNEziNb3znNZ7Ztd0TZ/bneTcRL8Og9HlHVNjfvnCGGlOH6TqPNcCQEPAN7IIfAMG5JGw98H+Djo8aHzudzQew4y5a4zpjVxuOeg53D4ACRTrxE9sCHSBAnbxmm/I1fz070Don8RWJwagqrGpnUDVT/Z+4QP17WJUTwxEV/BD1nla+Bn7bBTr/kxNpU1n/nc7qz5wT76+SngCqtUkbhXx7Ak2GOX8o5ZZPE+cRSGP1EWXTkxY/fFIGxTuNaN+FrnWAVU0rQJSqN8DWMKIg1h6zPCYz5z6sSj9fi25/2cu5VVYyi5VdwB4i7ySKPPMAmcGFZ4rVbVWT89MNEQdfklfpeGCS1OI2+SPUve2asNw/55yzLPPVKYc778al517yK3gn/vHduoXmJ38Ue7lTAk87yyU6xCJ+xA5AQJjOv3sAkPyCDfDfLjs7z+IZgzukDzZa22i+w1CI/LCo63wP25Q1hzEXjroXpPVB8Lyt+35hrNj+LOiITld1gpmQ0uW9jpD+XLCKKcE+ElP0Xp6UB2E0TbsIXvktMpXlmFmONRlYTOBIvf9PO03RT1iHtirnMhU/sHyZgqHsKPe35pDR1MvG91AZFMYaoo0S+LZTcXxMDnuGoVyFeej5XbzuCpvgiDtsSULAcXFQ2YrVbJlhWhh5he7/Re4QWbTHCmWD4wy6JUoCMt+CJeCr/R6LD+OPqa6mNWZTM+xX5AjJ9Y1vDVQzU99Syhjrt1CEwf6JS372+cXIKMcJHfQjNQDNjPL8c1xOJcm1Ltz9G5AdoA/kq0qnfr3B6IrC1sn/jq6k6v5tibMrU+vkr9vfP4/TV7e7eZlP0/KI33RsaHGPwsWuoWmtU5CO3N5c5+qThtSUX9oqhqeZsQQUHaTxUC4BR3v37KkMbSfk7J4givaSvmsXlzFNWlcVe3IdVikCyo1CatnQiJVEo+AeLVROwMG20AeNSp557oLyJ+Q3kieqPMG6i7I33sG6NvX47elUtLPFGjMAWLJOKrBrFmOEmX1oNsyz1x3hVPL8kFj3Bg3Y+dhRLAGkQN03bS85sr7kd1O+92eIzvuib1QBpUqVda1+35a9iPyhgn92gbs/G6TaMG1mT2lGUuKyv5y62zgL8V04qzIHq+yhg18merwlHl1JUDa+DGhcbTcaIK8x8Q4sNdzUIpcJTCKBVwFVV6sD5XSlA/b7rk77ia29uSStAZOD3ZjNCcLBustslWXWPmto/LXR6d4weN7Qw3wad9qcC7F2J3Tiksv4sAVyTCaMTv9Qj+f3ZHco2ggMS5P9q9PaIpjWHDJoMnegf9c81Y2Yfpp3DRMAvkzVLxq7AgnKaRzwKhxIQpwtLCvE9sdFKFnPlFx22v4OPuy2GYgrbmYWX5EXsI0ExeN2f2hNMXoyVvARG1nvTb2Se8P/ybg9rZU/f4gZ7c6C6aNMAy1qVoUe4FxX9CWViqhvYoOeo+oqL8BGngepOdK4MGOV1glY2OUjwhAaO/vClMOHLCm6Nm7SxSvHPFdbWxmxs0amhEp1mwybeVSZDe/upPkMEt0TJoJWQtYM04vMEgC40+EMk4NADUPW3Gz/WhWPLj9Zd//jueD98SJXn66YrtW4ujL1Z7vie1vZz4PaWWulNb3SyLeVt3CFFJ3jk1jQEFhKgs6awZXD9tOzIzeAtIVdUtVwGVHUqlw8EKDQJqKS/3lNsyiN2KL3Iz7LVHWKOmenRwk5IRYLRlG/Z1ha7bXbjz8Im+j7TRDYMFoSy5QWbLWMMWaPNiTNDMLV1c3TuyCAweGVYSehwXTG+V92um0w06O/lSQAyfvPF64Aj79OCnn9LF55vW5UDR0YhDvVxChvqmrY2+g7fLkja+nE2WzzJGZWtzX2YBBz1jk5hDNnlnQOAwNdXFmGVJGuVPEcTcgD7+rIUx2IMo18De/oX05e7OD4j8lC3884AgcCSYIFxAiDG35blFK5kBmKq2Sc6NyNvUbqQBljMTE+6RWdyC0NwDv1UjAHtfR4Vo1gzSY+s1DQwYGXVHJwf0Ject6AcDYzaz1u0RM6AqcOgyTkJmdeNB7sHjilERtOlAUCfvUAyOhuS2u9g68/KDt9jtyT/yHlFA9W259S5W3OpybM2+Uh07tY0irIF5Z6Byhy54QHw2jnt6lgGEJL6P6JaJmzLiBBDsujpvNdYl6WdrftIwbfm/pO5aQtERmXhQ0djhvtTTxeKwsbCe2VEJYBxQwhX+zpFQNBcOZ4z/szV/Gi9ep9asIXKPfPyBUNk0U07jMCoZf2ac+mYRW1vK0J/QhbSP80RqQvy1fTm0cO6AoTHHiqRE6XTaY9GliSf+kJ5Zc938UL0+eXnC/kfmiocy44gMZczYt9Hz3HNFJVGe/K47HJklC7m9IYlXFMsUf8lRmWhbShCMZoiPBTph1PSkY8QQSe2GK1pBYQ8su6cHhfIuXVdqweV6tzn5nLOlBCeTBCI1trPweXXPEhfKby8Mg98iFEGzCqNYQ1bk4XEbXdcneyc/N8kPcYDGGR3r06GVJ7mYZJKXrzlDmCp2TumigvITohzbQSb/z/085ixjBtaZAgQZxXEWVdel/G1PJmQTmTjEWNXfk7lWUbQbg0HqIyCPTE972S1PfNaF31tR++bvZGwCKXZcj0sW6WiXHDKBs/CYxaocHfWUxzNcq/2NHij5fcLO1qZcCC2CbHoG5D6+tsIAvEy7lzGmT6UstvPh0gNXSMdC2G/CnNCwdsa+DHY4ZWWE5MIzr/hCZsdkbN8vOUQfYJR+rOi5+8V+VGUd21Cm+7lcFHN0QgIJ+Cwpk+e0EFkoiYkJ721CiaqfCd1zs+SIOHq4onuxVE0F1Nrz8juzLKLw5xTJUB8Xl6Gej5CzdhsolWuQLSwix95hrQ3K3ng/6VFlssSjl1O0RAwE+PxCrldh6dhdXtCEyvzMDIaBZEZ+5AKXV03ImI6VidNQMNS+2/Tmyqs30HcV/hw0e9O6Vc1/SRHO/9Xn/d9ayajkd3Ciwp0mxci5XeXiWa/bejWGy+aZCz/UGaMu4SGxMiTBbMy3CSAN8dq7XM/5KL4IH0M+5BSqT/q77eW+aWX5iZv03bF3RxiczvmnUw/noZuLPaUbx8Ne4yDLLDgk8wO4KzeQWcGg9SMBQD0Jym+BLEOQuR+4e0f0Q0FJ2+dSMf4Xn3ilKAKFidAcVS54bQiY7Bitws5zR+cflzxu7+Jh1I27zhDTzbQ8HIE0uZS4UAXv9ZLr8wvR6R8lg7iiYFBGqqPR2J72wQwlicn3zIm4Q9pYLa747frIkHDBp2TA8A8Pij4VRAyOIBMHqwHXjKL8BjguZGYySYQDJYDRgPkNIve+0O/3ZbXOzQKXSXrTq6qSjly8UpCsp4ZIs/iiTpKtIpzencMDluLvam+glMwKJw7j7RWACgN+F99VZJeW50BUtnL6T8R8yX7Mo4uG7ie9llnXYHA3pDa04xK5oIie6xaxXkUb/ZMH1YcUS8v9MNAQrR3TPQElz33K3vH58BbCu1UcchcKUmgeFRdcnExX94Z859ImlXYnL1H0ViuYBz8ZS8Xuy0fSBs+OzU7P59HNg2hwG+zSUEU9ENCHqR5wc1ogDUPpm8t9r1EBAiteS5iN4lfoCQt1zAyJO8H0vhBfajpLrlJlOXREng/6AL5IG6C+OQ0s5KcZplS++xjd+8jixSToNVciyPeMIyPNgrObNYOxrazA2tbVH/X3VZIhDrhDr2gKDlTSDhFv6Ce5P7LCeosNRsJQWzAIX8tg3WqyVVw2ajOmfmGOu4O2Pd6F6a5VkBrKPj5cBOsemJywlFFwqlCqF2XbNFJ1hx53bdZPFIK5DDu2NizM5hjgvgsXVkCOS5t4hRo5Yy3gvjIUoMykXaAxmxzgxEVemMssFI4vBJu9NcJCIOYlw1gs+L46RMHOynhabbdoKOgQfgpASfu+gS6UNU5WLQaTJ/EPiaoHGmRXqh7gUO0VJW4+ZSaPiMd7SPhu4Za+QAnX37pZY28LbSpWgqG3qjECWmEuSpBuwAp1qfvgrvoAoQfcXeXEHb5QW2BGwrWSp3M6CLIjUMqLZewBlOxcUT+DpJoSL6uTG/wHqeIvQBYGe/p1SxIDeYz1HlBnA2S3qbZtCJXT2TJZuSg2CWyVz36UtUXAUPfV/x7NTYPrAiYFYIs9I7P06Xql7wGDfyPy8oOPcqPGUg9Zr737GCab35Tknd6HucJLNtyU4EusT2ihh2+sJocYBM43CFwkMxTlPx1Z/hCluuGuauPrMvAy7aJ9TIrTjaahJ4tQBVsS3cDpaNQctrVobjb0ULAQ/msgep2TFZOwzSkFSUhfAq1P2FHfrnBqIM7XGylxC2C6AZd97DxPk57TUcgmRDofrcgbnzccf7CywIgrUukp052gk7ixiiAGwqVfgKkp/weQEMzDbGP9MqZjk66/SMqQOVqcBxXv08I3fnc9bLje7m7I6mLPWF/Eu8oKTNDDEr0XYS2PeOZrujQQ/RXUiymiaOiBe3thtdiTs8+pZdYWsMzoUUSU2QUP+AsKTHta39DanIKXrb6D3+8on/VLSnlsqaZf6rd/lbS6zAEEju2oB78JdVzhpD92Lri9Z0eygOYk8+m7+2YDz4f7MCyxjvZCGSfs/TfxfVk/FnHwusyYb99lBf6jpItK4CVQpdHVSt8yeXp+K8T4FOS/eZxCJDFcQmaaHw12lxsr2hc5e+LnPbVMDme9y0niZtGgOYaaXG3LpQRqxdXW8JEAZ42FV9/LnlzhUf3W5Som8U1NoJm+WZE0IBi1U3EtpcEVGTQIm91WcKVJhqLAL0XhrwJebPrJu7WDv6LEeAeDuvk+VtFW7VWwKUclDM9w/t9u/3RyVbRAurqqUZpY0BRngUAxzpDpIfsJnmEvPb/iVmeKwTeGqidpzZGBGqx8tQfYXy2QoGfd3UXwxQveyonAGf2Fjp3m3n006DL86v2IBv3eCNVtVMiSq4A5JOvlefXAbLsGxVS2mobi6vLZWEvaf+lSnqKc4KsBCCDruPHUWyVQkbhgTiGea8uteq4IE7EesYMunR5kLLKp80pXzHvedmkn2KRzca/D3qen9Rhd5sdyqhNig9TrSkIHvY/J7B56V5qERdmP635DBQM/3SghvLgO+arhPbrCGQLze/7WcAkvk/xS4XNzG1sUY1+sY0gh9BHKkwI4n1fI24Pi8QreQzKmroNoECPxHAdIc4PItFEDORMEz5zKpIeGoCRFyF7k4plhIyjaEuMEDu4iE2IwUzF9U3LyL/DSKU0pmS6V96A3A6j274ttY3MsS56Xd8fTLYed1E7ZI6lkFqSBJVHXzkdE3hO2cFZY+YEND/f5XpH7aOvejtavLcprksOcrRng7bCuESIjNd/bA5vh3tSmluGmbD+GR24Be0wl80FnUnJ4ELAeCfN4OwO/HsdLaf35SRFLZHzv7emPpiI0LX06QzHUE+jhO7xjdanGjsDMLVxO/x9wPKf2AQSJI8et+FHpMbjCT1Ur+9x5fLXkweNBBtblmyBxWN6mU3B3h4ZeNSZHSwmMhSBsAO5XzLdNj7pUfGqMi45iLQeIUk04XqqNPtYsyu7Moib0n6hikqCX1dAJKDvw2Fq0ED+NnZ1VOgvGMk28FU3XMBlHgOx83SWCxE8xKbRFdZ6bonp1FoI5zLWYrZ7Y7L5sGTtUNTXKLX+m7I0BKhlglsJt/dx+bNqoB0E7NmGxKIyTFQVH9AsHQnWYTPMdCIN59GndW1yAyjRwEYIB3+ebvH0s5u/4v95Q+UoUctimT4/Pu7txgXVW/H1fxMlao/ZgeFCKASVKDxNyQTrprkg2kdVh8Y8nHq6Qot7tJgqJDrQuFKJmc1NTqNFciYDcm/3JRXKX6cLmLQNgB1TvOGl+rbNzW18/2ea6ge9HtxJ3MmGg00shkKbS85qo7CnqpVTCm9YdNqCxqsUaxyKiPaZ973RsO7VtSd43iXVU0D9f3ncqrdvjB4u5NGAI3CQRhridzXEyNjUsL1fM+h5tHQ59nlW8CPE/jTLc+fcDhREfYHE9yUg2PkM59jfy6+A0P4UfXatdbop9fvhoFCmuGx/lRgBd9dSNGImEhvAB6zbxnASZLbYt5XlLiU8hACua1SuI9V5O7HpdsICfTaKndosFx0xtY7LZi/kc2cidXKVL861ntswXQcfCx+hKrGrYXRBQ6Spq7tTZEmkGuRU/FRrqAT1l4M8RUJZlPzRrkNkln/nMZDSJZD6Lr6k9Te59fgY33Oy7uiiqYG6DEyFIpodcYN0dGFjO8zvif+1nf9aNN5ssDxNvIexcy3kgEalCrsP6WfZlXF7JqAzYOR//OQdK6PTf7RjwZqYRectscXkJdBdSSqqhhYavAV3y3GqbAByWs+qp1h2TwbRLZJq01CvxwLWiTfCo99GzCLhHba62R9DTzAoyBLW+Ru6ruowS1AxVRhJWbKd6S3UOaBySgYrP0R09UqSmz5kVDSRtGggmRf7d8Dtaf2wowPB41tZIg2O6/zxUUGRZXxiftJEaVs8z4UF+mWvKd7vBxRMdwB/MMPo5k4S5FDGIeqY4D4J2BYV1xJAb2MRh/a+Nm+Ygkyl8SAdUV0kF+h7e08ey9o2FVWC64fOe6OMGqBn9UUF5ya1lvVJ2S6BQ/1JN2Be4U6wHy136KfeTUZARPbSCaJFb1z/T9l9aAuMCH2kJwM9BGp7dL1Po8o+1ANCGOkzrIsPNhM6EKtmeDhDZ8dtlm7tYT3nHC8PMLQjPzkY31jo18YW9lpR2NPue/H5B3fYTEMXu7SbNW1mgxGZGIv9VVsRW1Z9MwdhQ1HyotQDoNxm6rTcxLTHMDDY9y/pQTKiOoc7hsSAVBPEG3vMQzxympb2YmXshS48+OkgfhYY+y8njG7ogznXXlN3GzW4/VR4NbrJfNFqYMHNqCi+Ly9all08jl5zGSsIGhHqM7M25GGg99Vv6RnsCjuQCPCDXH0K9NrsHfjouNjLsfhqmSwaIEgOk8FVYbcATeDGLdGBPCYhsKhpTXXpjPGAyRKuEH2rbI1prKhZslJZLUJTNdObKLVzWvNTxhLKHpUgcBlSlEhyt6oUJCt9qFprUc+uy+GuEMieEs82CoBjN0CZIeuAJ86sd9rPWaSKk/hsS+xCoYOJ55Mm8YzrbiOHtwu7OgZthEYO0BPqVgUJPhpQc5u9KnsaKaXo71Q3LPNqxEJCb0lKIDG7LVR4hqiQYPBtV4LwPORqDSiDFaOyoQSXgaLNrHGyAg/MoF/Aj2virob1lQ32BqWIkqux02J/PSsZU0FrJ6iJaoIpoeneQSyrnjBc4S/H7Ax4JFqdoujp8rZBLhqyExi5i60V1rNx3o9aMRNCm7dWrtgBopQz3NShPQrzID9pp2L7LFBKsp2sXdByvUqu+M0UV+6MK0mT+z/O/8oVX1GJ1rlv1urCCkAjqpWgG+yjzrgLiE204XVJr6x+j2LOu1MxNLWSLc7802dcJdbTkB+obLR3v9w+wQ2PKEIx75P/nizdwg34g8KoWfXplgt9vQbG9uBcsWcbUh/Xr9Nai1xXBbrTcl3h5yOuA5/6IXxJS69g52vdVnvjljkoGlco2+QzLmy8Mjf/PjvxyKGX+WCu7XU0zPbD0b4Lr2TJ0lk/VnBwkRbEhxJiCx0HU1O/2IlDHT4WWtBM1plWmcnCqrtRCgpvcXy3qgV5yipk6J8jJJEPiWOAWRwlEvehak7wEUqIN9hv5FAC64bgEI4PSEQ0ECmmbYREQ382YLu+maspoF9Jfv/lIXvC2idb6TUJKUOdc2qWSbgaA+j4Pe2ageelp3BZxPjB5d90gbiEG7qurKw4xfORSWVyuVmCipJz75HYtRJOo8ONcC9k7iY76iWyeWE1TKEw4johroS3xlN9aI3vdUuYJah7zmNnmr2kBBbDBKPbhUwEZc0yBJCZewdXrOmoyaXHpfWBLmX4KsAcFJsMA/heaMRRQN3DQUnDSKXewzanxqoHE9mI/RXJUB4YDgvlNf2kk0/s5VhEcIgvyg+vPZREH+/FlGH/D5pJs/OPYifQvDG2bHojWqgEy6yUE0z8CX/NRktKsrIFetDepTsgS3gKu4DMHEamVQZXdtSxsF722/4RKtT5ikU2WKiOOIAkP1vJz4Z++cGinrWsyHtnDpMHU1UDIRL9Sr/b5vECqqZNqg2tfP9IpwZZurK5cB2moIgmaeMfqUlcvDDGhkDhwZUFYubL6krQLYLuiBNLIAumrgve7tfxsof+Ias0r/dFIBW1FMuM/AAHjfps/ZeBeRNDrALoDaBT1Rx0AMXnSaV+r2hfdgw1r88aiOKdrpHGT7zAt/pC0guYSsLmD2cn8mdxAuUoZNo8pVp7luXTi1Z0tX7GkHY+zpRdS5tsgAzDo6RFTkt95Ix9CGXa4opwoYIOBB++hReNf0JYE40vNxVdy8yxRblfb8k21vWK3lEf762+4if5FDlC1/883BRCmC4BR0Rz/jjhTQM6EW/9/zIdN3ERN9d9cv+7wW54WyKqw0Td4XnZM45d+2D5Ei0+s5w3/j5mh7en5lV9iF5L/CZpraZPppknQQGIhuxtFDp20rFv2eTfNTxw3yokbJrXNwGIBxouM1i1M6mZRVea5gmN5JOdTeKSsH7wgjPoPkfYEdewhWME+AmhS+euJSvdWymAjq2i//OjNuv6DYojS/UAhGv+umkxw18jKPExp7SbuUyWI+9woBQc4Cek3Mkp/0rxFZO9yfSDOeNe/4UIeqtWdtSgiLHBmeVg/B2EpK7dT6GG9A0zJvL114Mv/7pFCXGE73ZiSXUJjmklfWRkXtYZmUpclmVyO5SM1Bhv6uEOvnrgsYb0gLxruo9m3/HIK+K0AdJCbLngQ+4LAHiYggtFgArgCCElkE+ATRih3dek9kBExZPEk1OTsOm0gEhA348CgL4PwOAsDyZNBQF0eVAR3m1gefKqGqdzJ9j8Tbo2X3b9HcS8GA+bk52I2VTuIpO/ERzDlAnRmUWCpIxRxY7eLiE+TO+R2F88QHsvn5z/jILUQTSqauKq0fVae/qBmLpuhHTKsxB0sWEll+aTFAkPk/0u3dC6bWihXdaeMM3y8T4Y7CHBtvhuUNZdrytOnVKzjpfODV0JyvbWelR5QUtZtr5zzZH/r1rs86++eiETndLImB8DxJIau9Zbi8hMFSjNpGa3Dd5XvaJ22BoJ6W10yxAzWFlCFQy71hhB1+kir/aXOm2EphrGpCh8J2xODsvQpSfyozs41E1tbclfxHythXlu5/ODlRLXKwWK25n01voFkBYAQG3+Pi5lcg45H/qb9jI6DUPuPoxyF7rvYlf4t5l+vD49RyC8NufOJMOeHJRsUdViYDMnskjxuLb3R8BgtaEn5cQ4rrThz6w73FbBnZl+81K3/hzG3hWDpLUK0e9SMnF+/jJ/x0oh8S1VNbDPzB9+00qKD63qI4dD4frYZcJwrSquie+Lch0g9D3v5pICOmu2bfJmDsq5OC7Ysx06hmiKM29G2CERuUJi5f41f7wW8+rLK9Rcv9BuMujJPJDjXTp7Uwb9UiODjai3JRK/LK5yWY4cxChpJGmR8FZZ6eX4pjFdEqMXxYiMGVD6vjKxbt0MK6FsQITvaStP8UgOQ+FYzT6peJqLzLlvdf7QybAWJOi1yTsw5n2DIgSo1VMwM62cpCe78+Vyf3DgR3CJnV7hWOUrjpLT+WY0jYc170k4WLj2Tzg7D79I6l3x0UwQoCWPQnG45ag/0ol4HrEa04T4sqO2FXEDo5qpJv8gRt5A8kQDr+SEGvK5651+WJevZvTVcTT5KDoD5VEc7pDZDu6lOJmUE8ubS+OA06S59n4dCu9xG3ghFSd1lZ29G3AWNBYvosDpv810IqHlxTTc6boZJTSS32mfOcVdlHXH+nconKn+P0HvA8c89CCwp+gM4QKoUhAdLM80wAK0A1uKYtoDwODuynhcVYul2fJ/gcXtKyNjI//DsJuPZxQS8PkLn0woX3DPwt5noYVg9Kb8xHHO7lPNA8pIC0x2Fxetd6BjsaUADPUhupJQOwz7Fwi7U8dQd+U+NkPi+2GlI2yxVLgWEAowYOSbNTB/LYIQs3zl0ux9fM40xRZsN1BSLusJNFK5Wfrs5aXzO1lUgrngx135XABPlzt4Hi3jJXIJ1m2x5q/tfd1upHxf731WtJ7qR5O6HMWxYwiiuMTr6unco2BrrhAF2u7KiybewZUI1KAXiGVjK+6dO3GNJDxRKIc8N6cKpd2Gj8CmoOkonLWLrwZtsCnukgA2SKAETlZtR1cnS2++gB1U6QGPZLCmtXxff1rCm+T5EEEHyK8cWty/EbtCuqpqty0AixLHDEQfO99gS+HmfYR92o1Ad+eangNieV5MiBA2bNZ4W3yyTqaBXrGIXy7XQm+jGlYEYwSX8eF7lsoXRmo57Zw1mYt7+U6Y9bd/K5QOxIyNa08bMw7d1a5sLBG76J4xUwn11VWaaCKVniPb1hHacz8bNTim9/VzWL1iKTl/yPRFEvVWGdoSUa85zVq/TVF29GWI+8vxONpN7/fhlpSY8cDic4ggJXZ3hweX6DaU8UdXIVIZKxabMSUZAjmaZ3dTjs7TQYJn8C7aPVH9+4lkZgj+Nz8bUT6P39N7dA8A2HvAxmoSEwb1CXNpzSTwqH7Q1y74M7ma/l326CEGSDyMEOwVignAdioqeLtW/dzI+mQwylb+zbIplajYSC7uy0iO1W0IVIENi/vbKw78YiinsrrPy6yAOomJth39QTaWfY+/rzZQVY9Fv8ZhEG+w9qK9lRMDZuUqG+4tbS6E606amK4QfTDvxJntpwZwuJEN5SnpdMsIqDkbAakbJ2aEkVnj5NRz43KoX4I7y3SIl9t1jQKpVs+uIvC/Sp3ncfchUmT2f05CLaYr8bB72pMopr7V9VrpPVRZA8pgKruc5EvhSMx7QOJdY1OPi5W2S01o03kLay3WqfUBT7rNRHBbe9YnB150OkwZp+MqlHiaOGvES5ZNoSyd0InVy7cTVa9sjmxGujIdG1rrHfwDXMsUdpWOQJVt/Mui5NTrlz7Vuq7Vgyc6FkjrjDlcWmkAV68+TgmYcvv9U2dJpStp8yJxRTJk3U7jU8u+A/Sk25Q36/uy+4c0RszLHMLxp/NtJvR7osF3Kw0KodyBQWonmGkIWxfe1jKy3lScRf8/bqPVcinP8MEGWfWgbzZAr1ZAuy8cY20Z4hV2nKl7yCdANNwu917/FU2DQlwOSd05+9AaNF5HZiy2VGrjd/3JuwlEr2jeQCZrv9WwjNzu8tA8ZuOpKXCRd0w40pVzvkhURrw3hMQjYjdvDew+36GABgqElStfyVuJDxbqEYKur8li3WD/TGmajsoAho/kzxPsjQ0dTH6zc3BfR6OELkGYDUBgIX2aMD2mSSeTrRQREe+dgkmYZcC/TtijNC5fN4L9xvugg64KAlB5X/+/hwcEJW7Z1TXliz0TiBo3pGJ8wYwdOhGAejZcR1pE1+1dIFdsQYlT9bmLVQfXXEeb4gsNpmpTyIqK6M+REEiLekCXg08TpAF9f0hSm30TPn4Kv/aLwcVEmcNRZNf5baUNORRm4yCEVm5rNpueQe+gJKZoC3XywJx9Y7dlj63TqvuOnjpuCYtXqKKuSFyMf12LhoGlLTShQ4LdHHguxsSPQi9tNEzWVqKnbGtLaYD0QdgFhPdiEwiRpzUpr81Yw0kj9BfwMefEiwyGxFkf8zW/7Cf43cmnEs8dy62anntEQgfU2/IJOLEznmp+4LzKpnMK6OMSmI69l0kvO4xAVA0JSTdg87gXW6vTcS/FhfIsHF6YwhDuN1CcdxZHaJq2K+qs/4TDi6wPY7oiVM9K2xSKd36URxJpZDCaQETbD40CLCzORbIm1ugz5L+Dv3cjZX2klkg9uK3Bon6YZ4pkzJlnPZ9rg7JWKMQA4s4spW2LePDOgmq7oQ6cAUeENXGSmTd4wGf7vkKyH6qcBx0vxBd3MIpE+KkfDJkAgISGRkvhlHoaI/SkXw1zUXRgEACCFtV3Xl3fLdepyg6qDEdLK6BWe+Vn4mwbus/ZZ4/3sO8Dt9CfxpQfCL0UfXEpnUAHqaAOLSlCRzDWWLXhZPmxbJmm8tUy1WdCXREpzarnBUBTZbY2oJ/TXHbZJT/TWexOs/Vuby8ygICKfHvEoflJNDsl4eMhYde4ZD0q2qqGcu6ZWinlsBCNM34uB1OGtNxTrRybVBXMEXTw8Tr5gx7b5mDsn9DTwVnQI51z/1DhPpNXOGHJ89plnl1d38oXewjMnp2hASTDzNSrJBlM0lTtUh6n7GxSF4ida8wIlHg5Og9U5bP6scWyONl+PgiK+ECtw1bqUhBx+emiYfxp/cvz2BGW5j+ze/DDmQcYIhVx9RqROeCp+D9XxDk7p72S6e7e3zzWU0WVd2oY8VN7dNiKdwlq+bfR7jTuyhSkptCbXh5khCc/8CPCOKsOVf+STLJjzsQss31kWMsJX3sLm/IRaU6b6kxvzzwAK4W64O4yfzWmtz3XNVzbj/wFAt30HWTAI1NuGT2Dt9+zMtrVflmcwISa1lrMYldpQ8zCpVDrD/rICadVGbNfyNRUDH2DAvdr1IpMTMCkRL+DRELRIDZxThvDiNFvaVEf4GbGUmdsmEVWW1sPS+AHadRRTtUCi4FsA3vyPyXRvOySmYZlC7fNrzTDyxmXVwrsu07oS0yyj5ms6sQZ3a8mtYb1WvOVpIHPEPDAC5HRIRkPfH5bXEtS2Zy+XjusIlE861wDB0aNi9KKLvMv3W4O3ejUhKqr+ykTIcHzRS8fmEC97pWZMeYc5YEGVKUJW7Oh4ZI3m3vUGiGce5wMfE8OgonoSDkiivLZZN1SxrRgT153nBI+5ZQxgy5jTrmLMYYJzCG3c5dtbQZQdFq22ZDiL9nTDC1VXyL+L2Ih7dpk9GlWkOigVR6XeHKUbLPBF+n35cYvceknerdCaWR6guOzy9GYqRkrdpb3GOnmgkPVUAp1COfCMCdnqEa8iA7KH8Bems47czIFNYiopieQo6vR/XtlHkyTTNmcfzr95jniTJc2+FhFD8SlGUesSexYQDmciNBZodi6o13fHw3IHKbB16IVu7xrVPcktuZg2XwDkMO26usN/lQRltkimTbFw62fUiNVN5vuW8OMgbo6uXQczn9Oqm/8tRnWsTht+5NHF46woqYz/9ZYHVLbPpI+Uc9EzTdCT95ffQHasAxIs+i9j+Yzk690Im5jpkEYkSCgMNCaoYAZEvOTYAN18exSNufKLB2Dzv0Q9n9Kl04+onVoQxYxC+3JS3FOEOmkSOAbHZD6bntO1g4QbN+cCB0VKwbERI3YtBIJOZmBUoOxfRst4PfqnTKzNa75skqNZB529Ql23Nu3n6FNtl7et8Cz65i0pTEM6+uoAHQgdavzj/BuJirKEl4CryGo7sonN311ukP4kOrlT2OLnuN5DDxiKh+r6DZhIu5um01PJHIMfXZ6M2uT42bq0Ywjmkx5d4HtFMJGxNeqRbDfT4em4+ilfiXT1wKtKsnto65TBG2xllrJO3pPB1z19+MDxQgmKBnrwNMEoEXhSxza6A8c2hKCB9MVKxxK/3l5QHBh03svwq9P2PE98PDDl85LQX/jCvxaJkLdedJkuYJVr5alewSCso+1r4tXGFhvw3b9FumGphAOt8m/kKHSrt41uxDbUVWRzggbONq0o8jrbHfn7DCMswodAJ6lKAdvO4Uv/v+5R5JTCuMxF6gEqPiVT26M4P8Jd4mMxM/FT4obQ5Cx99gcCHmuEguf7eoUwIxIY3pxFYFCDsH+8lSxyYKtn2zfyLYYMd5+mBxaiRlNwyyVqI8XbrnX29eAcsPfg9Muzb1A3jaNt6WEsPAjm9UG+vU8JmRlJIDtne6NAs1OdR82wAp+zF4ZghHTP85Q2QCP+OcIeAvr/B/+Gaufx4CNLGfxZo0K8RCQvcFqCTkttqH/47ehRrv0n/aDgBVIUjmMTNOecTXNyUdRqHFeMHrgu138RPQ1ZqzSJXqrU8bhsTg4TiaarFINJuHqQhwDWilWj0bMJ5T/9vXiKcQeKEX8y20WyN9OEkViScH+BervPmcz5JBnKiEAgXWFsaoaPK2LCd3ygb08OcMdI566DtHntdtIoBTka4a/TKowXu6k16wteEmhqlSV8i/VwL+JMPrh0gjFUGwfiOIidAH88fKrVlqYjEC5UR6iEmNAqoTnH+nVe+lsCumPXNzQTbZgwxosCnlI8QbK9+wGzCiNc4Z0smV8spNpg2To+gJMyU9LYyWTlHlbK8x4S//mYiNUCbVou9cIZArUVUaR879etHDyYxLyzer0yf2Ubhx35fTnTDPvSKIT7FsBBsAH+nFcMtdcxg8oJ9wn4QZ+DbYllc5poGT/wNhhl3tOOmUiCPtIEDFt8X6Kjvr4eUJahHBU1Jk8+8Ak5HseIMojcC9TOrBdeFBCb+fsfqsniHqvWBFrGdM7iuBoQDsLU62JNvX46tXd1rxo6YJd6suv4DzxfVv6wK8q6tWNXyFDizSOqEKcXmLg/Gm4F2nZ7FPMHJGE6kDVDp0xSbHfi2tS199ge6xtwvUcYgGqpnmGP2knGyQ9Qlxx2Z/Gu1B3/pJqfQKHDZc5L/s97M0N0h7Zjl7sUnIPh5TkCYwAv3Ep9oQPtzgm3oQS1aVo/ArOLQCMH38K9j1YiKh7/c9QFYniBw1RPqQA4trMyeetjSx4ane+tEJfrc46Gpb3OHlYKuIbhexjMAAsuGKb0S8SuVBdPHBwOKyGzZUVXmI+Q4EdcGU/zAB2R6aNTDockGs5XoKvI7J+Xrr4ELJ6UViBo6P3/Pj5wyr2MOBanNh1Sazf0B9JWm1XJpM49jyB+bVoSNcuE183VZajycBCwiIJs2ZxbHqMyoGPTFvJDHbz3hTmW7yEzlbxYZaDgIDmH+yXyUBLaT1RaWKMpcsLZd/stJ4yO2Y2zqbu0Ec6vi6xDbK8xa0cXa2LVctE4Hy5OUSnZq4o16br0uwRa7oLDWCaotcszSq0Q+dJKwtXX+YMPGCOxZ80LnquBVf/VsdM4b7tN0V/E83DR4PCMpdmMK5p9o7Pz2+c/gnLHznFINGJrNxADAkGdrBPB1/8kFaBy+LTQvKbIfd+ytGM65xhADcK79GaD+toRhnyyp+LfFWSiXLFr+0XzLHi3o7tY/DXLONkI7ADMh5fSPGYckTh2IB9iAJDV/m23GY1MWouVe//ZMr2QkWxvOVdKAiZdQ1CTup+nBWVOUnZoZRfUQs0ov1DUwsN/K5FTG3NbqHrQWPZ+ydM+RfnMUirXuE0tZTlcUibn2KP8Cd4FZVospaaXkLyteakPqwkJi5wfJybz+A/gjXSw+gbhLFIQzKY1bkil4U4Y99hOd+/2XztIBn4hXFvztjG3b09VZPVFMXrSb3MWsp0v9+kAqaHWdADlwwZEe20NC3BT8pCER/EqSzkDMqtcqn4OjatbZWeqPGn3Klpu2o4y7W9uHTsCX6gSMns4uT89ivcR0Glhmoow+UcP+m/yMO8hPx0/3ZPs+Tb1eJF85QuXO3kzXi9M7mF+RSdNu2mdTvwEjanKfRw6cG8tWCaoagVrPVXGJGQHdnbtp0/RoQUp+hgc3tU4wGwjvLkSMsKrqW7haBWOV0QEujvw0/Puwq9YbXwm0Wf/SDbvFmN87pgEeMUn7ciDeoaZsDYisG8IHB7u0cP5s806GUK7fII7gNGtW4uDD78XE9YRYjtyzzHrs06bA337/D0TD/i4U8TpdmjkJjPVZwLVkZltU77J6aLlwICTQj2r+qBTt0KwuVMvwZWd7kRSJsNuKcmuJ36NwogAN/vO//7aPzJKqhfrfE3jkLQ+cErZJKRQiTqvlre62TPZRVu91v1wwfty0Uy01notngkd/3aGkYIH/jvpBF5Shki893GitR9dHmCFsy0BpztkFv55oDXgggZ82mZIm8+tAnjh28IeoiyT+UXQcRcw/9BcGKSzaNJ22gm/NCoxx+ntDhmciGvF1ICo3pj1w2QHGCIPEaB4qcp4Pzcwc94zA7e4iwxr+CAHiqO1NQWwcMS1SWD+RE37hQcQMXvqT13ZpqwrmrR1wzF3puc5nq8dOle73hk7b0Cq5Lpr0hAxM1A88Dkwx9zbCd6bxv2TPtBBkebtNmNePbPOnNnggw58llCFYNILtoWzndzEql9bYyaW1YDjd+s9aDlsFQplYSMBkklEa5cjWZOKVes7tNf7i/Mdl49HItoITsBpS+Lgdgmr3mYbmmSlgj8D/tQki9zS1GMD02wmd0ibNIFHSa09iYneBqn6i6HL/tUIQs5xwvsr7mu81ITmvcqvf1O4CdKLaTcdqPTapWhoZwbcMt3LN6Mg4W56vNvifFrRXxW0wjF8En2hLTBxO8h+u9Ez6scg+iNbV3Vb6+bXAfXPlM+rIrt+WFSLepvUXY3M039C332i/IGsXtk7uXgZvhAbOuKjT3zgVAZauTow+c6DtICuugBdBjnvWEFB8IUhp8NNluesOf/58Kmb8XbZi5OZ+DFhOh3t6GUD5yskkTaJREQMwG1dQlu54c3Q/36W1qE6lpYY4kjds2sI5yYMool0Jn8+0V6mcZ1QZXazT51Z7xs0rBOZ7iU6cR4kpLUe1ni8Goo2e7CtUCCZLOyeQjdB5UAIiE9qLGSb4W3Xkvc8bJ3CKxeYbaf0Bor1fNhJfehMFxm0hOA9qSVyG1b4MP+zGtxm4JAmcTJK3+luwZjnXD/OInyw/lTxAzy+VNw6Ncz2iqqZRNx8V7B7uKcn/Amak9E+hf6Sxq0NOw3Pfi7U1lBDTh08zIlJa9RNglQT0N+sBlZ8LEqm2KIPVI7d0Z/TkGvlIaBOP2Z8phvc6q9CVBE6CtbOBiM9/5bRr3IJ5xxGZg2GYdMXa/WkSzuivamutroQllDGFHEFXAbLbJ8gYGOWyUPyZLFg0kOXBeZbrGcfjclnnDpHIhX4cxbKH2AmevoLXbAQTM1zElZAulyVvVWA7e4uFrVx8I9IUMLbaRb+3izKswF+3sUaeOVKTd05IZNlhwsDbvujt9QqS/612i4j3hM/hcXvVIMQrvS2U2qAnbjI6KQkZ5plOdrWYDhMbb6ePXNe5pcgSOVYzFreTU8GEdHAJkVPwidiQrWwA18m6JjladyYRcyE9V+v6qgRF8dLuLaGk1gEBWMyEtsHAvqp/xk7nvfkXEEKkzNcJPGhDxX0htt9gq1uiLRWYQ+/BnDaHexSphfNnZ12+022Ix7Q+GuoU3Pkus5bNfjf6b9q0p46eSYGK0LK2sC8dPcbrEGfWgv94syG4S1c28iheO7DxoDhbE7b2HwVK45N5Uvh5bsJOa2E5kCCwPWuSJM5pKx1EbEd3ePsU+noQ0oDw0i7CdcOEUhvUQP3TjyacTsUm2Zi28OBk+C0VUSYBXEGySqqGZTJF22RG6Q3KYUbezgOpSIKv+FLlAsJ2YhygNQOtCuipTMNOPOnzgOn5Jhwv9iDBTA3uuMsZeflfk8WlUpntzZyxu8GL2Z4VUxbR9NYSZoCBE/QQDRIxRFXv2fzLE8eF1tbGPIEyTayyJqAwNvIH068OQbY20FbHS3xUeT5gRJb9ReEosFQLZ7NcuQY2PnSVRIEtWzTie2yCxp8wcKPOLHWSf+U9dKpjiZX7XLVTI6jm9+8O1llOGCFKAHIUmA0ThTHb4qgZ/lYOGQsKCvtV2Hamn3o2d2Spc9w1j/VBIZ1vdfoFtOlqpyFyaLbUIlWRTJ1hPHaW9Om2QNW2/PBV+ZBVT2Hdu7VrCt24dnwdmnYq34k2uoiSVVbuQxGM+DelFjx0Jt4o4muBDoyRZ1N06z0yeUrzC9JV5Q5+WgX9LFD2BMIyfe5n00+kRrPUR4RjiLlAaJF+keq1wgO7ydeyePlkjfV4osnpAH8lRYk+R+vYQfsrn9eyBHrfHFm1Ln7Ao6MdV2+YZrOiooM9OLTZzh7ebveeYfOzpO1NqNbyregD/33ICMfvPe2e4ww/7Pwp3lzIRNckui6e4SIwx1OW7NskkA62LeC5ubXoAJJj1kbD6fBUJYUiSpVmX4F2l3bhGKVJvTRP6Si/e7a7TQH7qsI8wPO8TjTkvKDgOWdSezE1kBDdtyeXg8DVGLSyRyTBrVawYqy/FN3K+oXQGl1pIlESsTqYl4CyLngh2ccD+Hk8sTcHPpEaXPFCNWTCB53J5p/y04Q23aRJ/B/J2x7Dl+/pxqkUnKqrbsL+P3t+8Jj1rCKSKPMsD5uKvstSbwEAan7H8yX6UHKGBk0/YeqEoh3xenRjv8CMCtlBJs5v3Ot/xszYsBhf9gI4Muo/RVjT7PitYRibGo1huVwIlVoi+lVoDwJ53fhtOhYY8lzj6gKPT5M82XkqkDPDdI25dqC70vtD3eD1rMF8gSeeFcF8TdUF3ylS3/a5xJYs/xTNmP+xejN6Vg/RNHGSCDzyaLoQ/a0mVmu4J8rB+Wx/ELF9neyWSQfFsYBEuev5zTJjlfxEIy0/A1hLuM+qSXlAGcw/aEG0m7A6d/5YHOmnd5YUJFFoSMPBhC21+8H81r+Yh8IdC9tPft0lBT7RJZoklCeOZxw6rRdpCy8t52+KayeA87bIyS5dCn38CoJoYgv8VKeTiyZfwDNu6w3+e2r7mPBw9CCPyTdOfPuuDWcWRM5U/ItXe4zFx7ajAN44GKTcz0371VRmKGFeL5sl5MudKuVi+hJSsdHWtiI1iGJN5jd9UttpUsB/FY87P8AqI1foF0g6Yru051DRKzk6UDHM2aPlDOZFJ9xdra1zN0eJB6dXCAhVmdwZ1tBf3aLk3HxxR34VZ6YwW3e0ORu2ofz9wEV8ySFVE1cwr9/qu4v+U1KwVoeGjFWSlpNQd/Z9kRFwltAgoXhrRUUVhfQUPLFmgnFYOmNogYqBAjwg2tp6Gos00VudQKw4Ji29jC9VpSKxGnMhi6KnnIYAeDjaa5VmKen0yLECzBsZ/Bo851GSw3XtzfWn4z/2ShtGOwrs7XXtV8mjTPw7V/oKcH419EHpdLE1lKIf9pXjR5o9hA96bJY6pcP+xagcJAIyp7s9YUAY35m+tf8KZxmY9FCZQyKcpqNjERNsmdeSj3heIniHFj/48shzRLkI+tyzWLavhsAaZtHGOTO6OzH6N9VK3I2NLlwW8ZvOA9863SU7mPoiioljJA6tkDRAiLUh8AAeITUDnNEn+eOF2gQr9OBDtvXGTDW85BrRWwNnsf9YEHqemgf2shwzBYJ1XjuKPLiTTU0Ho//Eshaiwj/eLAdxqJdjWD4H5rw93jy5jL4FUrYF+HKowsHz02ZoVOjjMyGk11XZuIzrOg22IsBLPZbBN0CfLUK3MJd4SFzaKGurYmHThSxWB2EEvTp4AGdrAyKjy4gEALXDfnh79MIdBYUaqXmmjf1SMIbrAK/8KTAAc2iD09XMAydMtxWhk/Z76o4+Ah3n9DVaVvVHtfxG6lfG3mJZVvUtUqX4TAgUHjWB2jIoFjYF1iE/6Ohlg4q/iGexPv87JwSXd+FhLbGHDobpRW2edQPZYDzOJMsXlzcgVbc0AHj1RqKXJTsF+qzZcAfEiK4im00jmNkib3iEcsICQJZiSBsqd/zM9nsd7Z1ODbXYsK8IHWgFZ/CI7ObzYte6Mf/uH+2Vsj997Jmn2IvUdpWD/DRq32XIhEVlcAmaI4ZMXr8C/NPHs0EOENULTsSxFydjqzO/YIYHC6kXInoJjnmfPaqgXw7cQ3m0MnTSdYLgbJMBJJ1NnZolNs7gOmLr3Zr8TVMa3OEdrTWyKtojSBoz1+Y2xgPGSbjgoLaJK/q6XUzPsi3X65InPXX1KSZBEJ04I2J1el1XisdHheO5M5krgnkpz3yiI4u7a25h/4s3OmvLMws92h3F9ji+saH1kcVCbyBfeRkifztfChdz1TEXt17T3wC+N4Uc4IQtnyv3Lcc/poKOva/8/uSno3usfv6LB3I8btbcHKxBckwwbaQHPLPmbjOI+zCKK+BKkUeOMRpinDNB1azMVMQt1E4989aVwNQvIBxdJNG7nSqX0MFV1yQjmE8oCqbHhzm6loxXNKgC+CKGlYCtM0PI/PJ1bfEN2f4DSWFyHa/bUE3Q+pAfZbw/AjfvpIPHsWd0loLJLkG3a6qOWzi0alxZM1lOeTtgaSYi/sK9BC3Z7D1MvmMGpefJMiN001wCnzvdwymZegJ7D33BHblmZAvREBjW+KUT2R8NTZCFPCQ6qDrM1cZrWjtSntH3/rhgLnxdK7naXl8D5Kd83/1qQ7RWRwdX6vDrI01fVNK5Xf4N0EvjT47c4axmBSR6O6CFIm6dh8Vz8jBix+lyI4pGXAduyht7EXTErTpQ7GMWiRTB7R+7c/fIf4qgF2hBEluQIT86sY1HS45i5jsWRKJTsKPuLRqjP219nYXmmumZD8L61apBKMSZNyn0nohZenuogtZYj2JvNMG6EPZa7kK2Jd/7RhE+IsnttSo8wS/k5FPQ3Gewp4TcMrbs2aN8oXgf8O0A0mC3N5HcgYxL94BWNkEZQ6Hzl9AK3IPrxJi9alc8prVJ0yg8WPaRN2szL/NabUxQQ7uETHm0PlISUlKe93H+R59Sv/KLoYa3vfkhrJmAXZorFffaPgDbGK4g+t1+aSNz49azLHPzyAuL+iZz6quU7lhrEWrdkiPYb2ShxTpoJcsJN0xBKqwnqIoGzLmWB+4mhYkDOWekvZdeGR6DydIPTYn4n0NytqEQAl2B0aU3r5/Go76dU1jz/oYn/pJIEi+c5oyxUtOfsyb49bXUV3YYtvPOppNvBSUqXzf1pj/LTgwJdiwctj3SdIpV7RL77ajbRHq3+gUHxMX4usdwFOzRFGiwAUV8O1VGPlfu4IYG+blxLcbae5klRhINJ07GWzHud0tRbQPM7YO2rxi3GjEdjkpfIisWcOJ0UKB3644SjlHWmLXF6vLOtggckqqx4tY/5BWt5Kxy26aBp4QWZC9a64K1oKpQG8PrRVeBq5tiRibEDGGG+hB0/vqDg/b7ErTz+irL9rDR1IUC6kYHCChF+prADASXExnG4jUCo5pchDIvS/c0xl/lU5so5MHtfvLv/K29Nd2Gw4RLh4eZKL2KiPK8SJwHaBkaucNMmGvhblMI9vlyvWP3suZCKAJq0jMPoFmJuGx39rLP4o3cwy4ILfmTrrQeMGSr0vN8cZvKiFyVNLvGcG5lZWffP7fT48Nmohvv2bNo631xhaPQ0uVHRKVoptRgTnvZa8HhBFrcf2CCNVz+afv3sCAW1Se9YR1oVjv0ARkin/GnQgv2k6ntKpI+eHlZxoJN4d7+Tj5bnJM8uc1L6F5nMjTb4Ld28+J1qYyJDIu4OGsPXjNbfBwWIybqd1UP4nSUytVXckXy6gKyJD7H3TqJIuQY2NOARRdf0uBMaDRgH43EfCQ/IJJ5qFKi1oBq0wdUv7G4BnX0h2u2GfAjPEP2wpCc4e5ZMhQ7EcLnebH33bXCck5UFoyV825m9Kqhi2gEzy3168lh80bf4MIJr/hL37en7mKSTs1R0q3hRtdExdHP33Apv6wuskcxyfkGsEJfyou+l+gH9Ageg0B1yoZzUgOQmcd6Cl4137fDNZhn/KKw9Iu5li6Ebo9cMT7aoXPMATFYaE1U+NatUujfKvemCEa7EwhUgryvLY6dQ3c267fp13c8z5Ca5b0yIbubfdvFvgQwJvQhXvJ/4Vb9lNMWVPeHAkeW0uAicj/8E5RVPVsi0BhFXQTYSK84I7xtDw10+lNuIg7ZbTOkDlVQTbLF8YWyATJpZv4tu8lbWA0nocWPvAP3ZJqqSV/UcBXjsdEZxE4EwGmx2A5R9+ISjvz3jL010wsVM7DrZsLNW5WMjdDsx41Ps8ERm8lseRYnn0FXI+DxGaBPgv6wyJ+4mmMXxZK78v31yHzZeWCTISiQxiboXc4Ehgiw/s7hATofLuMQPgrDs5JWON+k6He6Mku5BB2ye4gm9VMoZ7fzoLNf7NeowROt+Zsne2JdaNEYjD5Gdg74L3tW8llBznAwHVIkNqdqqbYAp5L4sogMynJnAx+XxcwvfZvYVwvPEvWyH061VoTOO3usmadH9fNscGWh+yLbZDvRK3xwf+QQJHJ+6c0UZlttHQ46uPSPU6/mzBJMkS5YWFgrGFqgngScKkVL7Wfhp2b68IL7QGtWU/3MwkMK8lqD5veZBZG2N1CkjHBBlAcmt2h5TJ6IIhrkU0gE27/N+dheZA2LbSxbJXm0MwUMl1k7ZXp5eQk5ZHptk8Z5XpjkJ103CAg4YAMVq+qa9BG2/19V7JZG1Y+1IShFKz04CKIah6mYNtJqSHE/Muio+1s/14kIGsyC0J2n6uKKJ3h203dBCO+QgacSF46F4qBK/SGlyCrz5soteXMcxDr0VRPO12IjBSu2xglqNa0XSAPLwmxXtNSwSy70IckfRJKjtHLRPP7eGbzMc3H2h3rVHMlzM+8A18idq8rqljB+2kYjkBUh7DrZNMEkFbwzt0whu7/THiweNqPfB7yPGLsVn34zkVGl2OXcPkTVSN7NUk/e7G4OeekdkPlQT8BPHAjivLqeGyZNJluc+DWWYtqYpprUCI/4cVYNp/QfpFVxQ1PV66Z6TzF/tza+XSSMi/JLKlHHClC65sQE6THnbiiMEsMiShPTzgrFB9+3+9ewMwMV9h6r5+6x8XMIXdkT2aBk7ej7vtHJxXI3+6ruUdjfI5hP1yzrC6IaW5BEeyeRDnAW/RqrNiJvZfgpRSx8T0LODk6r2GC4Af5jd5OnRZydwHZQT4AYtypX+Je2HyiHEwmtgvfVQgJcc3wH4N7yrWy8PoHeXIq5KdqjFs+iqvfLzfnsLsBKhMAjFV7D8/DSl2nrggWXA5TtHZpz42yt1QhMQ12Dg+plvwr66iHCdZxjYJUKGV2KfZXbz2pL835de0dGLU+4WnYVE4gjRx+IsAl4kI950C5VsN8KBKewvA+ygV2JIPmkCVimOen0Nvi6ACOtVzPygqHnGiAUNlu1BLC6iJoLuYxFOv6VSFecCQYgT3GsKy4V77huZ/LCNLl3Uqpm2cUnA0/Ol0mb2Cchf/yRLiWXH0gp7m/9+h73Pr9TZR2DMBHpmAy/EBAhfHkRKwA2TS7Yl5GgXaLk95XpFQErQLrS4yp+AdR3gF96ISQo4mU6juHppPp0FsASd7n56F7MPaoaxwnscS0DNxMiedutny6e5EmkL9JifvA6xVSPPPjg3iYvKm5Rds7lJ1RVY0yD5l3fRCrIJX4BDq/qZZD+USQ5ksVXX5Z2W+nkU5GuKRihNF1H40WX0xI2q7GlEcV6Qd6qjYYE4dKxHpLDf6efltDdAXdnHsy8eCDM/GOqG1QpZpJPZ4YyHxvEfeDKsQvUrTivTKigv7Pkn0gzjqlLSk3gOlPh2mEw5eGcdR5dgqTfWl7otKso6RVlXBoKuPga+vgrH1GqeCuEUp9WE61/hJd+LABe8kvQFq2+jVSOpExKLryKvPkBRTVBZwtJDntW4wtdbiXXHxSXNbISZCOMg0Tb3h0tU+4ea9HessVLMljQV3xZKc/kqtymJZmnuUB5cfkKa3xnU9SYIEglCS/Ucsh3MMMyfSoSWQpr6E3XNWqkislKdmoDiOPAYcIlT4/x+tChfa5sYNBsWvH39igmv8zI6sgyUimkx0KeKIEJRy0iqp2h0GZm8ktAClSku2yzUAig4R6/kFwln9Cc3T9FWRgxg+lSdtnVyr+x+LaCW+e2hzmfz1b+QBpY9YKXD5iNmtQ9hofxpyYsz7EzwJIcqYjfzaW1dGkuBSZv/bi1m6d6nfhs9Q1foEy0aP/uK9MtpLgo9cKun1LiGFw2ZFaRKYdFKHy9pbipalNygfzDUgG7JVgqH2xwgKdzVFFILDmsfQHKERLPqWqzCZJAjQLf37EihfEKv9tQ9xvoBggHtC/bE8WYVyVYz5QyJQHxarjhxodQpr4GOIt/MfaiWomQaclWARNjDU9xkrzrQy2mWNqpz2+NfZ5M7F/jtrHNybutxxPPa2zR0l+E1KzxMYkPd6OzuIjbQZ9V1K86UuPdDmWixvz3t89mBS+QF9dgrYN4WCVvJ3XdrJYkrfZzfaXLWDTq95qdnY7CRdBU8GQzl2TnjI4lttp/Q9Swo6iufLQkeRik+m60AdS2vDVwAc3qt0hfNan8TxDaXLcxUvW3AwbUsROUPNpVYkQfxmckvMqJDUBByzUKY+akQJb+VRajgNFhXD21svv83dFOsGFYMESsPvOuwTaDrNmuAiVzfCOMYiHJQGS7XhSIU5jFqIbu0mzxmX0+x1JbGi0B4QxAZ8OlqB6mFXQvvwcbx3JKFql8gUjuJd4RREm33fHyGFKRi7wiL+xaiQoYx8DcsuVNjsgfmVBY9sVAmYSWeqmnmyeFuaTV9J5ZjN/9cs4napbPZifWqeOB5rMEbUPpGtv0Q1+Ms0d17b3xVxglucVWW7XCXQziEJZXXOUGbMaK+9/OT2BhNzAa29yzFA+6KnVA0+y92bqgoTkMjoWIzLgz2kSEmQtiqStF8xIWcOE2hgHA0PIEdJBSGwpqt6kYIbABV31sIVVLOPam6aaa5H2nfs6s0xZ/1EN8WihgN0hvXyV9/zLnK1QQRg+P4ajHD9LOPw3MNNGZJKeqNEvPOoCEhT31s+9Mp2BPjNuy2Bcb4q/ZtOMAWMp0h9IF9ltHyB71BoGCY4v9SeIEGghyZ++2yVMDKF+LiJ5+3mFk3g3/m5cDpQodSVisEEPnZsAiVpVQ06Tcky7F/jW9EWLBiik0DH/igeseClBad0W3YT6n+hHTVY9bUXgpmi0OSxZn+OYqRjkjcp1HQeSeX2VyBtonuQh5ie4xq1yazZIyaPi8T5tz/aFukV+dbzsTGnU7K8rT8cBfI1r1+5pyr50fvUa4dhrwdsnLnh8y+MjPaqBImLiSSaRFzK+U5yCQKWhQpZB+qZtCZWd3fXERArGyuUPITffXE4WUteO3vG5S/wSICz4JVC24IQGc58xtzLqaiWwsig5cBTMFfGjin0M5xe4EfjQu/9LQ0b5ImQsVFUEGkwIH6zFVfZBeN/T1mqJmtW7h5uKOWkuGy0FJA13WqNubuJZZ65/mjdK8n3n7uuvBzRrG9jMzk/AN6lEulFAXK/Z7id/+cnNwbBeCmAUGkL4D6aSDIz+kueN369+5eHCN1v6UXvsQYuw29JhSesfEiAIUgbQheNXz1xAMJuhd3e98THLbEx7k9SYqpBfqLiw6nx/Vo0RY4/zIOuiwKh5bdBUCb8biEt2o4c/CsOjWepKQnlkVRenEuc7dj0LKGsz6PHPHgvqT2bBw5KXflERM8iYhv2+y99Oj2mCcvm9gas6s5FRk0kar6ENeUZ2AciGKZNkW7i5gp6AJgy4rEfqKcG9U3iw8LF69ket0f56uATWn7vFfWtc71vYBRoPSBPS+v/m+a9roUt3GWaVZCAP6CRW/B1CaMQv39s/LAX6Np9v94TDU9gpZGdLtNf8w6oce7IVSIlCIEcLw4GbKy7XPAI8t7pIU8LfUAtzV+6ubZgo44JpUvD37+OWaKZu97b6mO3jfUSJaFhyRfdJDdMdaJEqhthwyomudXfMjDLy5cFEBm4IOREmF0pQYwEngemc1HdZP8DFp3wWC7dmPNvy/5bX0j+TBSMRhhzN22jZi9P5q/wcbGXwAZahXfP0ygzSKYM3CLLFrHcuCQQ90yQe6AXSd4yUjw44ZP06lTSH1eak5ADJMwnvZPGY39vAfD/sy+DQ/GwqzaPWsBMbL+OHfGHDz1Br5C9Gv97oNwg+ltIOwoeGd1+/ImpRvXin7R+Mvi0flziupc6oTIvH8K5AAvtGv+jn8MHjLIiz6CXvyU0GHk4ybqs3deAdk5GecNz8JHdimlD5ESySU5CeFyGHIq7qwym7Nozf7cUIXMhyUIwY9zOFZ3PN9YIR2X6Puu2br/pGj2gOSLuA4YobKTyeLAm1/Mgqfe4cQsq3uBfz83kRiiCfaPg+AJdNLuh6SAfe7q9dk0vQQ3kiBGJVTGKOzaBmG1VpjJGFx2zoX7jTvIMkmkyrPsGXYDWO1sCbuEIjI5L4kIWTfNkvP8M3JGZp7H/MiSUYMdBuJu+nmWeRtyrE0ml22vl2BQeoLDwTuEbSLkaUJLJ2IHbvTUn6bWO4P/n7T9XbQCH+2hNg4JA2qdScUlPEKLeio3hj2OjCwH5e29caeJXKsDduQPmR6C2W9bqkAgG3wq9fJ6FGWHL7BchOH7aR9Ele+AzziFewiyZrcby9yxhHCEje8cOAddhG/WOOdouTGpjIrgTked1LL7XzC6GxYkzboOhhgiMFwgyF8vWxgTkC4dxWImwnI+AZoHvsBobVNH3KjwtC8IJkNP2PELEZqo3NoLcFRKmw5eMWuuCpKMfRpvXhexedj8nKjfLY6r0u+jTUKfVgBeiZ5o1M65/w6fs3uYdIFPSDVqeF4Y0hWMlrgOwouUhxX0ed5Ht0eT8CWjGxJr97PRaSDoq36oUNwKKars7TrxTCebJkkge5E5LiEN8yKzNrYg1yLwS7KHJKoBePiB/n+RhLA5sRIJmJbYsoHfKrBywXnGTdaA7yMQ4hyPi7du/Y4hGtf7p5sTN7s1AlFTDg9tVByUv5qp7weZRYryvQR7d+7n3orQAX7MQ035wj5+N+zHdxvXSZxfRjFeCCZH0+CfcIODTL6noEIcocKsOpqDDSiJzfCoeL+bnjjjS3YPR3IzVKgTFc93jxdNCg2svLVdku1paxQiv9IGN9014IWELiOFQfRpUYPJg5LnCivGZiAXZ/vOTmTYin7xTttaYKnmx0zZR1C920X3PBkn0ZyRFwTMv132PqhIqCK4zU9ZKu35I8KQlKi0w58oZSCNatHFn+OrhxUSMxgl8NxFgS9VqSh3rUQu7bxvgcf8dSNR6GgifBM1h+IAprzUgZvKo6Q6h4vUkttAmgf/lFUKK5XfWt8fZ+bUOOEP1xqKUvSKNZc7UvgWjwsphY0OVKILMSkwXDHCCuSdjeM+5RoVYy6zMAR+ls0VhDb7CTblMkqe+zD/QC9Qk66/O3Brwtjjs7bRfnR1Zgkoam4+DUSfjWGwHxk61jIx9kG1Dg6m1NR/Op4qVt6lBsZHBbR089jhG8QbgwvWtgh5C9hsaPbvipdEJGizAt2vnonRfU4gzvjoeTfM3IzvgYvg8nBDjBsL0NHMx7M5aR0/JpjnC/KOtCE5e4TDofb5Lpmgl/D0OH1aBSh0o0hMvKYorr111fEnggOzVI+cIXRx+IRSDVe5wK7mGs1DhCIJR4WEwbirN7R5+e63OGp/G1VofgazxM8h3aUJBi13blphlHoWHvh6elggEYDBFuYMyNXua3ZWEBCNTinycy0N5IlxBZVyhs5uOMuLbLqSLn+Yh1ojmI4LudU/YFdq0Py821MPxr8Mq/yYN6Y6l8Vbb3p93nKK2hoSUC8cb1WE7H76nkhT03FxUemWGmMnfeG6XSf2RWc7TMTDWfztXfqnt7774QfFDL7yJvRGjxsvwMmSNChUIfbgiNjOzF/XzvvH6feFL+/6rguQWLSDGxYLwo34fGu1LWIlW1hTu6VATnf450KoBQHrGGhf3FSxAQC1B0KrLygdFVkV7i1Xy/hmLKwfMXwhaIDDBx1zafhqj1eAEGKj8xdC4b6Lgfw9SSxQHP3vynPYbKG+lEf7t0DCDTZsvVgZfVpyM0+gzgR9YQXU4/fQJyqEWCbUPwOeQZXTLr6YrTpIreiPGruJr540x5BcVVDAGjCnHrjeUhv0ntawj1I1qTR0wquL+exVutt/vSGs/aKsankkhigjuPmeePPSnT5DGoGVp9rVGa3m7n1mA0+3JaCqXrrh4P08lUpi7SwcZ+Ll47d5AF00Ejw0A7XuOsNZY0tfHC+KgKfKtsapX0IWOzEKI3xpZa5ifOp8im3wBs5lt0x3GyUpOSDnUqlNHH25l+Cwd6J0dleaaBb4fmiN5lvd0+Nocs/z+AwqiyYttZMV/8Y5hZR8ImcEyBMIaMByhiCltmxvb9grwVX/jWaUxWDHC6enVuk66wEnthm7XRyKq/UNcXL7VjKIh6sHKhC7eT8Vtq/hPruramIu+FDa/+cdASUdCQ8Q4VXc+bYN6DAN/KPLlZMZJVA77QpJujeJB8l+k2t6wuKmI0EQskxFW+zkpLA55qDQ5hnvh0wZLE/WMGLft7gTQLS3D5ppS35HsZZsbpluWMVvWqjppRKyZrqBOpypd+dzOb75K+lzRUQi5CRHUDFZS/+N3TnGKCjIMOr37Tqs0GhjekZCU2uylbOrceVf7mVGwPRYthXrulB34hrIIMB0Brh0MXGFNvVtGmR1JsKf9C31njacbaunGaTyORZlR42t95TvwNE8nWnA2ufmpQpy23dJRFUN4hwq0YToF9MDqpANnxyDX9i+5l64AOS+UvAoINarY9NgUJ072f5y7M9CnBIXaBE/xnseLWDQm6MYjoyQj06Bed7H1ISWJBelHR3ltXNJa4qz535GwnOd30YPPc7y5cMAKKqAgc8Cqk0iGglnsY9Eog/iw0ATTgPXATb47MO1dCAYsoJy+TWNQ77GVeE6/3tV/qIBnTdDW4YrKc48vv3AsL7AAGieT1bq1rI6yNG8/Iz6aPCnEekbROImcGMcMgOymNAEc32/jsYBnsvc6jcFGB8TLPNhnhYGRcHpZntRoTbUU7eeViR8rghw8V9WIZdCrbUr3dkBVJp0knWOQPHok4hIulkc8iWeynQySiunKcwoXhpCuZ9ZEJ8lW0dhtMJ/ysGt6b6UNbddxFTqFwE4qZhHCIqqwPEtIP3xrMIlgeYyAh3s539av39BeifRhoCvbDpNWI+S89/q4wqWhAwXZ0C3ck6bEMKLNeZ1BJMLvaoyG+SXxvz0udUZz8prKC9nWvbZyafCcWQL7o1hnPY7NygYJx3aDvO5MLNJbacZpFd3TKkGJvYrVTxuku/zy/ZnQ+gQpwb47K0gUf42nhZ4WqTrTk7IFlgKcvM6zMzuPFaepWhhzsMJn/3Mq/vAB1iHxaxC6WunIYiPagXr+gooTuO7Wd5Ckbk7xMCswUE0YSFIU7ljebwNGTxDMITXhiAZj+/2OBRK/NktIJx0M0F0mlUWKcoTlFZnwpSjb7NpK86TMd+5RgCjeRnda396eYHSR3bklHby5J3e1ipTehBzpV8/sd8ar1o1qOrzK/BNoTeL0WmeP//lCFNGdPnIuQnC6ArzGSACi7teM3ktEgNQ3yXaPoS9+7j8AmKXagG7ZJc5yS7mYSB2ao7FoglPiVvm616vRs3L7EVD7eZwPSkf+A9PjoO0ZTGJ2lzVplwkFZZY3HteygsFdBTGyqD6H1EVrPSpRw2hrt0J02Y05aEDQS+c/VwIY1Z0/xftz4lL9NAVoGBzHRLnvlzXi9/HNvWVlHFLnTDh49+TD0f+LqbCSaSZJrg5fKsQKjI2/r6mZIXjlQ0iNF25w/q4wGzwL93ra4gFjSq8Q8u6f7XVZqkW6qlJDTfd2eL3WBCjqyflMUDKaoN+irPRtnxgnR9xxU+b3F5v5eTnFtIzmT/EtUV1ksqvnaQkTrwsqZE9DSVrytxQm1TiRgaMZY9SQSqSNUrfiZ+I+l/EmBJA5gkOagAg9gFelZdUdvLVQu5lImNr5Q81VnBYyVis2VBfqwrX3U8fm3d+FBna0sy9TpGSy5fMflMJWfqIMv/obyk6kaq6PBeGGin6cIS6WbkfkURchVikBCaXy9wjKk531NRxQ5J0/AThoNoYnwd0ADxkTwmlX1gUY9v9XMge1LhLY2Rix9mi8QVBFjLPP6mf6RzyHKiZXF0mKOSB0TiXwoxDFb9tvB5OO+0sJimQ1mPglh+LeJxuUtyKB1kHbez50s+toB+e5iSqwMAeLjigM0ASK09AyXnl83IFWLv5DxheR9g04R9Brci20WbuzNXDVf72Dyb9pyJK3kOpWpwl0CplzXE3MbpbCuWYFord7dDYzuV4gryKUhC3GG332WnPqx7DYwtmprnFScePbctOI7oFJztAIMZt/zf/1TvTrXbCXqUGP+AFnSdq44Pb8kqe5WFos1jKCie3A7hs16STYqn8AQAaPJ11EzHb9ApCJeXQrOa4Ff6IeTMLylw+ukcqM1poyeMZ5jvZTr0v03uSx86qrYjE5PDDxShunZZXJ3IMO8muuP6mC4gnoAI91wONT00+vKV9czFcHSE7vG3t9tnye6BVxSKI0DhpMstHnlTeM9sbDiniCi/UpDdfEY2k2eOXbXH3BEv447NmommujgiC4GDm7YKyIlp4tibjhJNQGMPqViYvUJU4sD4z7iTvfns9E/k/wRmHwIc18ssfqZxIb71ZHD1SD5piZ/SX6jfqEjT695eT/gO5wJtmEwJtPYOab0/KadiNpizuQiK1cmMnEOW8ENs8UbTQjR3JH0icNvUUeReTucOrY46kNP7SLNbLBVXWg6z+2eYl0Cx6VXDk1gjGHJqTAcDz2L/eF5QzMeeGwS2tt6ZlIzbQBhOJk4rJOyz1hGo6fzwEa1Ih558Rw7StXV/rPDIXA5Sc8zTG1G2e5y4TUpsSLEa6xAHcIJiN2VuHhNlTel5RkgrSkQUDqTYC2kB2OKqcij4LLoVBKdyODB+HXKcD39+99FZUyi14Jv8BNhlYBZWvtMyreNdLCDEszwurOsYKQqR6CRPdOrD3z/PCgPiOMwpVG0DUHq2ttWjzAwek+NuBUMSJgHcQ236rMHm1udx4UWepRmutaJbhJaRG+cOOFLYK+WZ9daNml7hkiO7wc2mxOZ+HwbCDIUbK5SWoddEpr7InnRObR+E2i+bfOp7NU0lS2KrPS5Lt1AgR3gl0eP49kr7DkSyWlftpCi4RsT+QsWa/4D2mpPf26eOriN94r+L+LfchxHLngwWrVWUcJa/DOWLVjsPPbmFVp7UvlrqWIqAz3wDwnJ8Bo7GCnNySqjCayeqSEbaPE752lBC+zLgNyBw4ocmNPvKpWpQI7yXiR+QOga7epmh0WyeLWR7Xj+ReNoUPngDaDpsbamJIZKREfhkzfyNfRjskNLJ+y6jppSbBP4Pgn2nZ3qHW9L8G1U6gRGC129I9FO3yPWSlER6BdZE33gfUkHStwbUupiwnFgzMLVkd/rIbqgrCV4IV7HDDit+oKnOXKF7w8OGC0G2vVEikcz1vAHlg0EEUQzowkndA792n3i7lmGu4lE0tJM1qPenFXeXkgoyX7VH3UW/7EFLzzTGlMI1ft2qXqZkZ/PeaUXwGdlCwIesEUcePjeCZXPCim8lPmvtFYoe+i5dF72ofOc31wLd5srhCZx01mwg0EhmdRtOqG8ADHNEivFVjRTfKafYP06mkjPgkS+P8/JJcqYetUpQKUALOXYXu19YGcTPZJ6VBhoO/x+ZKJ43S+Z+/F6VDKOaMof4V72VQnEaY4JfTBb1iByN/eK7x/o9F/hf0Z3P3LaDK4Tb+Loe/FFxYiKtUCBqzF22er1MhcuTKs8T2EE/ibR+dj/vIIQgB87rsnK85hzNw9KoxLkshFpH6NAsjiU7hacjonLOrr69+89gu224Fwf38gayjClNGxmVjN7O2GoD/mPTaGRsxEc9jpoW2vtRx9x3G/Y+qcK+UeClZY6mx3dC1EHqnLCBI49FXHXhTdDao4xdArsHc2/z165+I4FPzfNHJXTLkWy7nDyv6TDwi1Uuizn+sPwMR/Uge4JeCnSufD9TNVD8pzVoahazq5RGFIL+EKMS5EOL//dO+m73U9oAbDkhq8q9iczbXJrOpmuq6Vhis1G5rS+TZpJmlLxjI1QZAVIxfM92idaDTTEOM/z6RE8VxEzOZFguUyijSgbBupoKZmwWJ8/6P2A/hpU1q9khUrY9uvXpkMI+ypl6jqcGbebTqzupNKcSImKVDimZxWv8xSz9HREPIiB4+paLJ4dJkDH9S2404+XV1h4WPLLDizftpwYoaGrS+3blNG0fBY7w8IVSa/L/MsS0elm4mPMZVN5VxpXZfoRIL8sQDko9f+wg9buWG2J1jBXamrfi23BbsrEAjNRrPUJ84vSSaLb6yAQGmteVuzXH77+mkE0uNZ6365ISOrJxRVcwrOngemzdPwPCD/sKTI0guqkqy0m8OMkcHWFoYGwlS1x5Z2qM23kWcx6Y3zf6Er0jRASL2V4brAwCC7PUNZuJnyhJRakDKAB2HJXAZsiA1Crp84zUp6o0140y4wNAFC06xG0Sr/OU7qGQwtn+5J4jmDGg0dpulljFPITTximR+vcmEDliii3JK2AnjCTAW4ZxXg2I/slKA7TDsEh00eOkfpb+0tkJ2iwsY32ixwSLFt5PnKc5Jjuo5JSScTbn35ig+tUyx9aNkhMXg3ZNFBVn/CQKq+UJLpjwh+J/a6Q2Ts5IX+dT2fVcmt7izCUicnAloETfK6RNaCCqrg8ePFgAtX4uycK+2mCbYQOwed0+VCjK5Js1VNex+ahNXox87p4yDTbqYRSM1er61fYot1RbEHUuCUYafkwS/vBqvmmFIctIW/8wzpLJrezeOukT9kEIFlXv2pA2vvKDvI6dYUGLBIY4BoM/BpEhKFuN4ue9NRltRPghwBs68T3N7JNXjNoNX0sNwLZPOdMKJ4l2TTDdE0zPiqSGnPpbQ+lcETo+TnjOXyHRQQ43IvSvZtwc1eWJ2LPW40pAODV1D+4Q9FLvWJNl1e8C7a0Oon70C4R96DY2hmsIyP2fa8dDm1Dhr5VW36pdzMUJmsbmZa8wfJGTzJhSvgXH+lgv+V/YwSl0Zj0aOFdXzIYC00EizpFERbVmJ11wjxVwsa8REmc93EVXts8f5PattXBzXrBD6oMxOSJyGUsuZpkGGTcg61h+ZfnUemmph6a89iVs6ey5fL3KehqoiuAt1urrAO37RFOntgUfhPffbObWt7j454uTjnmudXvRCjdTIZ0O36AEASV9hzPmpRovTDmuyT4iyk/4tSq35lROQdFaI7W7AliH6XVcw7mJS9qfrow04I2qZu65H4OVEBTgCUm9nisPp083YDtZ4JVIELtwogO1EBbwwe+tI+m/Y/9S2GJoVVYAP69+FTRJriuc7pN7NqnUHdOtFVFGuVfesEFH3Vbv4IlCVlxVcboEwxgoSVMbpmF3gLXhiX6nkJ5YOc8CVC7fFam9YCQzgCjQUGPk/dkErxDB9Eu64dVqgOzHSEd8E9vacKVssGiIfTnncERV/ZXjN7qbMgZG9FvFL5e3JRgBgg3S53JocD7k4ALiUEvfUL4CRasAUsp76MiVEunrPNYiJJaQyGXGJnJEODknrdKl1c8PbFghJLsCPNS4dF3LKSJPxB7NlDkXt/zRvodRCmwL5qgbNyYjd/si5eb9HWTpRjO7g8jcac/j4IRUtOoLUsniJJaVXp/xeuUYswq/nO7GeNvT3rw91D0QQGJ9how3DrTSV3Xxn9je4O8gTMjJIyRbJiebVelPSyJDjyQRUWTCPEcCvd/ZMDmbMHGSsfT8sb/EkUYhMOWP16jh6hSmVUFFN+jQ4A4SwsD9NzL7C2ClvBd7eYqH9Lr3aXTDGfJZpvyrzXU+mitGcMYGPevIntU8mCd82Nb18IDXUGpLLkUFyYWJJaY51NVAEBgaT2buy38weKwQtypiJJbdI5jIGN20tR2hfDcqwE2EgEhUfD4472sxtHZAobokU79tJPDaGYe4mltLKK/xWsK3CoEB/YF7oTjc54nxY/nF9R6ejmdzcV7lueaFL9pAs57Q951J3HfA+FsUVFTmbFJb1DsmyuLFI19EufbqN1zVepdbEKnJwj4MvA5gHo5BfbS+hX+j5YbFCTWDFF1oWLDbo5WF2AiANvJR2TyGIAp44hYqNsWcnPojULyWXDxXjGcUfMNpP8njzRUDUDBuozocMJmmkNA8KCcHmvdnmGVCZWE1VOEcfYJ0j6QWWEyfJgsuOTRV8Cy6W7pjP0a1ENZkX+6faaDMC+P7Eam4juArHjgEsKut4dckcEFhWfrsVfq77y/Faum/l2tFqbVNkjvpe+R+crMd+3y8jz4/O+5F/glyuvsN6kMsioFKc+vGjmVHgLvPX+whWr+FLISim6Ns6NllvRxXelv3koh2jAeDZDbGZX4Cr29yySJwpQqYoPyBXniZqiYuPlDuxr5ZdZk9BdDPYW0ADZf7xzGVv7V0apamPJ+5JDyhWmLmm4YPhoCSC/BAFiv+rnUyOkryiSRAiema9ZBjSJY0EUQoz4C1596hAtJyKmcuBcKRg5SdWVGNQkpXrZ/TF0M0dHZ6n1zfPE6YcmRVN2PxSbrs6LluLP8KjbQmggU3sH62I/Fyfb/YlR4qjUzBLdFMR4VOA4jSnPqTqnxgjjMpFqZKWDDNUNeQAtsXftBjPtsZeOgeKn4/w79da7lW/Qp7kagLk9tUwQIPC+4zai7ShI+hykn1lec0FxwvdMLgMZENQi/d5mh1ZcUFGQylhhyL6wXICs9LwUpxe3QNUnc1wz403lcFm2mk+Mu/ywyr6QqCrXC7/LGgB5cIS6gaV3DQ5jyEPIi2tQWJwbRpJHvrhdiQFpx92R/D3LBzH/HccwhI+zGNEMKbB2luw5OI+sWJOXBI3sr1W7GZ0ft6dCqaPOIyHJ2VoXso9Ixf5T6iyd18nwQ+5idbvQ+J/4ff3c0G+H6S/lHdgKleXoKWhQXMjg5MAc5o1sOTZQ7bXTHYgX/vSTappsIk5C4yjStHW2WqMic5oiuBKIk2H1gKX2jwzVkRI+k6JbF5Rok2uaf/mCFBGr/+rKq90Ax9Vka4FqmPWB7MOZ6AULwENsZ3V8f6fif3o0lHlDl7BsMRt0d1HnuclLkCsenk+ZOwkiPMAzoq+WPz0+y2/4EdsiZPAnqwG/U9nhlSDsz5UmV1d+FbW/XiVh5rBDm0PcyC/gfBUzzCTu3ZdDN0i//EwslQw0ULyBXlvvQY9SXBi+6jYF/+VI5HeWytQUtjR+QEawnmRETuQGmN4scGFq3R3WfaJpg5uThWUKq/GH+NkEpvAUlPwc9M56neZV93b9T2qXkbssNHvVA/pyfCoHD3mKy8xvfH0EWi5vz6eDopj0KN0lGzaQIuKYQxT/l7BboGEwm/NBvhQ5AUifvQNinvo6UxE1pZ/1UKCLxYxHzKZBdYPDufO3K8Btp6MDtGXVJMa5mEP/0mXybliX/2IJp0VDIpDSVjhE1iL8b8GrMOO13V4dy//Lu2GSu3gzB1Ib+BQGx5MJd3k4KC4+91cgO8LNvU9dWVxPi31uMy1sxZcVPJ/dvwP9rOyZMCql9LwJmDrqSJEH8zSRyTCjLbMlK/bOcX5BqvaN7Hy+9IvPSXMmeo5BLcxjIyCfWvmQiIy+D/zDDu0l2ynhO/EvbS3gIfXW97UEkaNp3x+BiCBzgh0JIuKTgStrsNusYkWtYjtIoI6VYidwmT73Z95wEvL5lK9TKi2LuGr/lJbnXeiYJ1JZbzbfVhGkweyYoliRDGPxI57YJ9iyDGzjmxfCYJcAtuaUc+5Hpb78qF2MJHr5xjO5SIhvBNSZQNroIoFvycLVtMNh7G2xpp2YBS4SJE+HfrNsOP4SOWIS7BSdHViHv1XjHOkCrALWWe2oDtnMjjB8xzJXa8sTD9BjHL9YDOq6ZyM5W/sdn3x5KBSFWcHusi6iEnx4Va+1EdbKWbOL4dChRsKi+vFnMNGF31PlGH84QjZvkSq82sQkJsr9h4PJeqdWmSDhqKeRNH7Tt5OpylIghs8s9bUfkmyRQ6sk2liUpqvBmzlIWxc8O2jTuJEWlftO9yL35oASuw3knw/+wFLoedMGZ2JBtbOQLuBpySdTqfN3/AnfOCKJQ79guqdIe/U9O3MNFMt27I6X9ZuVaIJGu0pFAWJOf+KgCC8wB60/2B4hWTR3u5FRfTZ3XteD5paU/IcvpFswffxrK1L/ZHGC7FcuiFUZtP5FmJWHDL3wn9vNWf7ctxUpYW51yfh4sPhpE69vB8zGSw2kLZtGKHMFKnJWyDwNW7LJ3QgV8y3RugZvOf8W9qfa5Lgx+g8GBKtnhGusNVgpji1PwHWMEoKTjggCodAPLefyDg1qIjTuQ5MG3JCohyCxrd/xBZPpGKIB6oyi2qq3+mj27XSBoHJe0nEsqYcuOxhTP9Z+9FL2joZgy5Qs08Wg5HnRw7zc3B+oRn10Wh3OHUE/bsGGilVEU9OlJEZo1/kRk9v9ZoHnaqFKHvY9B5IJ8LTpzKPdLowkPNN6u4ck5hCXk2FXS20ugLcndH2xvVvSl6f7eQKz8NXRb2smq/aV39jFYk8zWfjNC/2uOZygfo968LrOFloXGga+B+ifSE/JxGm4PEa+WgrrfftBPiefe9T/DCYgx0/h0g7UZCBHyf0j9NeFyPH429/9wSlH3BrevSr45MkUut193YQwPfVHTHyh6UHG4CEJbEVaYxkRHHxbDcW5lbjE7Qc+UD+N9Nql3QuO3EKNWleysYoix+++YkmZDwklmteBWhgN+jI/WCZQYlpG4JFOhr4zckOss9yObS1bGJM9/8RC8zm6v9DHDpSeX65S3YmnNqIgfit0hxohMJr82sz2yundJE5a0COC033nAjDluZ7p2s95rF47u1G9/568Kknj3LrFJqNdCwjuLaJz+emCe85CwG0QnBiAnUhG2MVLFVr6I7QHmgO5jWDnXaH6zsNRIrWez2HTMk0Mo5Akx7ouDqTjt4txVWuDzYttMa2xcIWmzdMwemFhlVsdTTXUK6mVbz8pj+9EyMlReoZUZnjxsDuHePpw69T3y38AT9glIk+HG4njDnydd/gVtsipdJr00QYCvC+6NHcIPz5CJc3CfwaR/FwnMlsWqGT6db8v8zGg3KtIK2mdm/YCsUoDoQCQ3aecJBJDOY+/7VnBdEU4igAC9BMkJrb7y2WS4C2D9Gr1GR8mhFZjQ4DmsWz9kKtqCJfB/kb7il5neiyQhyO63tkcJ3z0AiljmhR5c6Wxzo1Av/KbhW6KGJIqWO+3I15hYMRmO1O45KQqVe7bZLTMLu1S7g9tw74iGJBhQxs5l7sM53XYaZQ+fYUS5Ex6pDSxz5cM2GIIfvhCivwRYz8Doj7gT3aiSLRGogocHiiyVWaz5C5vW3lRHOWshU/U0gcP4S8wa/d4ffRusuzua9UWKCD4ezJSyt6yvKEmAxiDlkIirON4ehnnnI1GYIKhIDqvgMUfvR7QPK9oQ4fpDcBZTCWrA2RVZbMA6DOmwsBsKviepkRdkigBwNoMWQw3PnLuf+0t7YuSIJGrh3y8PBoW1qd0D8hHyoLdHSkRCTCNTCHDfldxxwniWv8yROE/2LtMJnyAo7ZUy70zO8ICehP7wSktX0dOEhMHBn7aSYensKdiHmL0sb6wCSswnIpCjy8IK58ZWsvri5DHUOBjMx9R6aP3mw5FeZzfFlXCzAQUU86ceLtzbPwKTnZaypAkNy3Ozkt1GD5P3btg77ouOgcETITa1e4udg0rC+bYqpDiXEgAzVe6ErIFNOl9D/QzfciFbAjsxkMwvtTaL1nDiRd8QygUy+yPb5Y+RQVULXgB69+1ARePekLbQuuK7+jBCKj87xE+vi80nkBFQop8FtxwTdMP+zxIjYuh2URVgtsQHlRmtd3lCowSjt3o/5X9wXsTNu3grNkSlBwFrSIjFhCcG+tUle5Uxjf483/rN3lFeBHgwSmgXo834HhkSn3l6XpLXAHcpnMX+9FtnRyhHjr245CZZggCmgd1P4BjJ63V/paRNECKw7VUNMiYzMiJKPvNgwtqFDrrugyaGqPnkmda7+H/8ZtzLGGKwoonPwxySLFAXpDi/oBuixDkeBN5wDEjUlMbyciEzG7DAULWrUN7/EVrpIaRVgj0qieLhNGHAuLU8htECOlSfLOQwCSolVUanaCwfvX/7ND6SVOBsEYX6i2wIBy43q+kZnOuG/+pXlqQ0solFFqqXFPadQIu64BSr6/xswRL4E0ysclD1kifW4ME9kikWzwQxn+g00Ex4fMZFPMlf344GCE+lnj+D/6SX2rH5gD1yxNMruVbl3eXQePRlff6iVa2+njcZtqFxetxQD/2SK7WhnEZ8YwE32nysqSsrcnvEpsFObCdRNPsu5KZf85c+TRGXiXhbhyEMmIJufJ6oak0XvMbJrw0oS8H6MKnKUxwWxKa8bDjeseAggJRD6DpasyXyw+PfjsZ61af/X3oEpt7d9m1y8VpqEaGG16ryOTkLpUn91lcPjAYCnm236otZLl+AnYKv9UbgqMxRw22FsVx4Vur7Xkev5o+ZWVzTDt8ZkuJmI3ZR8xa4FlJke5DrF0fc7OXAIFAv+7+FWOiMaU2akXvmjpZsfHj21RCIHaJiZAPDLA0RsXqg60nuJtxxIjgpsQAxijMXYr6PfDpGl5F+08FCxdvCPe0LIB46vm+J/aJ2E0jAmmzj8usxJm4U/6xU0vr+V58MUeAWRvD7ILpRaM2CH3pednDOk3eMH0737gfceTxnzRsM50/tBZTj/8dQoUdAUzaXQuLCzaOwclIjz21JLsLzhHpQ29o3eT+FQWmXMRyn6TnA9ntpKlemvK6bIekJYXzTa37arxib/DugOEAJXQ9nD+ZtSmYhNIrnhCzJpEdSjWAaIJ8BgNPc2dbO/U+95bWm7DjCnDxIdezzrqybZxVuSCbkb4Ti4L2RsMhQ/gc4zTnR2vplE6U6bI+dsHZTC51gtm5ZfeVmnlRrKSlYROtythkCZZ8gki/S0dOd7bENVtmjsImDvx2plhk7cOMtBrNSUfHe+vpcVxFalauyGVMuZlQCsog1mf8B7hffoOCbVqahbIxtIEyfsgCeZyWalQjws6oeQJ7BtdZ2+ESl7xeDcXl2t31TmO4xOPTUAxv0M2zLfZeVHzc40jpJABu+aYgyXvX5y6m17k+ktgSSU++N1vsXkYiibd9S9sCM4o0E/M2NTjx9Wqv4by3WQ6hJYdqp+6D2g6toBa/dZyAIYHHn3Fef1i1wmSKitvfnWo34GORiikmkRQNMrsTuU72mLcHDU26V26X7QUB1KkdYtfN0/ka/Tvt1FHdXGuFK5ZIBAZ9gB9TOTEP7nFgbOv83nfIsqxR4/HXHIngRCUo/4mtjBSYMnW/NTPk9KuYQr3fWXg4RhhSaqx/VL1sIpSXR40g5l9/I2PAcpGCMpYANJF0gjbqdHyW1HMTah1IsVKOpUXaopULQ6nKJh7NSTjvzfJ38jdhOHL8rIr2Yl//JxRbpBFxQHPJ/X0ko21W5HGZDJlO4KLyXi8b5pD5u53GrvpoVk6iWh99A8L+kq/JV7bIfcNfdSW8P2GCgocPoX3FKRjoVC4oCXt8ggZ268ppnB4sn/ErfAKaARr5pEVU4GjBFWM876heL14tWAWhnKqs2AVRVNMJYiAbavGyRTUNezkrrlf06neVjWrjPsmCdnZ7YA45IaFF6wvoOczQ//zY5kHFvRlyPIMU1Xxq2/Fxi6f1iWzFxafuR6iUfLvlD46npwcEPTnZMpaGKQBbuPkVJt0nbjBNg2jsJcMQ7qCRWG95AKvvZrMEMCa97EvcoeK6ZWFSmLpG1kNIJbD8tdrsF21P2Unoq0AZLNBcattD45jDe4uGOBfAIAdU5IwqRFSUEjCcjuM5IcyF3XDoH+5tRRaPrNWf7i/VJB2FAdMYuvBkDwQQVcrITq3V/ahTyDekDPcvGkvMaN1GUnSkzTFKdtbDRWsK9V7d7MFVaYwvMnPpz4OUyAb3mYv1WLVT9Sg0NJ03KVuyvm82AnVVR07Ec4AFWrDxSmlUxGCriURUcIwrKFqXD+BgpxLdDn9Sq9JfQoWcyZNGs0ITflEFgEgBEIkuAqjywybWGSVBgz4QSeJ3a89oHCFvGs/LKQBVjPAFcer/QlDkLPdBOYG4qydzu11XW74qQKW619eG8t83UerWU8/zfH4EAl2noQCgfymmksx4Zpik+g8ZMJyOhSOwOeF6enEsqPYjXYx7Jr8ZwSTWU5n7Q3hnYQJdFC74eE5a/xQ5BPc9oNlK3Gpy4kHhBFB5zTywkhZaehr4Dww/cSLv99eAIkn+zmFgD3Rf7kMzD3hEvwrRm/A3sWiJjSvo+XxpcG5SsK+IKWD068uWNBlwpKDd2F+Lv26DjzBAjkGI4B8kYWf+amwBn6vR6HHpa2c8hn1nfrWNvIbcKgC6uuOOtVUgTm0SzSb/hlPTq1tgoVDWQ36+ktyf7rLRg+UxIN3eojUgInrLEfNvJSILuAKPkR0nrWyJBmLsRbWi5jVH7hxlslWU9ckIuDbD5MFlZkp7NxPoQGwg8opNW8NQicx5rqsm+X4mV6Li2RZK4JfiZWiQ6rKINFYFcbOwZt/3gn44rif1xdoqndhKaDYD+MPhNf2QgK006AekAD1OQF0CxZjul81JIwW/kHHO0C51du9OEKiuJTcJ8rc/I4qMTsTLNWT3YJFYE0KHgwDtVSQkEdvT+c6zJZJFNJDE5e3gjTUU2Fedn1oXhr3FUjfBypXzDqezYjM67034x8hk0ijjbkNI0Yelci9AfoEmlNxLwlt6d/9mAmszAcYPKRdpR3nxiC1DmNckmI5xWmrUarxSRaVFy65tbnD4vjLPMjlGlDgePwVtWKWQTLMLp4mCSZvkIZ0AqPfi5mgcq8W+EPA5CIu4nDAgfcOcQHI5EAkj1LSkVtHmLhZ5VCTi3XJY8rdHB5C/S+CLlwApwBH1D/NNFyogtedeatmwhWM2PkS6YBk8J7aVHNcu7ZuPf7mBzWdleGL6gAd03csMvbiGr1nmpQ3t07nSUOaQzCJ3MVgQggOaN2dcAWTN2L1SIOvVY1u/g33/mUkmOC1LTFG8rBIMoKiC6lG6c0Rywg0bwIm9a1uxHM2ve1Nni7kEYk7esJI71lfQ6WY8lC9l87c3nEiVbsx0145PUxNsjAblvtB1NuHmEKe+4vpN8saJehYmKFba7W0Ot6GPvW/kchz/+GOS93mSCG4d8A03igkVMWtBLn8ruyyEEtjCI26tKG+qrxS4JVLG3tYfiU2gN9TPBp7LbUyw860eBrBMnrsOiOszkLW5rxS25rDMEbRkZpunEMuUWFpeJ/Rf5ObLl/9tFVcGlbaNJq90k7e94fR9AJcwfyU+67XVrDkw7lcq1m/8YjO0DSQAEevBka/ucAFHBRBoF5pOS1p0mMUrx5Dq+a56mqQLY9SxNA5f2cy8N07WILAjTn/W36iualmWOvFhp8o6jl9aHHJL89m0FrIiE7/XS3IWddDin3dDEO/zjU8g97MouBMkKM8CN3pXB08WHL7I9URg0dsDjYl1QjhyIMGBjK/xJJNUU1kUPF3SxJ2+YpdA8nKVVx6w5cJg+DjCq8NqXqcwHX1/vFXOA7/8cvFp5UA+zUZ8WcZuk7rWKvW5XcszfF9YalPAC0xPMzmhbWF0rhd4NySjJCxoA3ERTcNbwnJ2ZLYTBeHLDeX2Vf4gwFhyH7ZSD5jGrcVZ+COf+Ld1vRC6eL8XB1uNHHkETYXIGDGUzlbJ3RxY6F7yq+lJvH56aixkAZA26rx+b0N0unhAQDk1KKHC0hHqLaoB/COkW3XVxdwXW7n03aungTq05DcaJhob1SIhszepwWMhrbE9/ZKAYf8RVt68FIt4WYuV6q7AkHjJT8yo6UhbqroFYnPsJbnB4tanMbdZ3XIGetDXrR7Y6fgB0pzpLuCr4NkLwY/TBD/lzB5lLso3lZGyUSKG2OxLljdzmkpkI6hTbuWMFgC6WV6sDuQ3hFjvpTisHJXXoljNK6PEMmzBaUW4sKYKOJDTP6QlRA+dyWWqCfMkO5EqBjhcNr3D5ac/TRe8SMNXuGwU/AFhZyUIYYOEO9k44jnwHL9dhZBLCG8Nz0zbFff3Ld/nYO7X7nUhaJGpGLqvnM42qmJJFAok+ofpxaO9Bdk2y2RNayVMPCw0tZgtAstm5GKjb62w68WdDYLQQy1a9+Teo8OD+H6c3Y7i7UgsAt8UvkvBgMr632BuyRlfsfNNlQW/ZBD16bSEAKGqnBbCzc9az1r+zyJkqa5YS0XeI9boO3vdLawvvgkx2ULmQyY/4wjWC7Ou5ftlAqkH1wQKgKEFqDKOcDTsFz5R4XFJu3I3f31HWLfrJcIgj9SG/zvyIDV0/NEbAnnxcE4u+hTfpo07NynjxNJ+Xp6tfxa1ZECACefgq+PEP/BYSwgNops+6ycbgvN7dE7r6MI0dabC8J0HzmBuVYg+83RZ36VlxDfXWA7rrF0e46/DDuHOs0anzZ769BW29kFUMayJTu7An41VWGvLu7JwxaEDEnQ9W4xfK8aXURMNouN5PvrUcavgeTYkTzOetdIF7x3KRJazZ66yBNOzT+t83bin3rvpdHVziud48o8+WxhDZSWC8n+4+ZE7Ezy/E2IxnagnxyJJBDoOgK9ThGNc9MoeTx0i4fqPyFzSqNjaVyx9/+V8o3hs5qC71N3QNZdZTLHhm/TDpjbOMk9yspGqqep5ll1+sGP8si6CyJJSjiTnBB9mCdTijM7+RRQWv3gTN8pXgnSUv7RinRZ1W/d415rTverKijGb4V+6r0H16IbgyCtC38Utb8F6Tm2xkUzU/twuSBKn5TH5gVSEBGVJ6oI8LhyteiMmbHjO5yV0kElhVDrJr1vHTz0cO8Ant7YtZn4Ir/1nzpVhDL45gKnOrJzhsRK1A7vPIiXNyIfqydX/GxDxsuZUogriilTw/NrOgRiBeWb4HZQ93T3WXhh+N7nKL07TN58V6SXrR58/Ez6K9vnDV8vwgE/lmm0xSq+w3czWDn895IlhFIjjscBYozViY122glhvGXhqDgsJXLfSaq/7WzMoWeuwY4IHeEnufcCukl6wcNEfa8zM/cIM1qROsq1vZYQtm3ll1d0jGxgsJbvK/gTlGHiHgG7nYiARzyDLE5JNhUHnc9C/0mftZVO5pGNuaqeqJM6+BY97kNbGef63KT/wxZT9C0f43+f7o2YkrKSPAL/WpXOWCH5eXaMeI3AuZ7liygtrgwvT6GdiGbxTwtN7GROyQtuZkgNVBXilFI2mqdbFXqG+0F16CZW/+URL/AUY4G6GHss9MGgnlRS7BWQ14DdOErz5WLhboF+r4StqkirZVjfo1ux/AFQEq79KkuE81hM0WaVTMoJioDKFYTlQIZ4E7AhyWW5loKBm6LTzW93lUd6HEBENGvp2C0lnsSL2Hen8Ipg9BB+Dbr5qvfv8AfmFo20q5iCSye2MGdhwDszrn+wRfJWfyI9tXgEAllaZjZUrfVR6K/YQZeBmeCkP8i4nb/wM6hMS0Q0m2kceArdp4ZQtdfNfgvpRKISJWbgIax04C1xJLMtODUyb3CandBy6phmviG8KnTtX9ydNU3fynv/rvMacFkfByy5V9ym3gpctoe+Pg3UTi6Ot2WPCMP4OhSFfslVHur1Kuj9VbYvUyyGUiMMMmAI4SWK/68XeUIgPRIjauexBuTbLU/EeSY2XeacD5T5R0aFwL//clylWVRoIFghcOPh4n32UlBrHFsNDY73PfgDiNkPnToIPund13scBLW0O4JKbcYs24uf98UkzBPH9MadDO3q4zQ7O0CynQf+O/uEIu/Db0KjtHhSHnWw+aPS7JGsEzNHejhQx/57N0jJ7ko8dLfFkfY7NMgBmgHdQCunCF4bnbg8DMtstT4FJlHV80epBZPVZNyzggIWedBQl11M5jZEjhRVqVPNEXwLsv2EwNXEv8BpCklWXcZ6Yg9tFdUcr+YkF8KOl9rb87BLBd/MNYkWWIb8C9kq33HnmOh7AyDHuwl55opeIQQ4BK63KiafEUK8DpuXRxtMiAs+e1l4sobyQvjGxrp/DBgyPt5kBandJhNGV25B+wQjww7B+7sJ0GreFJje91xsKn3QHOk0NsjUVOK1YMmdY1VzeH+EI5G71x2u3qdi1/F5a7Jf1n7iMJJ9dEvWB2iHgmeqy7Xgx/pNSo1yA3WCzBCAMPqqMTU7HV6xnZm68zEjfXqvUwEY0zZfTLTGrJXNu5F7sAXewMZ0quBMvMqU+wgzUIUUV6Wn2riDYKrK8U29w7pmA4cxMHQRQyMpdhQHqrEdmEjEUvIU5OdaWvKfh3pgH7Jw1vzqKUxhZZ/dryqMchhvgLU6adDA/yu+I0WBv+v3x/nrrlAnW6FnLaTW7dGcDbnZ+oKkX5ylu6WhbP8Gxpr4SpxUrD1bMObjAtil1Mt6JObeNyjyfhxY41HBA3wuZYgTgVho6q+46q9uJFvP6VWtcayhfpDyfTnu06zRWUECNuSQFNtr3n5xuHMyjIOkk+Yh4KZCym8aGD+fwNflVR04F2p6f3b8iAZ+NRqF7Cp1MDENhnIH3RHX/2EFEaS/XkTT3o067f0fqksFtMOg334ZLnpHIuihJM1GDMxsVUVk4x8TsQDdrOO/0u2GVP26Hp2bEGMWGGDWttYfni9Ilqxz/jF3R6U/sCQNNED0PIKTRaUNbRGIAFC8829aZeVYeIm9PjejCXHqY8GXlSegRo9W9OMIu79vSt34eB9LpgEZwTx17UWRPX5ldjtiwWH8+jzwCJKD6i9XHRaHkfgYV47E2uHFhpI4AwCtFYnhXp6S7KS78x4IWVhRSm003EB3fCojkMwxfjADC5hCoaXDlk5woeUzbO7K0RrLfJDP73rPj+dEvSLsCm1ceUByTxPWXaSNYby0xuoE315+I9ac3CRIK+tRJal+ULKmxl4Gt2RakspPA6PVIXb2yI3jVa9VRQRK+gE1I5uuDmsCWI7WC1JXMmeIUIHx+GpWekanvUYOJtz2w6i39u51yN5RrPt3WSs9STFY0uzJxe9RseNkD6rSWbjEGA5L1zUichZhBPn9SNlXEifnMy+wi6wxmYUjCUMg+KrNLtESbDXc6W05Ijxza+dsBBHTr++kvDjMLNgUXP1W0ZIdr2TcnW/KpWDxf0033XpUqZ9/1g6SCXafeL3bYujE8tD92qCA/nn9H3Pb427cz14YmaFRsm8Osdsu0vWPc5v3Ojpyt6qxO1H0h6ZucIJTnn2rCNQ6dfqzCaeTR6F+2zbhwV8x6ENdke6+RoCRY+qpFo+zMlG8FsXcZCRTZRjPVvhhv8G3vYGS5pl2uPFbnw5SoIhnRpmVvuatYkKO2Vxma3W6Z8E4la+PzWcuzQA44bAy6zYOcudQOjt5pgCvdBiGescle7dw8dRh4Mjif7HthSUymbfAp4Jema6i41gcQVtnQ9Sg0euivoCDgd6vCoByY6AGvivDauxmYoBaw/qBi9psfiBr8NlYfn0X3KYNA7UDzkgvsFj1BlaU3tOjOhEBcoYCH5T+gPvKUEr5FK3oAN6qNSjpT4TBG23IpafpD6UOz5DhNV3h/63ofsYXm2ZJ99Mq913tli4AptSORZk8BZC4eQ/ZzJHnmRjNHpKf1xeK0YIq7fIJGFMApRh+CNaKyj/4MQm1hahWasQY+iOfada7DJz8IpO9lvaRzgHawS69sNlOAjPfQEQS1I/2qAZv2QTG7jEN+afEqTrM+lnHHBFo7Nn75NF5o5/whqk4H3UrQ1SsqxezgkihYQNeKwLgwQKEn2bO97EZB2Wq8qz7LZtLSxu9abN70oTwJ02iwxO2MjaNGXXBZM0V74L4Lo1eW65VbLXKxMff3spbOrjlxAfl93rir4+o8RguoycZPMnQsiPb0wQbd+f6A3K3/RjgrKDqMZ1nQT1ZMxI1+R/XhAe0aZFffBOky3NN6UOBu7gImabz3iBF7RzOkkyP41iC6Ez578IQ7c8hZOPzdW5ptZBKdcuTcv14bA+tHAXesVZkrSGjCVverXKqZnfFm80F1ycpDiwW55tCDNTgaEGxZKlspvMaesIV5DzsP4nCIyEypg3HBrcPI+3AVxesM9JAUMzq/lg8EPJHHHXDawWxgZq68wzv+7F1WKiKy+qIPjKPDW6SXemHnMbcqhcakLbHE7hBrLofIYR9e93UCP3rtA8Bz24mf1ZPxEV9qNBWGi5EGIpQ/ke1l6A8BOBQPt3lBj61xl2Nd39R1e5gGefuvnOjhfpOkZGhZltXiaAZfbMD3fS01OPJ9Y6Z1Ja7SkR1jiPnJZTBiwzp/DXPJ7L6yB6vsB4vJQIoz3n5KA7d1IE6J+/A+WjCm2CYueiSvh9wqYvRoEh12D6zkwFVsvCkYWjIutRq6FD0nG3kfjvAz4gID4HOikt8uJRKN4nsfQCucYf5rRzu/I6eUcW+czJjm3iC25SjnONTaw2S6bX4Q4QX5xreRsKFMI9U/CsysO6kmkXpPgbWu9K6AcrasqjMQMfJ0cB1jpkj6vTYaWQ+zFlMP4OP3NuuhF/crS+6rVTqBOMbjeUp5r2BE6jEdmfh9byKDjjB7iCYAlRCjY5LyPhzYJNIdJvUmlCRLadVFPw++1JRgPQUklGsEK1Q/sNCAJdZS8vOwg418gvaGjBTEOXHAauuyjwnPgizV380W0Xk52RXd5sL0xrTOf8uS+szHLRFoCv4TI7HvL3sasc+kOApcMDImCGiVq+CoFN3g+dWxHdwd7LcyNSi/w6BUx5XGJDr5hp7/TOC2GSTFp6Sktoi900Gqkt0+e7HIupNrDzJK7BUk+p/9ULoP0uHbQv8HW3v/T3ns1g6JLdLs8tnUxpXDHLiy9sMWYc/fWttq+UTThXj38yVwq2GXxNclcb+v5vihKjaFRxBtdclll7/f8kv5W9xG73ituQGp+zlTN2Q2by0bGq/5IwTLQLBzMGbljS4xezi0BTUzUX++Rd66GWj16U9SlnjKQdGWFuOVNPP/9w8+kLZmL7+n1AmBr3vM+x1z3WNciAM4YQuNKS/G6gVwL9dmryzSxyXdP/syemzwKk0Oxk9AWKLFo6gBjiMN/5pGiEeRfQ84dCb1e+Z7RftuhhUNluN1HtmwtWUZxVY0eSduw8wwyCqkqSorQ+nnHrdBKDqOvZxAlzJukJO3IH8sxPWewR4KjS4z+ZT5IqI7hRxdCPtIPR7wKByv/EtSSfbQtjgW4tyLMXsl7gI6JyJphjw2r+uc6/prfbSu/OFBy9VvP+Wp6S0kbbPJ2LnPiFlvUYln2cSK2z4ZoOED1Q/e7/ZQ/oWCucZCO5iL1iiW7vNe2cL9DREXt2JSOj3DKyGPbNy23+Ed1C7GnuZ4qyBP5qJIFQ0wMEbRCBUkuejR7mpxLnl23B3GmEtWHEWH+HYM4TImxnjTCAaViUxgPcyKcRx8yHV0qnKqNFffRIrXlRc6gp4IfgBX2Gh3reWeqw4TrhHTW5imQkRLKkV1XB4BG/uQ6WoeikV/w9qWcvMsGgHjf9PxUQNeQt08o+uq8tnJDrNBz3J62DmC4JOhREK8XswV8nJ5wp9vhkdLTFpF7IhVoCGC2tF/Gp4PWwsnt+45WB5iGtdCb/fW5qfTju1CESu2JMjAt1hHmZ8CbZUg0Po8PeE99OafKvbtnqrKh8izmzHSM7lSJKLoFP1Ix45Ug1YKs1e4P36kCwmIsZ9lcC69ih2g0BlDzJld9TBByMz4H1UePdcExjh+x5Q2yivNySJp/x80DLRimFeGkqr7TVjctVVirMb+T1Uh/kwwbYVldHVB0CSDUWhMvoP/os6Ep2B5sCnZvIBvcUhOe8fNHBYZ8R4q3RBDgn5609BOvNdlHPJwv85segdoSFOm6OjWxytvvPFGgJb8BqRw6Fdwf4MUh/3E/vTgiJ0SGJc+OtkByrcghlF1jazcOJTwuvh0mSPcVP0/cHYYSiaqc+FyYLDDcKDUPjrOBwUgwqUtmmS+hlxU4/h6hk6Kg9JXlejQlbC6wysyZdQkFk55+5ctcmrd6bFtPNctqcV0Z+p//vwMGpWZB6lwOVUJzYjxrtO+iHcSA+dKpGhemsWO4TIGnpYEckxYvHu0aY6XcMkGSvRN/PrFauyWDGbglEFTnw5q0yY83fQXY2hwpr7+lRbUT6k563ahffYjPuLQ10jKdBNW84hf9qVOcpiteqOceJ3eD7ftegcGyztUT9yew15a7sgoUp96/WyUCg3Hz1KqonhgEGmsqVbQNGea+1eNUX+52cna0lrFW2X4pTjzRVRdAuZDqmSY600Rv5J0u1OnZa5kwQdkIZUfbS8FjlQHx0t7tTp1cSl+an5edlk0QWzEjoB/xBsqpQqA4GeUhB7k6WPKyAnhqNzgYZEihnQAzR7KWks3dldV7Z6MdPKFrLCsdeRtoUr6jXICvDtwEcekFKqBAfJ9ztZq4cZ1nqXNTs72HxhCRx87kzuAgIiNcLsa6hg08xvNeHPkjarAuBSiiwMeKlYODXAesECOLpA0JDcfH1MHoYWj/s7YlffQblZuYuoaRjQaGTu/Fh1jMlkeWW5oJSV80QiupEdE+n80om5wVj3r5vRUkzT8RFAJ0rvjb1zV9Yqzyu9XoMlRypoKteZNyW214jV32I0T7eAY72SvTBGRwND+B7SjPIH2r6dToZfT2wIaFJXZXph9AJ3rnhD/6jp8UlWuXT4bZ7tTX80u6PJXK1IIdICf/jQtob9ksngwTVRMYX9XtiAiDZczUmJYl/FnyCLN14cpRL6WTKUlAKSXEHjVwKMJG8tp2uQ2YHQ38auZ3tiR0bjqlWtm1I0tPBkublT0w+cWgXp+2EzbssOOCTK/3Gv3yPN7xf228OybmjQoOyudYlH85dFH1Klye5kwEX5IuVmWktEVxkZE/D8+MbhtHgPnc4xaXxc6BsYnsWHxbhCoTOxS8asC5oy6AOZja7V749u19XXKkpxLHSWPBXqO+ypSKoyAnaUltXBV9Sg5Dyrs6eNTgiKGbPrWAwb475oP1omBfUKHi1Otizc7nJ90BoUPMDBmCHzdvMNrT9sF+AneTbhCzRAN+f6/svtsBmDH3EXdZg9ellUKLtIT3z9zWaVKfJs5LAvQYCiB0T5nhubDmMPqC2Wws8V5bow2FVd4rbVJbgZiFvricmr+s7Ci3FOW4rMrtHxwmfXwDFNg3nKv2BhNPuBrYK1YrqHXO7KQ5bGCH8R5btF2g1h+6XL6+b7edZJWvcOacjs6zaJaHkKih0tCaUVfThsiHXMy37Ilk7K+HByDznZchbRwFiOLoChlUzLrF7zYc6Oi2IeIkSAofJ6wSwKA723aJT+nIFyJPJXIzctbB2mgrEX0WCY5bXeRVLaUpCoj4BKw+3I6VESOBv4f2lQd+TGZH5QQXIkXqbPHbBYb1+DQvjLnPJkowKbe55qG+BPSxMkNu/FuOagfl0COfvwLE1X8tqUBqWOWcS+KWDld9o1NCXJ8Wr8lpPgLSj338v/Bg6fkJ7ZUwOTrMmANwe4QkxQC0qWwYhQmJAgxPkKsJWpqpEptdEn6m0e7+ymQDebjqwZT8f1ItKT9fdYl/f9QlFJEDZ92fFG3pM2cWHnHtFnNf7WZlUa+VmD/QuQ4e1nIxC0jeb2XqV53EmIjJ9dZQWY3HekHM6jnxhqWD7ToruFx9yR6coG/IXdgpCdlUW5oAEEFqRP0s+oeWhGQv/jsBA9xV8HfadZJaxL48JEvXERh2y7ojOsgiJMU6jwUMdELkB9O10bx7YeAzym7nzdVvWwOD/IG1H8iYHx5k9mMMXH8LiYz/qqvs5z/Frk9BhGNx17VhGsFlyEHnrieze/Xw3jshqi0xmMk1arBMb9f97Ccj9vfLJgLSxk3l1S6XmYIMuIMcdqifYVKNBnpoEQQ6AmXVZVq6l/TwSTIwbPX4jTgjCLUnTkJkM3qR3ZYCQhjmPKgDu8zEyNaJ16VQgCarmGZrr8T//wo9deKnze0fHnU6KSyFCGAtiZ+incAmp2bGXyN/0haa+2Y0dcBYcq3oBrqbGitBvtG1WTepBqDziA7GT1V0LBfXova030eyBM1eWQX7SxlUIrg4hOK4Prtd2zqubyUzKKin2KDj0iXThozpmhdsm4n2H07FKJwovtDAD7/ZDc4N4/7yM3PTXrKwc/2YcAxYcP2IPi77q0J1xsg+eaBuYecBKLOs+jMsayswsl96ncGbo26AiXNRKYyOx5dUpZQq4gQGfwcAIS2nrJz4EDOetnoI9ttT4qHBrRU3nIL/oadfCoxNadw9EyAW6i1W7QkGVGUvcgn268+gBWW/xQ1tYqCoO2Y7QkB199hlxbyvn34wNDK1OwjNWzvCnN0wBlYAZ4zi9ogeCU9k2QW3MQWfc/1i1t/tjkgA+mVBJQin6Y8PLbuHiWFOLpesOHEg0as+3/b4LKDZRIqZLwbsSV+ftLTfoR/gmgmgJ0b9ro5gG+sQNdBVi91AcQFjCMCnTd8bX8ZBR4PlleAGbzK2R1ktY+YFcshK3Yn5yqN1tRpWdF+fcxfo1dindHTkWTVIQksUdK/kAerOodbqk9IT0OM3jprrRbgGSYUVXbpVADiYyoCcPhx/K47EapaOP7qQs76/HmJfE3bXFthvjLxvgKkLLk43tHb8rQ8zIEbgAPN419QQIbNO/gIMhVCl0cqv6lBg4HCIREuafPmcFHkjkdFq7hv31gKM5wB+zLPAHJaU4adiZ3rfpnfUEFmspPtKRFLE6AkdOLJDaQAES1ygD9nx2d/sdBWYEbfA7Dfty5nIlxEVRscejAt4z6l8grx3cKIEDdxbjZqirIv2/YMBEFcDhPKypr0tOlqzlRkOhV2dOY+1Xw88ALxu+9UaZWShfMg54gSTgty9Av+ylI17bw9GCcAdOD71iHUVAxEgnsegXsnZsSus52H+SRcpxXdtkVcuoSZYgz5HXtakzykpesSFI8N5381DGb2u12DatsE9D50dSbW110A2dslbqRyf33otwbF6rEJ0zgqWoW14/wS6QdaQ3SZmIs6naabcKtHlXNSHEcKNgitBSZpYj5mMH/E5WaT8g55Grw50cM/BNsZgEpvb32wP0Jc2vH3trxbOzeryRLzhIE+zyqj1KKu488J8GUeMjhhc2Ci7LEKsBH+lXTSATyuPKwXovRhUsZ2IMdF3pYAad2rxHumqM6D/0y92pESscEth/+mwU5Cz7riNzpd2KNZD90gonlECFzUh2cV7Ki/alCK1rPj56Tckr2YCoZb2SKKdwdVqBeW2s1w+SnSNEveifSU2z52NtrYlBgGLfJ1DWRLuwILCvLX6EEqR+kypDXnRs3FgN/slZo0Yrf4NPxXwhCoRzymSbOgFTJsRcsDQozOfJ+HgLCA7e9OiYdhIWxD7K4h8JRDdGk2em6xN1tWHmWJVxXA1cbCc7BluGT3yQDq0gXlajG7VS+GUdd+fUWnvfFbL1MsOh8awMt8EwE5sSsOtQVtYvEUERlm/PjHSvp0xg1lGjJtO96ig+vTcUbTy4EiG5F4ws03JZoMVgmn2di3GBGa1p/QqDSFE33wS5R8vLYSntNn8B19Via69r1R6LErfWGni/ylV/xHlIKdM0l6oWb7h9n1LFG+C3RFbB7MjGwc+2psq3DbURkECwcjiyLQet1EiHWEXvpyzXrYlaH4CpouGI8LdRPBXpFoG3CwlejoNa6+CZT110GlJ7iyUhwgutGDw5uoe7epE9oD1nALOGFrhoQM0BGIGcvtzU9+P0ujr8VmTcSjWO6EizwcDQpExLYX0K01Ia7pL0Rnpnq/o3Ano3a2fdpAIsJPtXeilhiLy4ICFE5/JpwAUZV4F8Lr0ZoJfnA3go9Xi54ik2X9N9x0b4VtTPqsKgYQvLUZuzA+gICzyLtdgdhNnDCVK/Qs/ITkhrda+mS8E65Knl0gnt0yrWPWAuTmEV+woim/uEIGfJ40n6Yww0cHWD0w0XWjj/oAU8J3weNwU9A9DPHKDrjRTVu0XcMjrBwq3TVxZtq4NHdnc9UUWZqTrWkjkJ2AjHvXrqOPZZ0WqCkKr3im4WItvN2HT80DYGeRI+Fm/4FUDSLwFWJWUF7nGEsfCJkx6zYl+0GUzaPDBiWSqc2seFqqDsl06mwbwO6MxnRyGYJz/FAlENV5ae3qegfdB32OdBmyauWI39rzJsnWyMuRv2vqJceJuqmtRTx3i1k1HwS0U2FvGa/hbPoa4La/774fGvlVkiKBuH4NKUYSiJ+y3UxFwDwlPIYBAXE7QhIR9ZQqwnIBh6Ia8SA/XsrT6kVQ8UkPHdOIwYJv7Rv9SbiKxevX7nrroQcYeb/sKBWC4zPHrFvzNCD7opdQI4AWB1Ru4wIC+s7lpNvH4Zx7e6NxYDcsiWQg1WWyGSZCMDxe3sHhelZufxCX8TvHd4lo6MS6u7VwX1r4za1T4tjFgI3A9PAYQWAzU5NPhasCq9SogiD5w1JfjDEtQvb0UaCrFQ65nZXVVdYh6nnwrUQjpsnODVlwMqBiONAjWSbTVBM1u0Dyb5EtHUvgXBSKGgncGc2W4Wzqv1tlk2FM+Iqj0oKBzSmrI0MHsPN+Q8G2DsL/86V1qtLrRgvp1ikWsuqbKOCXOAcW2a5TVD7TWRSl3oj2M7dJnQ3XDyFnKgV8fhJbK/q3/DE+3dOvGglyj1nDL2PONG/ouaxvg7ynTtLknFtBg0PIld3lMZeXc96EQyVZjKyEdtnwmQXs3EsrxZSFLtmj1gbQ60vEdYnObouS9AZ+GJ2O5FuWBMNpTgQXpiuidzH2VMv83ddDaR/0WlDU75R19ZMVBX4FxKMAAvRm2BC/D209Nm+qTZFVH53IehpxcbPGaZ07NjJb4E5hTU7gDThisp37pte424Gffc6RARvjFNxsfroGpozpvv9t+QlkLQ1DisRpS1VRNPIePPy7AlY0SoLgfHZIkpAMU5wl0Nglrca5XxqFFNeaBthYYeaHt3AMxP1kIiL0zIyCK3vHCusNJqLrp80k7k6CrsIdr8hGr47Zo7+bPp4/Mfy9/kUWrpybN02dFmueSjzaqDC9a86hR5OcE9rI/PJmtPQjCzS60XBPRBc8r8esYeLWROAmp9NbRXHDa7WGh47tQCw9vHplJbt3DBmKgs1HIVXt9mCB30COre7kjZKdxRYf8R+JV773tM0tMMzAFpAOoC0R3MMP/sc4ZDx5XYBa2fai67ajoaiwx75GfxsICmrNaMQYnZ417qYu+QTGLn6d/9PPXlry+X7i/l4iguM/G8koRj3U6gOuVFNmcrcXbd9LijRYgS47ErfstChU3JGyiX+RL7AJdvntV7MbVlzTMNwPY/gIrkLIoEQ6Mr+KQujncsSS9kdaMf7ao2tU0WVlbKWlgs6NQBxRT6p9yBmlPFMm5aQWua4AvBZj7XW5f4baTSMtoRC+nS9vIvX97zp8I8kI+SxHHWurH+d7rNIGyVZnC5RBAR/AsPS4cNHiVKoLsgyw/82gyV8CY6R4klMR2pYPr78iylCQvuk+aEl0ow4v1vegGX0pYV3Pzu8+1KzX3M+bA9zOIpdkdN0DkRM9ekoK9t1w4JN6bWr5d1W6SlRe+9Y4d2zHqtM3JwBbA8OVQtpldaa9deHU3ZN9zNgcOF/123mwZigIrGqIDMCGZQdERzriYXFJnxOqgoe01AOgn0DMX/8NKFQX9Tq3lApAy6kWOrq4bbfTeXOc4K01pFT7fVO85geqjmAO/XPsviFpxepxtq/BMJCEH5EpuLS6CXYWoIlxi9KJx+1K54QemKEebUS7HdcHLmMmSs+mgUMHyfWx7NwCTAYOzr0u3Ty1zV7aTpTKZYj22mcKhNLDrTUespFGXdD4e9xQc9vzEqsstJNwyjwI4Qzs9f0dt9522T3in4qqxN0V05D8qZwN+WUHU9jnk/pjv2yN7kiLfk76nxFWJLArCaC33HR90tinLheybLk3IKUPyk9F2xK4u3bP1QI1DoX6j0FrgGktn1Mwv6mR5CZEaD4T9RGzy2x3ytJ7rvXLVYPWWDDlsJuaHj/pBSeSV63AmkxmWczxv6Lcx19ken3ZxTD3S7Gc5BJGBcePxsO+1wzUQheQpl5xOQjvlnWUHrWj/Q4ZqYd89gB1gaCjdNt22KpUp31iu1RN3XR3f1WxhYiJDiC2cZbVF1ZTiIJgsfUea81gPA75rOoUTfkaoVhVcwPgnK+2xqe0ze+ZAl7KybSzorc/TDehjRQ1MM5Xc1jA3Ck4yPySlvgTWcLK7b8ei/+r6zPibPxnN9Ij5I3lM4tJ2CsLMVYewhbOGmBs5nQqgA5IlpUZw6yFKVCoQrYb+I0VaAt6mNwynNk1stmTYhj6kuLmCRSP8Hyp1tVwNtCySFxrdRvVjxtSkHOm4fj1k5hNKM7+14JLvBPl6uMIJOuiwxSlMAh0ycH/Cq+8gnVvlrFmiZIRCD5Jl6lc/O94ntcd1eNIrX2ADl6S+SpSEVGan20BPEzIFO3aZiw3qwbfD5j77SRLOB5tG1d/WQUjL5G+GJZcH1ahfZd/A22hEvC1Gq6CKbwCqLfKVn3VojGuvjl66UmyUlWM1qm47uj/TGl4V027B85LvE91kIip3KPJhh4QOHyb17HXt//s7vVi00EhOaQorXbWduEPi143d6yqNWbpTZ127hReHa8b4fTJhRn/2ZArvRx1ngEfGbPpuCiY+lY3lEBRn9cjZnOAh1j7ITVevxSX0zYjqj0eLnnJLq5xrrOJrQ/cLsX2S+y/+Vfkqoofx4DVrsRH367LO/wmTypQHHY9O/PhHw8bXTmc6l97pEMisn4LOo7R9/li5W7ukOiDX5EzRYSjlFok8dG0HYe1wSVv/AXw85iwJtfon0XxDczs1MatQbxa0Wv5LI7/DNT+I9w5p07SOtQJhRYy7+N3hAAtMbNGWFuX1CssLJGEH82o0BKZ0LcSsBJaLgEBIVjRKD98YEeBYQaimkbtEnccpgbvnG1DDrmSgayCsqQJ5/fJia7nm8hc3l78YzkIn2l8Vtbi8nz5fLS+R62rwj5fUo+EngBB3HOMuEcElwiYacbuOVnl3tztTKTsBS5ZNf/4J1fRTMSTUzXa/RkZPAL9Zts5rZqSyjtZ2pZOp+eo+MnjrNe/dpV0h36qwrs4SMQTlK7K/RAj7o9AUoi29tYNv4esD7H55/DHsI2yEwr523kIKs8Js5ye56hgZXP6x7D3OCOo9iKH6UZ3lMyYTLF7URWP7o7hHPJX6Ima3nNunwUUpWIJuwdOWn03GJ0Wasf3Nf6is1FUUputrA1zXNGO0EIyLLo6+gZxckEjrF1yfuynJvdiyDwB2qCSpsjd2k4ObVIfCcDqKICxaje5HZ+e0s5WKlzbdTPMVVZd9NQtNVBIf7+F7cPZq5ErJJVzH7tRxsM7f2mGeUSAoe2TTqv807Q3U5IfIakwxgnb3ocvFQSSAHe4fwi9O4d8kzsaVtLk/pz11HMoOi9Uz7slOArKlypr95YNUj7NEVflbdJvoWgM4eCkYUjZuvpsgkls05hNTQ0M6SAjhb0DDOz682hDtLf3qaJs6zQsM7aFLne/d0ytL+ZbOOvtZSAm91jSaU37bLSfF+Ea/IM7cONvi9GBB8wCPSW1JTJ4CqyBT7D5+tghda7pdbsjzu2oSiY2qSA7J7FQQgyqGeij/OmRyxvJhogGri0MZpIpVc/TpoU0mnAOCYetpYMWdXArVK1AR3Sgrs1V2JI7JCqGq/0eRABanWbXmynAN1aP90Kb4UQq5DUM03YfoYz4l3e2Hk8Gx3oBfaN45vRbmqiyJKk9B9cctLifNhGXdMaNKo7JBEcmyygZ94nUfdxAEDKsZiZHvBG0z52MCMmISH6YvX/jLhqas1uPGaiVDaWqWrmKYC8llbHgUPVEJYJQEWHHOzvp9MPIHv6iaj2V7CswrPgD8w6edfKoD6OA/k9MlTZvUZtst5KmcAXVF/Q+LhrIjiKChXY6J+4cUaAWQCuOGTc3ELlefFfjOnYbov3fUHWXQYTysgEj169y9D6zwZlQViw8FDMLj19yx6bS3cPGfaYVz6YKiJGatXflwttBINE3RFHb6U/cW5tqGfpHQM3Oa8qn9C/HKTfHeLanZKvMMfPY7CKk9SfgDuUXojHdixcs3FCjoMsYfmhOFlP4S7fmhdnB8UaTvMt5v2HDmcq31lSxE+PJzDI3f/J4Y6e/gnGnAf14JC+MITVrJpLFEnuDogmNYtqLCW5I8PFeGFVzkb3CjHHF1pzxfMO9BtWeaXboxem+MH6scKrpAc1BEgit9WDJIvlwurPXrxaL7Q+jkhcrNveprjq93nZRIKr9z23zkKXf26UeItL67+SWtnuVngxIcH5VJc38CrgzrkYoM2SF3pcgQDCIJ/X6Ys5MKEwuQtxw5d7L3hXMmUePK74DtlUOWGbAoyTxONG+mBI8Xq3QS8vW47FIlPAxp75Lc1VLw4DyGmzgi8/xorkdExwHzgpTfz4+TrPj1oiJX41GXjop3LndTHVEGeHhAqXRSgVDXlv6yIn5CCn6EHHSj5ez3yuxGrv9K1z2YrCQX0Ejst1J+WTBZCjVrDmhjUZfUywPr1pvAOdMvPvDAdR+2oIFtB+pk+exbHGAcjKJGjE6B4kzNOsETsUNnwxuaM2KjWVCObMTvf6QzLL/Xa7n9kV6EO2ier/ZCMoggBYuGtwKiGEYdsiFAULyoy27eah8QoBo0595c0iNxr9Fc4lq/omBSYYvclBhEsSgVWmc+SEk03v4QVld3Z74jj0VXvie/bHZ1/BLUV7LZU4S9Jz/jslu6rhDcRyXtKRwI/ZEH45By6OP8iY1kKpVEk3DZiE5nkZIdRjdRU6AXpqjAAqvc1E6beb93Fi4Jw9OwCjS/KFE4TxB/yAZN9f2sA4eYG82ZUwXXmT7XF/M8V4Cw3SHYkyYUMGbgGbOTpvgqEF7C4b8usuGGeSBNLd4DM52umwVMj92otKabWNMcE8pGmy7YhUehhDnLsSs1DxDDf7G0yJCHIMrFW8qQVFc3/TzCgFGX19oP2WMbF+hZsqicX5hEL5h/GP8Xtew+KFg6jo+/M8bmoAVwH8uo/tcyHS2Y4vi7Vuqt+HTl0aC/BCY1aV/ffh5OgU40b0Vrj6XSip8OdaqJIVT+2PjqL54taOcRH2sWueQWIDJPSwGRb6IPvm8txwUr36e4gIDZ2lG7ac2UHLnoOBlTjmu0G766IoSGbHxQIx+ouAV8nTb3q0TEAI3xmSFg9KkHqosPdVlQ9sBilXv6SEY5903IoZ1hb7HpRiNsQ/KlDUp34Be5bDVBX6/lPqL0HyoYvyyuvRMFT75tjKs0zjNipDMflRsQHF9gRKtqANO4opQ6N6xoYbgeoQ87Gho0sE1TtTG9FgJdbL7rMJza/SuQ33fJX/8m6VbrO/ogmy1ivnJYqrBm6LBFqk0hKrLdEpGxjO6SvNBXvOHnrqo/nATCt08KUueLYJfyCFLkK2qPCHL1QXjxv30UrGScerAr/F+ylhXtSuyT1xn4NXcggUjuEfJty8pGvZ1OSfmytUBgY2gmzH9SJIar9P8kcIUKUQKWsg9lmLr4+w3uKyZ1yKWqOVrNK1Y1ucteGV8JvAgegH1rFfPswe1+22+ubKL3Gg8jmoclMpgMEuyBsEtXEUILUJ0tATdB4TB6i+JRH2pwIYdbNC9nJWp8LTjpSFfWPXaJNIf0t4/m5LGOv6ypKb7pYS07OE4JcC0abrI7EbDJCxV3LqQRu+oaQWXdNA+zXy0x4A5xTxIuhRh4U/OmNwVgvmZBMhWl6wDf4CO45fGRfkAeLuwvYh+1RS5gRcCsykwQT4woM2gf6u3B2kDktR2zArWdUwFBOWhxp4PnLdKP/NpPVGGKoxButQThE8JwAl9VuFsiSE/a0W5YEJwKeBNMmnziypmh2MBMLg/E/z+xtKhn+uD2t2TcWV6Q3fv3qO2mTAdSOvW670lZqC4KHQC6RGui81JhNqs+w7cfjl6Fj1tTwONozDjjz2/JrT5W+v4iukbYgFQlvSBWj/XZDhrQUsBBAp6/sV9lhS5MjXPPq5x2E/C4P2TmRcPgxXJXpasW05gp5k/l5+72venFO72tC076otTMYcVcSxi66u3UolJGEGvNYu09dtOGt+BqhCpZr8yymC4KiyO1G0Xjrdth67//Koui0aqVv3hAQcLJK22SY2RPd8d61jYsWb146QveBiYkiTNaK8C+39wsUBYLszAB1g1mUAJq6NLa75GWtu1jFS4U5eYn8mkjZcp5I+4mEK4HexJqluHkGK9c6iiXAwNKNTa1YcVj6ODH0UEfWwtdrNo7un/CU1zOP1cFQH+7+AmsravXOpSuEBhNK+bPY8gfOB1PZuNv7SAiZS+YNNV0nJwrXNks7XP6o1npimrgk0JUWbRi6VF8KZi/m2+JE+DquyQoASsQ7KU6Y028Kk3xey5mrB9vjFsggPeHomhF5Stj2neeRc3UDbJRWr9TyrCqM6EIS5RW+1eyPdKuFePIrwzQAU6kORia6EJe7c4M9G+fIzRxsKK6iVVYJpXSVwV0pCzKEb4pATBarV9P+gDvH4w8nAJOy3JN+YaS5Ib2ZKTrZXkC8U3gcNeEIqXvSmf4ldybZj3sVvhrJJXZ5hkGXxcHwRJS82tKpJwVRqCj+CF/7dg4U1lrpKkkpapf5LZLndDVOZ0PotPYoY5L7Qfm6CK+61NO3kn9/lSsuHTT4wLHrRvRdlzqI+ip2KeYA7fYWAa3SCaI59OeGMGjjg7b8J8oPwYhRFh15GDZa2yvm3/VhoJYplYHi/jPcPujGEZqAcMu2JGLVCkd7X5eced1JxgN/XP25aqj1k11eLchuSCGMM4rAO8Xtm6ds5lYjw21zP/5LtJ7XmNWFEQMIVba5BwSR27LMjT2eDCeLeW5M5Tb281UcMoc/brFNoiJ+eBMc/PZrFplxKMxz/1oVyuzl64zAY/LKTbVyOVrOtZDeWJB+p9aEVQhwwqgL4gRBkE9vw44GoIxOjE6a5h3m+LlAjPenlzxASe16EG5uCfnG1yEDzRBIpYfqzqIYrGdbAmcYdwgZggjPzbnAq4gijVtjpZxpVA2mWqo/4qE5/u8OD+uvrL/Wu2sbhvt0e3U0mAd2ZGKLYf7VwD8irqDlZ36zoPWZOYEW6KCJ1gl0fbOwMZ+vxMF27dpkJt7SCb8X4DXOVmlZmdCctLAtxny5xEx+eJ69CPL7MuLaY4GDgYpO33EihZX/0vcL9vwMNHmmPuMqM8oIDrazcYW+ppDv2Ai+cH0gRV4SbvhoQG9qMy06sqnP0znNRgZ1C/RJboKnkvefHRTdxjLNGK87Z3IyosSi5oLiY2i+eH8c77voP7vpYPmVexWAeYGCiJckVt0FPjJJj9oOzvXCbfm8dGWZ6QiayccEdpbdTSE32RRwQPJxMALQgm1Bm/DQMkdjFRZ0w3Ipl/TrB67lpEfmpKhiwDKofYb5EZp4jB6arQ4CbxzJN2Z4ZCOLTEMK6LC+NllRt7JoYhL4ySeeTZJhbtzgfkeCcjNsFp+vaQQ5+FMvZFuuALJCs9EjswXO342SqGdtFhvcmM8dtdU+dov7R6yFYmdZuc4HueghWd9NL4aPR82ok1ncdDMoNq/HsNVByw237Bbo2ruXhY/097Y/RoH2TzkwG44DWwiAusdcKthBycGz6/NEG9oFYJk5YVA8HYHPflbaq3aanlXbLC+QUiwQEtFHMdOo1ygzvN1O1XVvoUbCAYcckVcPUPJ0XDa5o3uDGF55U4CjdXGCY9WmdkMXiXnYutEW6c275uALO7TBzo5VbGPL16oo6fkE48Gk924ZCFWbzQt0TKRooBEqHGXc/g2YRBuRTlV7jvgi4xDDrdijEDl6ZJtsGY7gqqgtC2oYTBIfYXdTRIZjleaMAWzofT83/Uw76KYuFqefXM4QBWghS1UHkJ5/KH5q5DrSDp6mtRRSBhyPvLeLlOAGCyA3v8mn5VvIKBnHLd3ngwic6A1nxddRvGH0IvT5hmS9S1p3WD6TM/2By20t/+B9oAL/ObMJimz3qRQjVzAdWspgPwhtWWb8cKo8Bx/CXR+e5MLmnH9ea2vC6Currz81wJ37+WlhNNlkLkO5PclpqXz87GWA3erJrV4tCFkpqWpWfFVEoZ/Swk30vVzdfNw76Zs4C87rweZsgoI0EeF5RqT5VWlxB//9dQNk8gIA17gMh2FSnkDB9hhGayDTaToxowGVhzThM+Q7lYCToxJ4NyIyvrokelm2gc5H6vrd2S2IJNRQG/gPJ9OkU9/YNk4wtFv+DGujPEi2UnbhEpBC4H03bX98U2wXHeUZEdCv/3fA5nOGAgmw942MB7xCuVbr4S/QZABJWLNAk8s9E5eBXXloU7J1BSiL4NpSpSjgWJnRvKZ+Z9p8+T3teKltuE4U6n+BENE3j1zFZQonBM+Lk/7lNJD56KmsMhCwEuu0hxeJ+Luf/tI0SF1MLQA2VadAL8MtW8IVdNGtFIaXXPa66YqVlWOfDFrDVZVt6TJs2kSyyFF6oYQ7SrKiZQSZxy/RJ6c5j7Gy5UoWrTpDfMBooM/FBbIghzB4N0NKbBvhWhW7VjJyVCR7JVKcWbiEtfRjcDJSkA4tJmHy/t3rK13jl0dTQfgBvgPzlTnViWiuhACZczsXlOvOEqXqPHhwrGOaqyPrL7NKnBc2ALMwB9IauKWeX6gfpEDWOXdlRpeYs9j+V5fmEx1r406a5r6WvOVfYOfyur8ZLtpoPxEWPYJPudrMhvqKM4qOgEQz54fQsQzsurG5pSS20EjifX9MmoDI+GZwJYKwibAWvaIy3QjAsuQPpnGze1Z9cD2kdFXYKsIXd5jhzKfkoJ9HykbVVx4LT0aqqYCIdWZR60CoKwh8KaLheDN0aXrodZu07hPchW8bc7tASg7TycyYioHIN4hvEZdGx92UEEJVIotPbwRX1RDoAiwcTkT1LThAJNHZq5OGUDT/8EVN869FEBqbX/dLiEpmyRpogM4EEno6qDgHpLnFvLwqNKukICsknds5MdrkuicNQ7gyiPGaJu06MWpeegA84ISDNvq/dxdI3lOxD76w8QJHzBWJpWZgAj3A+m2xNrotSMzsbpsCA0iK7N+0+9Bqk4GM7gZV4WPOBkYAGMsmFwX9qKfIZldO4SfZLJ+cHUzXsgUpk1PxwiBL/sVxfpZ8NPEh/NPcr9SNwYjyjeIL9qOdnPbNI5UmpbDBdPh7ySEG81EuxWm4huwfldaDcuY2AzzoXinSyktZSdKd3zS9y+SiYuVRYYSPSyP/bXMxwAa3REMbouD4z4jB6l0px6B/sVuJvy8uKDpwJmTtG1h2TY21aeOrtGvvPGi72pT+Y+MSrnyv/G27Zx8ipU7TGxKG3IZteTuGF9KILzKfwnKB3BdYLBexdUbcYcgHbVRLyOvTAwuQ+Bv7GwnSfOFI35IqsltEs7joUvQLwhF+OUeOLD+tHJ285pkqWFPnYwCq5qqWWTVtMUn/oZvrn+7tmIV4g2UiVu4wUWw28/Y49XoKV0gZcGtP9gNjXlvsytmc6x70YanNZ3kBR2h7FotUMnkCc/hP7b9zXO4BLLo8o3J5W6VOUg2/PlSVwSmHJH3dX8R2ZU8dovD0jJ9C4njmje8yp4IMq3tDUcIIJYshp/EDirlbEtKk/3gXMY4ZXlcy9KBuvAcexiWFbvfqjMastdLQKjU1BvqAay13nNheoFO5c5Iav9i2LEjewtIULwp8QCfXWAJUuYXaO0T8wdoAm0gfFxwUL8uhqcpeN9H0gCfop+FUPPE25jwyc5cA22Tj/MbEGVaJilCkfJr21HmirMuTnugBATE025h0TxgYI/IXmfv++FORpcYFAcSgHYpIKk12qkDLX4SH+jp57HwcSSUDSjj25LObF7QpdEDDB4a8Ghsvk8Q8n8LiQ2f1/tklQJytOMfsrA2j1N4uigwFt64K8vbjnRm9AkpHmCXhhgzxpdUTZ65MPTMbAbmwlacNRk2gYs3CbhJuyZDMjM/P+abjRGzewIoHyDtQRKFNCDan47zIYAIftUMHh6O5WuyoWDmSdSvhZmzzlGzoKAeMrwxPqDAgu3TvUyZC5t6AMYupAd8KKyYYo17D42ecMcKiFt/vJnwDzgNDyW7ExLM4ojKReTxf0p0MK6hctdyqMyeVNzQp95ptK6/NVlEZzDo2jU+vb/47p1bjL0gtzzVDnbBzD3QT7btZL99jrIsUsCTunFrCremrm7BeOx/mTPH+0gi+LCMeqFTgr7O/adshTeAqm6rdUpUE97Sb3/ZiEddizeOK1g2LDWrgLyH3HqWLp195HLvM0jnj1hUBOMpau30sOUHWoeVMdDG37bGsqamy9qtknspM73K61vKF9wu2WjMjkAixc091ZNIRpNI2tZAX25PJuBimakit34RnVhxP0rjj+2vwBGzrFoP4J+TO1r6ciVml9E3KL3YMFrM3ssoBju70MHljIIZSGbuhCjW5wrmH7tTRTl/xPesYkI6QS1CEF6wDLimZ/bmrAppUNLyyQ1g7P2ZQxiidEoYjKRSfoBX37XQyXhmGU8K87GbLNDtQ4siO4ufuf7vj+eV+aR3P7DHIMO6qSrQ+zvpBduDsPmSC43CrHdbhJSqly9576SxOFPeka7fKLtd5mznA96+gkhBGWINznlbTvRCaGCIrGHgnT3ozEPNrF6UsFrZ7qwwO4w1btnyr6myRE013XqWMom9BHyhkxcAmgvyHC7riPELUfPyEKk8T5MFyxEiQyYksKkAYWFTlGDJgQSgdLzsLni3/KITGWtueVT5sm5CBU2zr2URnCfeuOSPSOBMCeJpwiCKBpxL/mi17ya8CYQleBO6X/ZZP8fcX6nUbzrI7w2G3PLsi69ZaMCUJv/irxmpUTDeZ6xbJ/TiYZrWsvY7E7Si7RMMw0L0SwRgAVuUq2BNjd+ZfOLkH/eZkMxCqYU+5duecNbUSKwEi4lLDdQuHWnwtNzK2KmXCKpHKcRTS+qY6K8Hq/uI0I03qpgvQkzOhG/ujlujHkj76by/hAKtUTZAd1sOBIQ4xwYSNWUS/dymZ6NQBe1JS7QZy7JhV5fLdLcG3o9+DAxY5GUq8JosqKek8859MxIf0di8rPgacsMZXm8mg6ARsnxA8qdo3zn2OTrMiiwETThjA+P9Ft0cWReOukJwqmcMslPlg10X0IyfDwPqTFD9pU7nIyh2ehyeipPsqDKtTLUlMrvRCrbTUnn78Z4yJ4k30RgL5vuZoQboWiFzhpm2O47S8SlRhdrPBCh78B1/nzIMhoLF4Drmp/wqbycQ7FKOfRczJUSetrvIO5o6uxMhbbRZqWeRoZwI9TEf7ddmwIGzrJJi546ZvZyir/y2ABo4OW38yvBeIqTtqtNaL7r5vqtWIWV+SG7LXdkR7jKrGum0HDQTAAbNcc2OhArq3f2CCyaNxThJyhMDJzgwm+h/1T6FtlxHk3ylq8bqmI66HN60zjtewBD1vDUJRoP+WgfaL9EZ7q7udzA6y9CWVM1xUKGOIF+NPg7yJHe+jZfT2RaHtZWQlr7V8dIiOKEhjI/kQn6KsqPMW5WP91L3AwuVqPhWk5Uf7iSlrBUKtLBvC4ojddtqdpgbaOeSdpyCBg3WIj1lpQDwsgOcoDJl1UVWzgM8iqSG3c9fxZEI9BVyFuptV3S8n4E7eY5c3/6LSHzb0x+lGEyEc1de0K70QWI/x6Z0I1B+8dUVaaM96WdnIBIJodMfqvFDX8X7Ue0JMxYGcaq7ZGH9Wc9OK2vCJqbkWELur+kAvrej2dJOJXDhnelLg3EVIf498b9NEZJ5NuoyLtxPYqHT+QZbXHV79SFTML5NubgYlpAdtRveGAqnKs+vJo+jwaz8epcEwL0bwoJOS9YBWIstSh4klYhLQsasvOUNJxfFwkQY1oUp3GGAvwNrhWzyuGiv+GS0whUuzSL/di0t4RJn+0WV5j+WrTAnnT28btpw8xWkRce+Mwprdt2JmajlKP1ftXJcPBPfubpFnIi2mBsD9lP47GGAGVQD8JQimbTsXNGPQvKqMHtsXBuoltNRxDs5Qke6yslJfHgej7cpfug6+RCtdEQe7utshe2BSgpwZDmNI8CHuy1fEosIkhOkiUqhFH9l+NJUprYytwc/WAG/rcgHQjMDjWoW5zFPhKVN2+GSsNjIIbCgARKqANwLlR8WjGizQDAHGBwOX0QlBixVWwrJH5lpxHwJFBEec6PkQgCQ/ExMtIul7lTMkbt6YiKMLpj67rg3iQog46lp7jKpE4xtyenxnrMtSROj4C39ymfQfdHiblRDLtYPBmRerDPotWrdEYWmZUozeb5189gwWx3SqcgHSkNIpCXPy6aFdz1sGzCHik+6ruOC8JwFOJqDMVtRVsBHB19UDPB1aXPmUVjtRbGqpHc76KolXkYtPjR1pfJFDDJkEX+QwowFdJoQ780/3dJpEC8Fdu6y9269SEkjhF9PdZIihpUcuXUnzz9FpD4vPy7OsuMZfaBWkdLnJHlipFc4fcbxXJ+71RbZ3ZAQNuBNMbicVAk3Rt4I7Rlglbn/M9AGIbJqiWLOlQNVu0pNRtIe/6L7j6aCsz+YTi8ZXa/NuKXRXeyd+V+Wy3mcGK4hku6khmj59GVnswJsV2z0t22IIjQxOwHrfQcOPL+3ZKDgjleq8RKWqrOTea3TsUl1kX1ePpYnnGym0DH7vLktlCg47A9iipzX7LJtcU7Ku8RW9n3ONOXidotLzblzMquQQK6OTMRUiK3A7ogXTW1qr6ZcE71c8hVOLX9EP9gKQjFYs9YY/bjs+7kG7YGNK3syvT9mZcvxHpPXokTYVQjWNco/pQ+UxFrs87GGDk87D+FKtnX8f4wbRwyxdDOG77J82/pM/IJuLEFdWu2bxV/ilZ7usQe9bNa8mIqBLKCdaHRHnEE/ewowpuZdSDqQfphQqq8e38jrO40CNS+u93BCLFFOXX7W5e0OufGrNKFK1JTkMb5B+1DloRCo39r2ProzD8qY80XOudfaC/4hxE0Ty31cQGJdZoEfbxQZkmUw7lkCzjdkSwdAUey9pYbJXrlyQzikHE2c2hAD9i+pXRMmeVRzjddyfstA/Vddx7CV6SoWRFlRq4jXdQ7aaMmucrQPknudyPix9sM2/BkDT3QDTTurxpJe9lw/HpjntYX5NhkcwZMKa2L7dCxzHaK3fC0QTPok2jZzrCDywojbsZKXOO52K7ZgnIV/qsBujOWgLj2s8iXzIZEF7UeJpTGa1UTbxvS4MygtByOwjkZ2Vp0m3JO+KZjXTdjGP0aVSxphsXwZAtcgjWNUuzZN406jX9lLdEvIcH7Npvc6kqIiAQzpTxYTSvUjUUSYHAGcVkWAvgOIMA61ODouaokzplA1pXN0f9Rk5i9SSxj9L6b7/8gnX78C+oZdBbDq53IyeolDE+I68quzXpXclfmXyWjwiQBIK5WIZ95aKyZ2XpVDmMpaY/bAKEnBAM1Absxe2FmZ9lb8IuD7WBBassqC9HGob6qo1rzmzUfvayTmf6r3V+j24TuSWI5K51kYzEEvr2ad+bhmG2T4/dQSbV+wT6PANXZzkUuzRLToEbdvgbJAciCDZIOWq6y+JQlwP+482ale0Xxca6GlPb/re6nh5y9PJGA9NokvZ0k3+6DBYaHcjDdgZl6JRjjnH2UhfUdw/bk7hP6UVmrEyYQP67X74O07a290vGzZroGfHHHKdaQ0yWSxnEJ0yxlo/oREET/ZCBt31U/fpbJsoBV4J1IficJIcftSTDvf+6dh9yL0WOpXoWT0gASCafhXSLxUiXAQDJd7cptWSKnUDWeLpwFLFdCvt9248CMqHzEhaCTeCryFX9COqJKzzyZANhI67+szj0v+aOW5QetumizZbM0WrllPhOHnFpYDJIWZjrqJBaPS5P6u6sgAyuwcV0FgZQmzbv65wej1dBVNg2GTkrtZsjZ+/gV5ii0CoHg0H+GB9F97TOqCRFE78CZ8w95FFtEDoptdzbEXPFpzL26zLJUeSnOAIy3z2rirWfuu4YHlEtAi/1EZC6b48mMO9XWNdmMSU55lylKtCaTB+8YQOqN4KqlfrQAObEOHOGgytrD7nXu7qu6MqdbBjq9fuB7jaVGKEHmVim1p2lquiGfB/pgncBgwFOMe/ABUcySq3B/V3slAMjL3u1v/Jj9J8suk3xLZD3asG8U6okB7az/DFg7vg+ZvdPXRBA2OvswVOzAjMC+dmyFhyUyhqJ1Q3nE+kyMJyYLp1xwkJN648bHTM4d9ZMVoNQscGjEs6j3Z2euNopByVq3VeAHcOe017r1Vv4qzReHPWQubJEyj0XsQqM1SQR3q34pyQODn56l0Iw7UYtK/HOSROEyYB7KSgvBTxh8+FtQYlOXquSJRvbaCOT1lpYkyZTdGnjOV3/VjzWqzMTGM5S5kP82dTXPFrnlStm9DOIEqeixS7hU9lEbQr27/ycJw/R77Gjzry6hv+hxgwLeE0F3k66i9txseME5mSav94O6Vp0rfqfwivHXp7tmWxqQwcmyc0JjOmKq/lyLc5A9MXdKCx04MVoMgGN8hUUK4NcV+fOtO2NIp/mzo0Luyu2T2nkOkx2KF+3zGdSIg1jxUJjzyUSyJ03103l8s8pS3+jAH32ttbWxrCdcG7CGx3yyKsyCBCwL9ktIU9iMsHAM2lonHGBUSsWfTK4LpIMVZgdgC+XS9pBfmsOyXOeEBcrFR9DzWi9JrT5NQRrfD7aJj+e22QqPZ/A6rMQg8WS8GqomsZ6KWHUODxas3x6t3cWhDeabUrq4eXpZB3wdeP8PAregcx1dgkXWTai321Oi7s6+cT8jQNj8xF2aPU4X1XcAAEeK+MrtiRtj0HTifnIdcJoQ/l+kx9ywGdFooFqqhf1CVAZv1LqK/jj9qB9tmUOHcsMUJzatQ58taoouT8MxgBPOhYHteCFM/IHvrqTQFKTnnHZel4W+06IeV3DV7lLm1bE6m2hmIpEVMHEZM7pkQtl1jo7mPeuU9DI5JiPnKZPY6AuGQhkNCMHuec4/hiLOtQUNJYiWfqBJzgpsoCH68p0zxyqskAYugE7Z1TwNNOadJtCJEHfKOnU8lHu0LHl2pgCzJ18pm9fudjyIQp9ATo/tK4lX1J4Uj1Rpxrr0JWzcaX3CkmH9lW33l0KCNhfAnuDkbJxSMubkisJIZD2cnlLAOrZ1bXDjmSP/l/PEWBOuw5r6TKcihVSDuVsebC82WRn8e9zzFZ90tyWXcm4BCGcy0COOEcKvpr4qlkbSVy59G3RZSicfBDnWr7E8FW+3UwbEsMIVq5LI9bT5fMZE7CrwXq3RAsGgT1rJQlip2ebHQ1m92RU7oHEPNVd5KGoDI+v1Mo/lDXA7824PPfNIcJfuwO91fk8SinaRfktJi5bZ+GmsSwTXdzzlu5LMCcJMv7H9NXfPx/GU+7zvIOryrtuRLjqYXriu42zzT+sMf+BWOUr/XVxmllyipmgDc4EWTiypxrjclKi/TSUMoluycsg1Tc1MV0JCgUSBOeS4iCCSwSlv/Fhkfd/G4qhN4s4AmUNuNbSaH1JOrBhk+/5pstjH/ScovIXjXtV8H0CMpn/p+Z0mzbSPn/UMqxkWeEeOuxQfRC+HKOgocsv0wRpQJpu3SLjHdoP/zPQNL04wvkP1xycoR6zqoKKCuito1MZpRbVCoShQD6CfkKgNySsnxnFpPd2GPFFUgnpxLFgvPvAEG90uXm9D8GcPeKTYf1i4VeljZq0KHiV6L5qGDaOh6ReBGxXK3Qy9nkyFew3bLuOlniQ+KKzwrv7XHVOrsQ2+Q8sMs3VBaM0C0mVFwuGiAaRSclF9lk+3JbVU8rKm6w+LKCe6fWtZ3HEVaA9GmpJxxaCxI/pEkKV+Zuyt4eJ5Z6LeyINUmhA6fApTb4ZuJAWx+m70QJKt1ZINb7Iv4yTA5FISz8/oZh1/BrR3JzavzcVibF6zAj8UK5SlmlGSxI0iCiThA9ax5hmeb6B8GNvZc65Yzo8FkOhlNmWYA4hPnoMrSfd+O6nU+SFNdcqcm3bCKnPxEE3/71PZJm4ajmDNeeTv3gPJwsGaxuPeGvzSglocCTP89QC1EpNrTfKxozuUfb+gFaKEmGyQS8IjEQZLy4IOjndR5J8/c8e5RFhj4sgzl1J+9Njw4f2OXm+hYADxYEad7u2csgQb3BOEqvRIWINhtDmDfToCSlxjne5gmvEv3KlB/7mbFiik+PkJWL7FhWFYLe54xB/zCjFmat7oBCcRSvk2j9gk0u3ISWWFuHwbvK9HpkXg+qXHaBMLm7Viw15+P8vKkY5/QlK6glDlDeI2lA6YTvqGKEipF0IccH8PRDAWyuJTV/nlpC5DV4//6ILaLzbtXariwtDCxFMDldA1+FstQsFUIGUb/oaCIEq5c2NV09UaJTPYZ+CoXCiOfP+RJeUMAGL8an65tv2tigDEHRviCURueGA4M+O4xBIKVB2T3G0iSBK3FEh2DL6700t0cpeXgvlYN2C2eshjWmoCFZityrGMJ6/AbjPLdU0UW03bPSv9h2YPkyKudYN7qHhEhXtDXzz9/C2IijhavYswfYpJXMvruElwGtM77Q9kFBsjG7baTd/wn0QZVnXRdf821K/zbYglLN132Qgvb0L+w8bmecGlM/4BWOKke2JTP1FIOerBSuqEoUzpqFFXhKiFWUifYRMgykWDZMreCeNIrqXIB/RuZX6onlHEgSek49zpsfPeuyXPw+Oc1gfBuATkl5zIXYzGmebvmveNCZ/Ob8Tf2XSROAe+l81OOct+M2uI7feOcpAQqk9Df7wOhyt1+lc5z3mCjyKEPHWiGH0xC/4wLL5i8qjDPAHmk4vNHhRvKteIkJ81pmLfM0eYKKV0fOXWvhtTF42lu8gZxrvkPuatKZGNfvufj3RBcoPvfxzK4F/CjeGQ05COG+nzfZKgg6+5EaFUr0yUmB1UiZ484UA2rW4M9TRNIYDM+F6jLkM51b6Z0ktsHotHDJ/9PbVxPtdanrJ3lNGlxIAKtLEpBq4oJO2rbJtaYdRdQppBuvSGDPjQ0Z2gC6Zl78BBGSLbxk8+PerzDxfpfnUXjWHZvJGjU5/+VT/6scSzFBKOaetcvwG+qC3y3FRPpgeidhSLtCRWUhOReT+psyYADjMMDOsF1YAx07qArcwtf5MvlvyZzneh9r0dIak4uHFiDuMz6rGEyIfFTrk+w4KEeBxYFBNljheJpgVoUaqYi8UizBE/nvq0eHDRH5RIVAfew4JLg4tGbUsLftGyzXgt8oU33dNv6yDFHztxa4EXTKm4J5oZmh4WhzNZS1DAHHhVc/500ka1Pftv5nmlsiJOHoUdG4796mHp/AAf+q+Vn0nFhBsz8cDkXla0nw1RGA5xtuTCyPPbWmAh+zRroUxgsX18CSfOrVf8NbTEQfvJIX9+9m2XrAQLh3dpYrK1caLvALLRmnAw6hrFEuEw9N3CFkByqOkXMrDHA7mqNa+wJXianfumYXS1fxjsl9BhHPWIOomNN+5rtAGamldt5VMVLpVAAkBxi5+YHntNABjpt+wk/rEA32nwwbHUjoRLKGUhVkpMV9rchaXgTO7v3JQNfP2OeoA1wRv+Ls5EoxTCX9/Cd9JYwFfA6ubUE9VfTyYqA0yZliPZhjEL3yI5YwMwOVAtiOtEIYpCa1ZIEcMxM99tg/4+qCy/Dq9vtqQLCTgjngZihHTjWPY9GiCZ4KML+wR7D891IZm0cybCcLlr9249jLpnU/vR8ZJJUU58IfgsJBKiDdnvCv/k0MOAiRvLdMHRe6pKR9zBQaAexKxPK6pAhZk6u9fkY0V6JRSJud5mP0fsHlhFvYrTJ/81I6xJ9ZH8GCfg/SHI5NSikpJ178S+gU6PVZ3V5iyjRYCoKiYkbmu6PWYqLjcPvuN8GGhg6k/vfsTnfLD2rdvwPi2ciBYFGhFcy49wL1esdv891RRIDsTiDOnrHl0g1u1famnGnp19CbtUp559KIoxwZgQLfT73Yp2QB9aOh2j285DwQQX16nWSB7DeYtK3Nqvvt9zNYRmZHFHwQt0Xzp5Qr3c8krDLkmLjIMvbmbDZXEmzH3ft0abf6TBKTqG/Q9I5gh49g7rUzkz3PVAEgsy4JlmVL9JN64mKyBwPPfHut6YtEnlpHHolNgkIkWmLcqYkUYarCVqPaxNVaZNItSbVqHmHNu3ZRqPdqNcR6CQXTTX2UVB3dK7kM5zdf3jPPqDJCUZj9aN98w/HpF7cOjkY1brgowUqdj1grnhMdNg415Fdx4EvnTbNf+CXVkL2G+EZNzbMviAUPzIv/zaqSXDo1QRGJniigySVwmDbCbOvkaaVt86J/RNzeE9J1U0jOFEDvqL3Bc1oxh6tcdfopKBZhAui37eQbvG4eKYI7fzezopbeNLkO75FAyUmjh2LGICEZftc/daRPtHWnMsfGwxn36BeOnUblexE/WKgRrO9iazcQoZkd7BSlM5Mv05SHzY/p8J3YSpfW4PdOZ1EMw12mLUiSYu1u6yf3MwOdzvVqUtSlB0PTV4QxGNhofKiDjPSWXHMNsrENsO7R8yb+J1GJVFCg4z0ER7TdGHrBmNy8W+NsW+/L472AFXlAkPfD+zWcEndNghO41/Gk9jqjJnORlFK48YHbM4+qRZIieiYNiV9Am8fj7vn/jFWvhKrOgUsxhoDLU4bhjgLjGSedcTG4uMCsNZ1geR9T6YCh/ff7y2EDP42OQEC2bKtN8Dt4iVzb+a2kP42BANEMOWHeNa49BPpNA3PSJAQPc0sDgMdRESg8na788h0xCqETyM2xsiN/BxZYfevUADjP3EBgrD+uWYnPwwZwErLFJaOpAheajhc3bIGUwTKfs+Xqfqy92n8jRruNKKAKfak98CdyH+bGoZdnm9WqOf1zitjfYMuGLmubRGJmF7WitxgMXMVQxj1mXf4dCBgIRLN493WomGs4ZxePrIXgrnqie+41EUA5wWsOaI3f3LNgxYKWWQ+XrprGoShKj3zn3Q/xztn4wfFwzhi5YiJSJU7N71uHzj2tAILGpZGAlFcsjjRTQNepZE5epmRuE9DTjtn0GNpFM7m1HSqQ1yUnbkqREuoVWtGD4VPwYpFNFb5suxU68EWC1Ac2ueH5lBT2erJZEemwOM/6qBB3/EryCCHRakLyJJgF5XQRJtDpyu154pN/eEkiuBbuIvV1Uxibx7OICETOXPLX0WdHAvbH/D9GOVLItsbzinC3tfnldmbC++g6Uvd2uhth2yLFca55/IQXj7Lz4LXZmOajpi+93EN6a5oIofZEDPi3TI5hK27/s0vVFJs2gwJ0hiCuwWMqsx+hY3V7LwKMQWMVTO4vTwEqYrCoHE0n+1R+gww5SxnIxPRwAqJ1+xEwhicq3saMDqZkmh9Ei75rkeEvRozWZDjqDpNrKm0TRMIakuvRtNxTb2U3k3NI2yrEd4dRYZyXgJ1G0OIIZbGriqv7JA0ivM4Z1B7sZvJHx9o1MJn+NVQN7BJs9/c712k6Cpvj0YqtoRlZqOU0K/n/BsVn/V4oQKx9UHNeuSX8qUl6G/oQ4XgsVci2/RFYYsWOpc43wIcNlrnAHIXb+sPbU+tBAPVYfthOHqE6bW6RHK8sDE8jFt1FCF5pEnzH9Q4aR2W+Yfd1ufIkRHTETNY6LTKJC/uMG5p4TMkZ5kDtvrd9D9Kh3SDbldxBM/knsy4aOdszmvcWPDpXgSzcBRb7tOZyFXzAI2A++MqDQfuBVQa+kgxrupAJfbn6tYMHAwdURhtVMydqJ/3kNAvMYXi4L85VHRhC0lZq9DzWw92Z9P4ND2YYo0tnmpMQgc/M8Y1a9AGWXDgK6Pi2fV1avD1C7FDTShIZROx/aEl6HsVs9rYdhisqQgbKidG7ezhP5QWO+89NnpitLIVfX8RPZjFZdsFNZQ8Cb9ngjYl8j5Ln1qJKA9J07S518XOhnr5d2WmjdAs3ZHVBQSGHbpvLqjgDMgTeNb3Ui9M0OUc3omu1rxO/YtWK89A+SAU6dTgXbv/bf2DwIJ5KxDhHijG+/esek18t1jL2vSib5JfoEb3hhABX52hzx0OqC1WIPeW0updAzLAs5sspnWq8aVZ0u2lczDHdxWy6gxP+7bNrcdkJIbJxwHGAu0BoTJvo0HPZvPBP/2kyCDQizQxdHV/H0BY6zgE+dETVWVb5q21znm8JRngu35gNMBLOSIDZ1OrXsyt4Q2UEjPQBFONmyk3+kgb/GZ8CMBgW7kd0ohUcgSjqoEuM9NnPH4jm5xUBDK9vdmcwsM381+Z+8jlRECqENhaApurWT9yLM+YZFv/NfMkOrh1of+XQ05FZ3Wsdxx8UHHPeEI384GyO+n69YNI7puaIptwsSayQ1qKA1nDPSPO04VcWapA4l7taf9LCMC+ORN/yjTajYdmAA2fpotfF4GgAADq01veM5y5mIrbPWOWB7zLxl02uHYPhzAT9DevvYQU6tLpzqJOXIc2m8yL8osscLfe1BfZLYMD55IwJLixKsJo+uxWS+IV1scK5RVnLgwDeban2NsR6QI5oG/p4ZbgsNABa2f+rTJLSpNotgXyTd5aUVQk9kEeEIy7WJX1Qx8HQRjsrlzI9B9wbkQW0kWOjurUDdQpME45aK7tsDzRXEzdCBcL0n4GcwW2IPjawUwu3cJRyYmRhwsJbzJMfSf/YBJm7M35VcTqsZKD1eAs2Gbv7l0wm6K8qK1l9cor5jl8bugD3MDWdwV5O7JqbRI8OBXCZXqCjyoUaRokdw9XQ9ow25YomPTd2HH9iCum0iEu3tnYH4aCaaWZgk6cpwyCec2pOm+CaOtPdZTF8x9sjrhdenLxVtCObUHTOho3ufM87BgxrvjZN1gKzTjKn7dgCBHZ4jr1t2F4ch/9XHS8SmK7hRYkombDW5ItsjfCjRGAkuhQ110HalQRj3h6H4rTM/UEsgRdaqTCARPWaDNQGmiNkYtBam7BmJ3uu4EgfTmG+I4fNZv9Kq22T6ZXXKzzJYjAD/zj9Rcq4c38nnqqAWz8crtx2qjTFKr3pgqNjABzjKlLMNa8FhLjPH6CpXvX7F0jIqPAFV9PXgJhzHkgHF64jtUDrc7Z2xGAlNmBdLjAQgHiTYxnfWzThcuBPYATz75Y9/80IqgtMCQto4VhyDj1Oi2xXcYKNKpwtjj26p5gE+JDiSoWVtIDy+/WebosFJPT/nJx2gRWHTvXMrvNAXg80CHWJ0Cm4Sn2hAc5BtnO+HZgp+KzcN9nTkYzB3gYq2N+XAERzxab5xYuGtJmz33DnuAzp7ljHmbNi/EGs98HBslk50ZSaGwDsItChKi6gskWDy6DcYx3+R3kQTnu9r+bgcUhhwUBkE8Wbir1t1jZHT/RQGGEqDVoCg4hJvz5rBgZDNemSKfdz7298x+Nj9mvF72+fpgBoRLlhnkYCmtTFaPC/s9eWNUm6nuC3PU3O0cuuHR+BFnLjJVFIROGw9Zd8bjL+cl34uBZbyJYA1eeJItGbkuwtqcBMpjS48Qw4vDOd3PLvWIFAQYi6KXLe2R2e80k+qCw8vXTdlEYNINgjfMI7EmUs7EEVXfDpLse1kIdSCsd1EZQWtNo4FJlZeL+/PchGiMbx7cQ+wibNcmTfvhMg61I2ozjvh1ocbQYkYrqqVUgD9Z4B/i7eOHYnvVlFjIOIbRyXuaamxGJCmtKlEPkXMXyKQo53d9QTOLUNEBVIz6QqO+VDbu7pk7DTRQZDjAkvlysp92i7TTaPZjqYTbcG4z3o7EkSSuFn8VbEawCkdCLfN5WccI0LI7mceuqfZo+LKU9IPW3viIDEJavqaxJCnE6fCQZUPOduDHiX/JafcmQjRm48x6PCiVwr1tDm2+n6JNCHRZFhsQKHZPVZEF2JKlX3MSkAwaUtNHjUorMOTNXSadxVgu6tYlxcBc1eMybKruimKz5dw51zrubo9TwR4audYXXI5IDUlf+Uw4NHAShx85FIgs9QZRRLPob664SlONn9CUzWrKQy0KrKqLgo4ersFX/qSYoyXPyYdk5V5fq4m/ag1Z3z/iPHWyAnV8pTRE3JF1fbLOwhZ4WglJzIkmYVPEX0NjgZR4xN4uCBGw7b6X9HwGUzC8DjUp7NWuxI9eI5tnYNbbx+rjZC292lUdL3r+hJSQlEdJ3Ne8J67xtgLg1/QVoe/IPsfekcKNdJSyjd68tCBo1gJI/h6BNkjUkEzfblTMaFRlIr1S4HvTL3gZhek1tWc6sUNctm0UheZ/mhjuUeJi1d1olHbCKSI8taj/4zg/1KQxlaOwe5l24BLTb555KthNY87/JmfeB8qUL2V23UT2riKgzdqgTxXBwRvmir0/JO8wxqdrXQY39SMo87Qe8npcJiSVDCsNDZtA+ird+nswBqsObU4g2UGfb9hdckYDCSn1jHb+PA4yoO50FpMra6mo9IZLamp/YIQSebpfZvp14NgGc3R2ucMLtqhq6T2ufX+oEuW57chwct9IQu1wh9tjdP9w+6VVBAw2ooGNtPAzGrVJtN/TraB6+dcUlsJAOJrS8oDGJIDi0z/Hdsa1oHJpHIpFaKRiyotqqwyTjExDtt3WXvZ0KKj58BYhaRUpTynY9abOlmPU/ema5Kzna311rX5GtgT0yx4F1Q4vvK9q/xp7fB/JvO79cqYul2rykO3Tg4CpnbEyJeDobw/GRUc5GG+p3Cu5/zwwTipKkizndIVNaKPFBAOTndgi13upzJ3JNmH+g78llJmnVba2VsnFsjHcw9cbNBeR+vU+yZXEIovTu/A1tlefyubFgHdBIBCZRpDk+OmFKRFYB4hUIC0dWl8k/SPDGJS3KaOJm3bwtalrEf49EmJHyeAy20CqiFNUKGhZQmJeybt4H9/YNWPbERcSAI7dRJsExlS7lmW8nS0poR5wiUjmoWCmszmrSH1v49B7d/jAnQ4qxKpLHpzHpJ8i5VF3vSC5JCCyUK46I2WCN55Y1Gs/rSL1t5g2+mwcj8QXJNEc5qu2ynhnvroTYBqiddTX80qGX+D4UJyj8oXBgTdZjbhPHSCLJ+GsJIIaRSfC3mc6mmI2P0fb23+ZlivZk6yQB2sHhy4eKhSY3v1h9/LKN58Upma/NDDVH8PuOMSf4XXzEnpvLAFWgDL9GxfI1vOFAloY3alJrAVFuOTBDPyr2buv8EZgZ8V1f4YnFb7Uz6Ty0gso1ohVKqKAsb/jPUjD836lGPFkbyDf5jpq7pYykkd7AwccW9HmOt7qyXCJDOlZgvvomQ7BB/ebfAqUKgk4q0XO07dm7AP1O/WHkQev7QqyVMSii7dSfOnCmM7S2PMTGwG9B2ARIutvPQPpECpCqihGWc+ZQoj2pAaRxSL18Sxl9L0hMOV9ZwW2Un3WeZ9RFdUyOdlZYHSBSECZPmTk+1xt7306KmmD3ni87CQ+5yqaRs6rfFYiuG4lOmS5PV1d6rriBrp4PIpi11UY7oc1kazTzA8EwMatot554rzjiOsBPUx2HB8+p2CpsrCXFo53y/bnTgNdSXisWcwP7TOT/Pdhc2f8K1jg6rCtpPNyGpMNwpK2JctvZm3VkYka+5rjTdHjwlb/5rncpxqVw0qAfpBdy49Di05H21huYZuv+S3D/pyPNRGmhbciJvv6d4uLZ7/rSSt9YihhB6TVKoJZFbtxM7wlf3p0lLrNrDxjSfYmZzy07tW4hub1ewy5c3b8urtTPwt6gvAXAcMKVHRY+QUDKad409BbO4WP35y8EuN+x8Qan5N9K/L1vh2ny5Jm17K3jKLCFQdTOkUHHoIyC9xkfXJCKTDJ4wjIP4i6L0KGY5b+ZWVeuhHeS60pHq9YMkRotDNK1T1+U5yvmZwzkwgGODFf3j4wvhg2c/TDKxhWPX6bju7QlT/4LH6phx79VrstDr4BZgVkTw1diJl9+MTEcL2guSPq+7vcwdKA9ShTtTKT1fNNtVffF8G4WioRZCDAyLQr7lzUlWukf/sL0aKPFx3CMhyT33gTfFpb7DikwaOO0qJQz9B35nDubW/U1NvlqqqWKh/akR/AqRe0WKV0AOxXZ+aawU7IocmV1bRFFBWNArF6q7CA+WZO1HJrimF6Xtt2pQH84TNjuLh0DE6EANkRIODbx7K4KI3J2xzA3G5plkRNXk5qfzWuMtlJcPzGDPgUhFqQtYp6nO68X08yRLA6D8c3biLYCpar3MKm2tROdg0zYIeOLR7rSlS71pcr1UJshMg25w3S8RwhPEtqHTX+xJfq778lZwnhZb7x8fWkCn3uP9JJ7tLbI3WkeQvaEx3D6ySRbuSy1yeBJ2VFNkE0Z+U5APPZ/rtxIy0T3JdVYmr4TighCQQceuZWLw090QQBYCeppwwfyE1lqFd3wsj8L09pYH+dCH/TfE87Ln8xqwhRgsWaefzjHbBooOeb2aodyY5xLQaKvz+R14ZFone6yJFRyvNsHYpUYxiVCXZ+jeewH85tQDRlJ59e8sGBQ7Cb1MrAayK+t425X5rSs+duhI0Q0g2thXRNIbbM2wKDR9dwybGZbiYbUnUE0fskZ8jI6efDJVXZwryoW5oCFgBGNjc78Z4YdcWSZCLEnQWrxS2BhglnXfqk8BnxGtd8/RN7itmwDq8myYCzJn+Vvzquv8ZuVvcjzaK5IUeN5bJUVZ3MxkFjrkG0Dlxl8bw+qCG5RGLNftH0K71R8L0pzhq6lCN0Z08XdCJf5+s1EE0bXsGRZDibTcQxH9Ok9KwsCMrW/6Gu+KPX6WDBzHQz+b5pxieCn/zfKh0oSf4WbJK0+4eJ+ZryLIgNG+xut23e3WiSxsKl/FC4jf7R0eYX56Nhkx3KFejS34cfa3Dhy9QJ1zMserV0x4ZqPL9ApqyS+MF5oVXQxvdLa3NpMd4fmeQPUHs/G/UNCMq6K/eeQtzk2wyYu9Z5v4U0K68vWVFZ+PM/zUGHhNWLh5CbH4L28zTlrvy1ubsj0TBCFeiEzt9yMI8iKhnNaF3dUUOylss8keJmnlvaBRdb73uloMk1J/ZmHQcMV31HMUOi1xQ7Cs6RxmS1EtltnvFbriDEEEk9bWuxG2NPttlpOj1PlKwc4E182zvOgOw259z+KcDcs7QgQh+hvRw5K0YeBqlwDb+kyKnkVKJ8drcF5XY0BxAYJLYet3Dy3qgyM34PkKmpBYo66zZYTIiWkTcHQiJbHQcKKrPz7I+slG2gi0RKt8dRcl4KjPJFp1CZiTuvZoLMA9mWOjzscTrrkhsKK/HA/x8uRnMLq2TQ2ZSPVTuVEwnCPPjbi2PNZmklF4uWxfvtzqcCqT6GrwlqyyUlhqvR3ytrhKCeoyxJfiEFqs+5lc7LeAkvUVU5LIBsBBfCDN4WUO6kIJ4FJ0MGGoNFqyT95HOpvev6HHFJqfO5E9/qiww9gI0avC2WFQAKoN+62Jb/7nZ+RhG5y+XoA9bFYG0lMIaZE6W2leB4GeOaBhkPW1RHtjbt3cXUqi5HUj3Ahi6lWbjRutYk9HCGH43fLD7TeulNpApaPmeaZ+CdcixGNvUBzPOBqPsJNkqwvesH9tXliUY8E4VmAFqD1TYDiH/ZKy3EYkRFrsZ3MUT7QutQ5EDyABYAEz4Ludl+ukl16XvD1ad/6uFPNAWK81K9RhylXhRToKvlNgFc97Xu6t+7Np4ijVKwuOIgbcbo3A/1Bub1w7KM/oSdhMY6iv49YhsYP3TDkv+GM5U7g/f88L2sVzsdazrIqc55KBB1P4GG6TBWXqBYXuXGCXhDQbbI3sIrRm3Iz0cms0Y4yPqehMJ7guC84XY0aht1q3hvALCdroVH7LmfYdwW98+zWskrSEE1WAswzTV840OBQddXZpMWuysKTBZwqdeBwAX7jGbIiZ8xHgV34gL9MulDT+1HjFTMdhwob9jCbFQw+IFfZY5OsBHGQGfgn8VR761kiLj2XSe0TDl3WwOIX7vmb3ZKfxT2ko0bRlQCEEtcnLtVYQWglkuwCiF0wwGfc3yyYDMpfnoBJfWHSYijtGryQUAou19NpI6puwbF7Y2dtW+I/EIwDjOzIe52zu/gLMJU6/7lJoIcJ4UfCk7Hq0OaPngbxvV1U2uR/2xNNQrwoCTlfDu4sTpzxRBGeQnRaqliPy75z20XJhBTXeD7uMkKAZOFKDhzfxfbKGgC6zU51tVIQbYY090uw78yO5torXMWw96Pks/v1ZX54Kr2W4wc5oemYBgHZi0AFMeD8fXNcAIG2i7g996ZRs2XeHwwiGxdLOkLbVjLHC3dZ+IxHNvX9lLEDnA3YeEsElXbT3Pa2xljnewOEPpB5LZW+4Q0yLijgeW3akBwovq6fq4KEdO2rJ/QfxvtimYWYGXQFOedifXotMIzr/xZ4vjzK1QCLE7O5cVAjjwNopBV3F7mw86U2ppPsUPEaTa/oLPuMXZd0D71z5BWGbmRDqppabKfeI+jz8fSBAI/7Jd99xIublpZuTqXIzjHzLSv8QCiCf8xXs6DugZsZMI5zgwR2RAOQyo3S8gpUIXq8XZJQoLwsfiM/x4d5aqr/XFD5ic3juLdp6TK1wtJ7UPWq+qBvqsr5rkvNhU8fwJUWhNUY7hUh2+gYjmeCvZMAZ+Yd+48Mhmsn9hF1l5UpznXmk9iRE60S9m62MD3lwOJvrGVAc5gpkofNInSy+/cOrB4jLpHoe+ezHtb29uFNvDeUBsYdEStGh3YbqkYKHyl8Pkdmka6+o5dZJ//hsb9MASKoD0ea6r2YiK0l66RZI9fBr3SpxWMeYBDcvQQ1WreMFeIfOuTCace2UzUFEozopRF8NlcmykOFwGorRTxw6J3Ox6TCBqto82tY4f/dsT9QzUv36mn6q1t2uh7AOWQxtX8O2Q3SikFtQ0lbMz83eHk/pAQ1/dxdpHbabpVHG+qHUitojuD33sQTDgGzxPJGctJ/qqx4aM/O0HyWFR/HMGt5T+T6dBUL0CuVXEoE4eoLl7o6U0YBBO7TlPKxjYvJuHBrZLXdL3MKJImVtCxX/rYN8sL+r19K7IomRQT0Z+XJFeCTZOO0TyiJF5bTL9WUX1IQfanQKsKIxbG/OLblCln1UQ8glUk8gdFqkxYwHvvdCVhEivEW3Xt7nwakusYYF7chlE35QmIZac8av3UytuyJYX9AEJdFYcofmvzQ/NpNTDk0jGK4NDVzhRENzT4lzsALe61rO7Q5gnAts+BUb1O2NAy8R5y/1hepNnfPrJRz3zAc73HlW7WLK/GYgy3FPlt9+BYhwyrPrFQiKm1U7oAaD5Z+Mv8FJGhSMKQ+Jk94tyFyRF1acc25GyeqCXwn8+jZn49ki/EWOxSeBGgeuCrN2PA/VhCpSdc3/9Vr7I0orSyAto4AOcgSsvHlo0pd9cE9xSJmb0t+19yZvWSfGNuAVcHGD4WmLuvkRs/b4tNmqNVmuHaRKCXgKfiIYsN4lv0Q6sehdbhLQ8s74I6NmXgQpGm/mfeTarEY61v3ZiVm3DBWNYQjrrpnRPcZ0NizUSjAKouicgQGlJu3bKnPiKgVpzEWSNk85oalNrDez9PpWMTdnRE0R+fH6qOhw03bopNFdahWXdZ76bFmyFVYiLbQCyphr6Cb/rL3kx++lisdOvySPU9oaS29j7CkYASNBpCiJLK3gLrm5ZiGzXzOzNZ5k3YOnAlmsEsfpSfGjdgAIfqETXC8wEJTulWNvU0puQ/EjEp2OfWTg3MXU+UbXXkp3/Dm7WfFIWfsCrH83FfsNa1fxQjRiweEqw8u4LlRXJcHMxi0v/DFKholOdFy2pl/Wffp6FwgMddyMWkrp84SW2hcfvUUtZN97Jx01/89wKRF+DHU7QF6lrdzFNm2c1ZUipG3oWHd2eHDM8gkC3UgorecbOe3oaODr97JZoYab901d7DVx9GSPyQ/qeRaIPTVZMzoLzRqie7olf4E0yhUrT8visFiLsd/oSL5+gdYu1yJkEK5YB3ykRwj1HlAU9W0ppEjVf/duifTFTbzSSQW8DA1hyP/De72/7D2Mvt+7nKl3f4egSbrTvbtJf85wW+zhDrgsbaBbotBuLF+t2vONSdDcN+cyADnKkTKYcRmIUBMLO/kBaPNidL6mN/0gbQi9lqvF186aY8pI6mb5q5/N9JbwEO8bUWZsiPGynH/QS7Y2pDr8LuY7/Jes/Gp1nEq1vtrweFIKRcqVerLclxOdAr0qnn3fFOI2/i64K55+uezpU6paf+GLA88YWmINJxAy1+B/qoxGnonZyix+/eyoGf2Nh/jI1HXoMBu0fWv1CzJfVp3I2m/S7E0GP2YtqwGe2lhm2FpTeIucYyTN5XdgVdEZPTg95KE3PLNZjVAetWfjFFrCZ16s2HOB1IA3JEXIPiUChAst5rE6wSZ11uaWYWGsAtmJnLhndjesvUQEtBlbdBqE8IZX0wXs10rv0HpZhRxExLGd6Q4DoZWxHxvQsUADpI0Ux2ceKA+5XOiuHY1cO7YV6vGv3xrD0sTCf0hxjhFwUtgMjmZeHQayvQdaFBYm/o/VhIpXrGhEzLm7X+Hrp5kNcEMECN+Mt19sSDxySDLA5UjGdJZsr8NUYxilHNEFOMjm42vHHFbD5s3Ih+2IYW5EMiG70SW+XM2eeSOHX1jQYtwuTsq18BUtF+OnSMhRGPH6aeBqEbzjXejecb/AyKO7Il9PbRndcACeQUAoiKCmyw4o8H7dktc24Y/tldqKfs5vc1icE+QYUoDt3G4reRHz0FL4CfA2o6FRnzNnHSmLoCZTpQW7/hW/MrrzuvlG+FDGinkJYZZf4bucPmsPzQKrh99gzSE+2/xKjLsZDwp3TcsdaGpyhnUlds5Df+e0W1/j0qIEEUGDtkBM3Wo58QWGpsvUJ+kdUlwIU7Oka7+kYsANGsIvrDUp62uEl52VOGKsGs/VJHGWhVCt4xuSdSxs8yV8sZj+9QWasBFTKI8wbIDf1o07+awCG7IT3mN1h4yGAzHYBPoWZPqVcFF/yBbEBDuQuojEtUi1SZ7m8OpmKKIifb1U2jrzqiSKlkjFq0B69Mz+5W1flTl1VcDiO20xRHQKgYpHnMBmt25eLDPtoeJX5g9VYBr1daKonP5lLqkIWuq2+mE5/HtQJgoiLDP4b1Bu2Lm5XTgup7T1SJk2FtmhH/fMGEtXaxwDZy0G3qSHojTQ705FUGCT49ssnEeHXl08HYuPezrR7ET2+DX03eFxIyBZ5f3l/3w9Ls6xi+bNIwwDEmpMLGEREghoLuMitBNv7IkC2BRtezDrjJxBcUmqGecCOYsHgyptgN9RBPHxc0crPeER4TiMkl5QBCnA4zq0Lz4ABgyZ6YL8usLw4ahDdlOro19rcV2AHWR5r0+jEry7xyiMOOOe3wYTt42gkSgeL6OeafrXnpSbM0ohFkT8yE4/NwbxMKmcoNRlQklR+JhIqAdBi8tpCAZM9TQkFLHM/m5zM5oDrHQRjgzOlqIWCj+wOd3apeHFdRAtNFK5lWiRsXT0+f6c9Ti4a1LyS7zjXJQKKy3WbBLx5oDsTFfsg5gxicnHOh9MbKVCyTqo2GSyogkWVDaP9GRi/zsD/EVjHN0dnl0VLgL7jA887Ih7Dk3eSuy4yCpaQl6E8tMCL9dWLklmeFtHJ4aZm5sitoBIMzOb2YYFMY2faydV7YVYSnUXJ2SMtYi7jAnIO0PY7YZtIVF2iTgUUrgr38psmaMpv/x0XN7BiN+iJGaosKCPJ+4lD0uVHQN0j6R3jZZWy+Ti1SCmjhyRjkIWQ8EH7KHcqMOW4QpcJ4EJPrdBmH5zxWS/nrmNkeqsiSw+FH+sHlSj81DdQAVCCHHJmi27XmXgsvp8WFBAv0Zhkjbw/7eQ7mGoVeolX/lIgufOBQhSzGPSIzwmgjJFe3AFkMoVoouY23fN2BSo+z2ix8iGFmR+CiVVHnumIEDN3mUeJtrgxX1jGK0yeDNXjAxHuJjPb3oZU0fMJcc3uGlVOJ9NyXjiZhJa+wFozNzzyEJBK4OpDC1WECO8skqChaSIVY04uMZVfvPmDpz687AQnD2SLy1u1YYegLH6jF0P/o4D8J/if3YvJhvMxiSyqdj8L0FcE8Dx6/bZ1WH5Ovg/ha8KwIu0Ds5tI7dlG2cpGRrGuWrHnlkvdh8F+yNEaq+fW1vp8VB4HDcjcyIZGbfZ+HIYnsZzXzKAWNstNGXuSq4kY9RTIhVFLWQ2pzAzECh1ODXTb5YV7pUMz4zM+LMGMz/CQ/UElU9WvspFav2tfcPZmbKMYWxuoMT0hS6W6FX2dGK4/GgNIz72TUsEQROc5Z3H70ufar16z0OdJvGbtbJl0RpiRN6SUFzcbFGjSWTol/Hguh3bK+Vxm6wn3M6qnTDuCQFuHd5wxyrSeqLrxReLi15bGSmfT1teTsFXPFTipyOSGhWyeFJX/xuaZaMO6PZb7j60Zm0bMAd6dlkrZfR+Mkvpm18pn1HrTausbyyob9G/ZzDerVvcFLp5uX7JnzxsuN7Ps+yFtaPZouWMzrP1yk83jRSYVKff4KWL3wdP0rU+BrbXqKTCjF4ylDxef9dLPiwzdrN/MfEGo7tRu4CX61/DlfUlBhm0vbWYfeFTWQ1ZcLkAa6Rk4AhMYDMviXAO2xOEZAaLpv6tyh5r9e88/Fy2CKSfsult4Ms5iLtMGq92/CmOtQcRiRJ6IAvcw9TsUDy4UoDCR7ZBPCnqI5YoI8skdtZtxLYJbEl3PPkJSVPrzb2dAS5WVZ0Kjm1wX/4N7ueERfoXYFlfckpVbvHC0CDa076xsgtoJM662AaWX+qcSFLUI7pIo2n3u2j3QbgI0qvje9bweBR5T6vznaAsVaCtqEa2IcGu0mUcBkPStmJB8RZUF5dQaiiSmgH+dnmYg0IawFF0/eyMCOitVMC3HeKLc/nc0TkO2vSh98SlLUYu2JxQQ99Oew8P/UpP7FwYpxRPDx7LjtjCd+HzN00YXIKq1odYMtIw5coCZXamxZrYG/sqoZDcFa/13IJq8lJcjVDNb/matxUV6CIQdSR/wmPybaF4WW1w8x+xrTG1obZvWgdbhovDr25E7eQsuaJCbcAXNu57McBNy0D5vDQFAGv4sN2lA4d4RfEmqT/pYKJmdYYVOkbOxUtfQuz2NrhE1hnPpRBt0accE3Raqfe4+36v/gL2hVAJ0iMdYc5Eznlq2yTrGJB9/VNEu75eqc2Re0TkXjzihjM1yMnuAiy3kyAf2wliIfsN1qEIPEfajMRjIyah6UQ16gG3CVEsq5L39o1fwjoFSzmS1UUZjQKL8o4IQ0rQT0unXyIzTiqdC+ekjtQ7x83WIDLXU9zeJrHIDvbXYXoj+HjrDjVWSJLSsCJ46SWUyOO61DyAOcbQJV1sEXzQqeVej4ny22Wg+AFLoX7AE6upEMcKNzbYcS7K81xETIhX+iAkIFaCtFd0DhVdxdGAh4rXAXGnwHn4fVIgV0EQu+K+ifi4LwaxDCEiCgWWkRQS3MWYBkS9yhG6o77Hert9vIY4+RElICJtFA0P7PPiBWz97TTmaTS+RL++MCdCgHyZwr+Xjsvg8BfwvV9jagxBsaVkrNlhoe3+xffa2eONXKEI+paRExTcQylhQs1jnozNT+jTv70PG5HLE4pYuUc5uyhKJuqa3MlJEqXV6/oFZy5fQY0oIIMvIdvfGmLT5WIv1E+RTdT3l9srmrvO5mrgzzZ1EXu8sxqTZ3dYRdE4akZDwDgOoHGDdAAeRrACg8xINHo3fM3a4X7gwy1N2WWt9wnitWq6YEJFvEKJ3xIGczL7wMsu9FkhjI8fkoIqwmOmEyo0LhuS+DzRxx13qsGxTqWRhHEl5JhHxI219M+FTWZv5uNUPc6hcXoNamOPM8cFZ2k7sl7EKSpbgPXlLvdmZ662NENaZ/2n6VGRUGd8C+U6Blqb5BXvkjtP3fxpZpNDsjZ3JCs1S2ZLM8xOu7mTZCqgleLELTwa6Qa6ACdxBBwnfbRMwoIr3vlIleeOECvrE3nIc35iIKpY49VGeIUrgSm+Wlo9vOCJsLAwqHiAosn16DL0LAEZzK9DCE7E6fECjV/JV8/j4utbsVXH2SK0YJdGNqMZfAErYOEnMeAB7p+ilNe/Tw2p8v1N9Z5dfkh8YV21/cZKLDiEiP2hiUgoZG66M/i5t4lq935g1861kFap+ULilSEKZBifyie6FAmzTADFhxxtSroFJusGZDLejPbax5d3TYrSLHDKzq8q6xsDxSxFkBr8L+VZTLjD5hSN507fEYaYeQOC+4dMv7JuzaG6QmSkmhvHbfAQ0YMs6C+lLbdyV/Om6Z1I9hgNuaH6nBWpJdViSmhEnwb5Td/qWv+i46nBY4AZv1AR5uHMXm80Ql4Vz4oeBCWc4NpMHjh88uFp6axR9D1hHy5YbYtqgLh254sDtuEGh3zXRqQ5M4IB6Uia0QYAoP0nyBCk6kAjXfWeSphxoriHV7dBDuEKZ5JlNXyV3oKaoZ+QUPlwQoS0bHLwFJ4rg7ODZfF5hxrVoD061EpZfDzgsyqPiEvnNUuuHP83fSJyYxetZOfzb0rzYvETo+fh6g+5EGZf3JFuQJ94Mg9AxE8b7eV0dT7f0sqgpSz3EMNwwIU8HwBSQuMakKd88hol4PCP1lbuYJ4pafGfDLxow9gx9Ib0zY1kgzskudioVbqJnNM9Bn02ENobyyoGxcTZ6ua82AqItQJqw59btUJz/1ZjTxondMCjWMylF0DeukBa84QNBCKfIEiokN7CNf955kP9t2Mg9xpODJusVA/FTKTY8HO907HmuD5Ug4Q2mh6oCI1jjQUEk9n2fHyfG4g3B4TGdD7PPgMFKLZCOsgqaeZE55Z1T+bBClphzGFnxHkTUSeCJvFHj2mfXph3uC0vf919K/bqpIsNxgk+c4qHBhqx7+RFUs8SCc9lxIPScuWfc7/bqKk4LQpXX/yRU0W1c89Tg3Youyc2cZQ/TAuMg1hLpEAzIaFfyDgBUzvwBL7qwErY8B/9K/FLrpIa31U+N7EZ8NSrM47CVdh/NTwFIohFkoNKD4TULFPt2EPmTr9u4FnplgvlFvF3w6lvBft8Mq8z0guJYs99BoVLMNM1+wg43M+ZXA/esG0M0oJYKMMi+Q9eQEncUF4SRVbgoviqsKP87nptFQEQRCV9/RxFhtagsDtb0OgnHpq8ahoMdwXAXml+HkUaocvNJb0S7V1LRJtia3jW7ijeKyJRQiOU9g1vz4ItBSubztsjQq1onqHsCBJWJgSCfKp/hgvKviWMUEkca/Duv+mC8ZDMsXxmVF+FK1HcTN6bcukXVZ0oPmyIIv7kxGV52tjDK/NJ1I8nZIXL+7t+WHKmE/pizjK3+uPT9F6iik4jnEyGfO3SYUDGtmmRFoDmpm10aosArk+ndbqfxUcrmFRys0zsYXOp2XNhH88wqTpABvOccODjz4i2ZCV29XIIVaiD2nBsMSajTCgdEMHqduUycPWll89AnQHZYHiDUdNiOu3YWE+7me7kv/JfxeXW12HW6T8m3lQ8mnrCfmFh+8eqIvEyIWoJP5gzT37EcXzAOWswVNozM5pIqPfXzJf1MC7niErNJgqJiydsXHipp18y2Dc5XYWo13wGXcHDge2wV5+483t082NHioV3MGhcX8KmIP+VH1CU78CaRjKzUF72KX/YrD0ElLTmPtpFJiEsM2Eppxe+oOwMvYgln1sPzvNtZ7VNwvuYag8e5GbdUbOMjsEs89Wgk7El+Qo/KPu1fUNZNb0uLqVKIm85UxRGivlPYNNzp6du3jX/PV3+JO4fzPgDGm/e8wqoUSF/rBDmWnodFzjYZQeJekhLSrpmxlXF+/3Qs1BElQvUeB7UdvnHVr/PG7XNuUKvTIVMRb2S9wBrHXSohY3RaTGgfRdWQ6mxEYB3SBSNVu1cbweWdbBJJYrcCRMAwuQSCxG7UjYR4D8KdP0HgdRDJhwN+t8xADc7LwqJOqag1NyuiEPc1+lQChJsPDmMZYlvvHnzaGCAlsLn0iTeMWZdl3rtL3EMqze2cBWqMF2uALfpXopLboLJRzrD0oCPTGWdjJOeYCryUCav3MHchyKaN123NhqyJmZcP0ftmharO6AWOUpt87AsL9YP69Z4HiyCcUhGkUHob4E3faxGO2Q+Wswxy3F1WOkbdo6lCSmHfFXBBG9XuhzflfIeKJo/lQi4j8vplUcSYQyproeY7LnEtjrw/s3Ln9jU5gseFyO9bgAzcNi7hnfXBzIB/7tiDCG84h0hU9T1XwYKKw2LR0D9Wy+1UhIBrsN12Y1y3KCY4h1+Rg+7m2qYbsZwJe3XpPDHLDoB+/A9xFXTrcU36i4DY78cfEZ2fbhUIAx0SypvBmqgSEuF5vuQLK/EOVW/e4eoxBwiYLTfWn3RLno+xpWK1Ms22mLeOwukXW3KMZV1e5uHXJEdyOm+W52vixlREg6XIp8jzb0JTqSE0Pkm5vC8TB0+0uVtl0Rt45QWImQLygZto1fW2B3CHCB1UtlwSqVtGH+5z4lcwqjp6jlvjBMgxswqlzLsBizCimlpMdLVM9KjGviEajuVtQJ8w+Lxw8AKfEDNTNWIoS/qEIKFUBm6IlnCMFEHE9uVHbD6cL9Nk4hRQQ9YDMfBN9IqBWVbpiTVXkJJnChbGtgFDY0HKVroFk1hVXiOe9WOOrTLUJWHUdBPbT9LS8FgA1qbPO4SldmodCQUdm10yXOwT5dJmmzCsvQ7srxJuIvQkZxgxMrLpgtWPLHCqCld842gUAxTSRzo8BkCS5ECCeMq2OcViLjf7mHg8NflJnlgtc8RJiSuPYSgv4jZM4FYJ3znRWobD8jTGJtAjh31Tdq+M1V7mlR1wKpQTeMQSVgzb2jjOgXh2Wbb0j+4lEzKYcng9r5QcGa90V6IuXJzE/8aD+EaLA0sPPnfZUQGlvpRhljtZxz3Pp6DfiTcYLmXwex3iSBpBIjxWm9uamMfXNjsH9GkQVu7imEMZDBY+01el3pH4tEK13On7UVugT9HeKPHyb+74dDuuRg8eCIVXUIcN+426JkOtwP7+k1eRroRUrMsx1iiW3DkwqoeTzTNQYZArUQPbR6QlDsK/3UEYPbgOCILvqNZanMGoVe8Oq109TbV6lPJ9kgsT2+FbAHL8qwMsqU5zbv0Wzv5itpVtd9bZ8DAqyAsWNUrMY9l+VWHQI4QlZTLp8wIubWZW+GmoE25bDETDGBjFX15jAtgsDaJFtH5o052XpmNqyRw39beZi/I5tQyMO/ZzlwSrzEwuvIzKax4YrYgSVr9FKVtEOWJePVa3Sw3WERew5MKzHWZoXlYMp+Xh0E1Aq+nTNWholsKLDL5IXECRn03Av8ZGImbGmvLKSMyv4vaQvoW62XXErnF741YShnk292TsE7a+ZsrsomQ8ZTmWe1lU30S5m0foGu25knvKW9/70SAC+g80OsPWo3e8X9/3/sG5EiwGahjTU2S/Lvo66lKnS+ugYaJ787saWGDOUuOUw0JpBHxa3PuL1XZpE7p1w2yhCpyeNRPNeayY0a7FoZkv3GNei/hni5nlvzZIcM1Sz9cm7uhj3UNsG8cjz2uSRgGmZcO6YVLHiVPgs1iyZrbdo4SdpddM1n1ThunvnKD0DkUOIm/UaFFl1drtBF3mSbhkbp6I8aaBy4iL8GGLWU/V7qq61SGz7juJ9zXH4ZW8rJAPJQ8G1AFyv8Rf7GwkRcd5YkWerVgZJE/odaI9mL1P4DhOiE2NsCF7zD2kc0J9qSxk+VdTyGfan+53rrLWO9lAJokqOFjlJDsrU9DNkTNSwuBLgIws1J4XaTft+b1GHxEMHAagv6TyHFvz9vJer78ntKoOCgJV9J/BXqvE+yQFN32t5ihu+/HjHWXmdF3qsZyV3F5fgvy3vAFyx0DERm1SeM1SIi8QDlau3/FTdtCB3uzTEsCD/uYotGaSWjSwhwc+0OHZb1/lP9oDP+Yt52yNBlq34ygWiV8XokKcmMg0GyL5wrQtyzh0mBfcRwk1H9ec9bkw44gLqfmQcZckNDMYSFvwsfRa+eRXItw+EGz32xCiPoaRFigXpb17e2eQJIhcGGmeGBXmSv/+7jcld0yCj/ehudLZXziHU38y138c2Zr5LAGaC5UsxTYAZU6mICk0pNDJwIGF8JHE5Y2+Vs2/wZfdmCuI5v85u+AF3T0DL84jxRcY4hTeNMY43j/ydErNFrdOwxE5qCk1SQ/vEnwmKlmKbY8toO9vesMWM5Bc8OZaRVvc/b7taFI2Sg/oPBPHTroXjwuFfXTpI7LhS/hvGqxnf5p9BFBjG2AVYsRLJdr+XmZVhxrrcDtsoFmums7aZMkYEgd0yi/HlkU8tLdy3SiiOZ+SWlIiZHRjw0dkjzu+9zBhh8qQL3tkbNhDOH7bzf/swmyvo12RPLhIlZm0cHox4Y7r8/XToaxgA5zcYb8nHIeyY0R8cWnVuwdLrIA+FbtWhXtx7xp4nO0A02x2/99O0N5lRaEE/1zKUGu+40bagNQ6qTtK7m6Ma8/4L2p2YcJU7vraR/LB7b7K0e2hlE76jycSudKDHwO9MGQA2PZMQrOFTJqTWjNW4tlS32TjH0f5LtrWVdMwbspIJUc9u91WoZFW2VLm1fUBfqmK6xKcVIi4aq2sqVHo8HJpP+5q0g6sfgBEjdrxGQLAMnmM0xdWwkUSnrNtq1m9lSjZwnxDF3F5ZOMrCTIOOQbNuCKvkPg8BNSc5s8i1ZrsuX4sJCnCicUre5Q4j+UgRIKNKTXhAXD8shXoVLcNPmUnW5C3rPB+rbujTBq80fuGNWVdITZKlI94sDF3LMkLh0Oy8tDOi6ixmmDRnodQpTnm684cweuFGVG617Ln8V/aM/xFtfPLgApdfHbLJmOpTBZsg7GxknNpmHhcPCSG4skgn+leKe905W4+R27QQCIaRRT2s3l7IszyazZ9M4mtWeytzQjrQPkVtIgXEQl6vP/4NQgL2ce0eXAicMT6AyMJPdB2w3LY26wxFXgtYubiJO5HOiJO8KEXoldQYcyzz6tv3IyGDTeabz7/c5ti6hTk7h8eVuJOx4WIpvSqJh6q28ThLSD9aesddsGLOd4CpExTXZKozWjk/Jev2zBteHPgK0F7x7eJK1UMqoDBZWdWBXu8B6mtpYg49WMhMmdI74jG76j5E/S/Qbd58mqu3yJQ6QAI+R1d3nGb6tr7EE63tbnlAAYutR/bfyzddhYImtQdFybiLUEkOSYeGM9b7IsdxgnaTj/P5ljszyJkWcouP684gh7yZBPCRPQPzMxCL90S9sBcfNZDk4gzRbWfIQTNe+gW3DKmNvpgkzG7MIe5PQC+7m25FAUjwHFAGyeUWgxVN4caF0TtkOvaGnoAx6YI0M/mK3kgE0vzQThcjBP8BkAnnWISLg3KT9KEC4hAZLxwFhzRvCMYDFHj4fnwdlXXWrYuWQZ24y4b4l+D0ovLavRNu076BNDbMS8d8tztsWz0l4OyOx7dzkz2P0waOdEZU9TNyzUBAMMXhuB1iWg+cA2cjEe9AI3XYGnU1uGBuONZ+fJ3T8QZUWqkS4Wkj9qWgNQzLkicE+B3hOLj6eUQ2t1MQLfM/lik009B/SMg16RSRMzJ2s5ppbdd1wBYRINB8Q39rPOUXn/BFXkb4GZtKePPHSEvsI1brFyCcyktzkXqEXBcxv91BW7vC+sf1EiSLlZF4JvSXyC5VUtbKjASoM+3EjeIXHs8xICs//wnsv2IfXrw543nDO7MyeyeELzruz3xmhKvEEvPqAlvCi9zB15vXawwHwdMV+VGsTowFM6PzAOoB88Yzu/NhdjMHcvR2ak6N3bH7tDoUUlAv3/lRucVFOSrwulHZEvv4PQ9wUGfzBi/7EjfGeY6K1C/PYGrunlftiJHfz2XANGfIw/U1RjwPxp4szxVzGWtlqkJNNwFRMOJB8CUru7Q7wmnVmAqya3y6mDaDtxAZj64XKzvo2E9uiaUpPYMFSEsohm88de24VTQI2ZkU2LiHETCTatKQZTmTlmUfjDdeXF6bNm7AM6ghNSTOcsMV9eZZxJ7K+AVWRRUG8G8dTL9dwHB49zWuVjGHLmpRznCl6+vkSQrdKN+bJ32uBCtqQcEXATsiweDGh4DJ4QWzXe79DVcvRCp8fgQXMbJJa/+WuW12pnm5AR0l6kbfmwgorGMqkw1ydZnqXSR4iRRWB1isvMnJ+eRPWAlWZd6rYzyPPKeiw+7oBeXM5QAXYlip8n17rf0zwpfQr6e1025099RaTHX7RB24h3cpTQuD2SNEMdWKh9bGT2e0s7iu8dDJ1yAy8+g/p8yL7G4H+jHD1MSjW3txdMC7SffYC4stO+VIx/rrBDKlahOSmoKQX9+trBSghZ1MpettZ4KZ9WA+eMEOUz60C/c08onZeUujHSUVrKaVFgAORMpGvBUtqH33huGhQk+o/oj4zBbVFum2Mh+hpfPvv+Ee71RTK11qIjWlbKyltEZ26xf6PKy7qpIVrSJD1riG/VuwkTcJv8usDcWaI8G2Y6dlmzPqACOYSC+51enwgN0V+dfx3GxvMpJQWqEs0B4PMyzIZDL2JRl43Q+jj2L5X29fJ0zk+pDvtniZC35FEcwVvS/u2W4uyinjQ22cjfmtZgqw0uExBGMViEZKuCJXMN8mgNoadqBfPUBO1XdV5D3kr9P57YX5p+Zf7d0fJYv9n2X6vpnc5+fQoNbjVZEDDMJJMaWaSCPwAHMPdDUECGVmkr8X+KuRr6F0irvp+kZGckJHhIJrN1hDU0J3gUL2tH5BXfbMveJWGIx21UaeSYcSkZGzYMzjg36xbg3bSMar+02hZA0l5HERsXYFHb+JfuLrGUYNswO7caTeJmoRHPj2DpcmY6ZF8iqWdDt+uprhCJFX1Mov2zJI3LeyvPDCqkp4facgBu7hdW2aAnDJLwKVpk+wB7fFiYYDku5O9aLMsmUlvSb2+dTvoCRhEho+0HCEZWOiXWJr8F4HerRL9DP+ql5gXHunJLLGeDf+DrQ9NvFIfPYNJyuPqRdo/OAPKjTvzOMtWE/PJjuPtibdyEc+fY/qoMoITwP8DZ2XdWjKcfHTEkeHBJN1TbtVp/IzKgeSAs+E3rH8m1L51Wb0MtlDQRii6a8og1+P4vaFuva8EpmJYG/D2SAIiPlFNxe+92RYmdFviaSnW4cQRpZ+s08z6hx4Jt/XNMWjndBBYLKSi1mdpUrAk8dWGTqffX9oNV6mnAqfWVmVh7z6VisJ5vWdgESGT25bSNnZxP/KubWzKNlUmi25NOM7djvK3kDDvbo6txrQyGqzFpFJSP7nKP45IofegISWZM6YjVuFcQI+hhx1oi1ytkie9yYjdCwOD8nDjKMkkJjOV+YiZNaIkG+waDkCPCzCIM3P6X77EmRwJxkJVl6kv15CNcBYA8cI28+LHCcAG6CUTDVYbPMHBUb8pHGBKro8qY2c8AOVDDwZe/P0z9osAsZNAeI3VLXbobnyzKP0fK2LWTBQ1Ylo+2+NICx5bUiVN/LQoV1GpdPV8s+qRk/1kfZz5YmleEzeLG477GEDo9Rr/Svfb9o9P3PYv52WusK9As1xPekFkarY/yaNZT+C9iWIjx85y3fBnkLzqHcOilgYJg2QredBTVw5JGeM2UtO9KPdt3lft3O5S/j/lReUyekK8lADEOWSn85cxNGFrA43IECTSJZewcn38tAwBRJ2PYc/qWQ5cl1xSj35xniHBqz3ZaXibpF+LZLs4B8phW7k51SyZgHTqTsQUu7sd0Ws2W60o/m3uMWMPm01FG/d7gpz0QqgoI+YynbPk937DzK3BGClf1yg7vCOXXD3eW2oG0PeeBvcaT5KW6pplb4w1xO7HzogMoldCMOH7V+xWneltidIOLHXsU2g+Q51xP6LtTNJsO75skdMb4WaTg4AW5faVbMwNB0E+bRH0e7DJycNU1ISlSvi4HMPfk/HewG/ilPhm7P2FF7zERG1VklYvU4xQpKwXfwjeclhbc6bA2vbEHnYWNI1BELBX4FN7ufzBvxKSaq9Mfx4Us6PKkYhDBVnlrWGsLf//lbMCDiLomi6aAeTaLeDoFvz7dAK5GthHdWdDxtLRTGdSw3MWdH7qBX08Po4rKNsqrAGYgigmStEVOXzGjS+y/WaT4/MTff/XtEZL0+FSpX3TzgBx+K/0VLcpNlVsMxU+QJdKF9kWYslQv1gqmQncKQ85N+3vKdZYy5iAY1bJyzhcJz1692RE8FRoIcR48RjY3TTSlskV5c20QjIZ+29hnX5ZVXX43gVHUitZBf86EE5A2UAF8AV/PMvMVI8cH5caIRI/Tohxya/ay/PyXd+NJqpKIIadi+wX0+HNLXp/LVMwIrjMM0E9pFuFXI61NL2ECObNKRg+KMaxVjnC/0NwoILqcTiEv6Lmd1qAfXkv+bJ51m2ASr60/tHctofeVFBOsTqQy56hX+EH5X0aHlfheitzZ88QSWzVp5SKVYwJFR5xUy6nRNG6GTkqN+mUMML3Ncp/iW/eFffVx3+ZW9YbO8dojAFyFip7QCHIoh/i7knDwNr4ULCzeabQ+IjSzOkTemj5wJSyy+r9KFNpQZLh9o/5jxaG07YOX/j2+A8c9a36fGyBl3ctWErZkBCA8PAX6UMoHaSQS270s0JwLhvmjeAzKysG/jyzOdD07IweLdrejFMGnHyhgPxyqmXUODqVuJ1HSbkRN4LcfLNRSLIeQfTUPVRw8gji3efW6yRk3TB0TPNvY6zZd3s0wNuGXfJnPHAS1pZ8B94jEYyilZOCbWffp/+hruL2rr+XIBPkeSYHsLnH+9bkc0kH8POzMJWtVrpvY1Lt8sbH6bW51Le1GcLFFIn9gdOPygdXmyau8ApLTPDd7DnUAw8iDDMV0ESQrStd16v375DfMGXKerKs9cfLSxFsuHyp52310m4H3WI+WoP1Y/1E8hl4bgGW3LRlgamRm2cLPGSvBzqO6+NuUalBYe4w+ETisjHI+7gxdpwoheIRw0Ic8OppiJakOp3eNwKv01Vv4uLn28T49Sldz/qZFUWOXZwW3xnf9knGqgpZaEGs6emBt4qllfGauGnGKYRwUVTkqBSU0OlQkSUZGjinWNWOFKoQ9OFG0ZSHY3oZWfcXTbhTpMAjCsIMO2pJlmH//rmtWF9Yg9SDKpT+wBAnk9fuo8o0z8REdQGkI8smF92VVPQVOolXIPZpG5s/sZVxts/vjw/BukAK+fLfFbigdx5BNJngm8Pm+E8ssfCuK+y4tLh5MDtgqarGN/knIPACNbjt3V7hd7DALlF6MLkmJGytfdr+Kwxurz3GmXrjkdUonyERm3c6DCHFDR1U9TRFo4eP2tZS58Ag7jv8oQuxeCMudDAtjeslX1qv6gOYlm1eO33RjVh/29U6zuHLxu1TMizwoV55F1vwwkUuvNzhNmvld28TciNDQaB9MgB0KEOiqrc1Dva9jrvqHlYqSykdDjrhXHwJrX/Q8RLcyjukRMoHhmcFoCce2KmzJP3VNZ5eaiBODr1EuxY1iP2pogLq7jfvX6BqLnh/qzRpl7lqUx1uhuLp8m9R/H2vZvzGOHonDFBC6w6TXmPW/uqpBsA7wQPkYnJMCp2pGcTO5X9c61WA20PrGFM3NB+ExBjLIuJrbfTjEMktsvEvSZiFQnmMyzPErhettOwZG6WwtDphS9L8alBGl2OPqBERphgsMUUbVTLo1WRLjfw8QVzzTgrm2BcU4AvqXJq78VYPvCsjbAOEbaGLpdnu77wW0HP7znhlkI5S23k2B01A7yWxmmz7KW09KgW23CwgXhQro9fqakozAGg9j7EFrKDy2T1W4f8u5lF8fFP83b0XpF7YbW0y5zA4hSTWVXp+EGL/q39Jqo95li0GAoKNHP9GoGdkRq30/WH2FQXxE7pRuPAY80PZOAS+up6BmdcB88AhaH6AsAd54GxSg0gtOHI3ZT0dcMUFUbhFCI/byn2qWuHEOtu9+EiTawV5ge3kB2VnQoXve0jXtL4eIzavmrWdTe5k8rbVzBjpkgKj374Y2RcCfKR5brIrbdMlwdi61S2VMKG+66v4yqV6M9pXADjb5rq7sG7B30pOG671pWvrxh9jAo/fTaowvip8K07VceeVd4bxFj2YvLeyKZGhwlFUalOwLAuGlnzWEBZHq/emevicsKI1IRmKspyEB2sM+SC9H9Uyfo751nYsoGlzHBDAcS/M244B+un3CT8C52OwNtywBdFfpXQI8L2zXS9R3bM2UixbLI/flxVTEbSAL4XXeBMHEybwcRSVD3uSK0dKXe4nxSAPDc/SB6NnNiafycIgioRb/TZ6hsBQkyJNRzWFSaVmDT6mSxh4uVvZ8z+W86frGekq5umgTixBtrvPEyz+6V2OwVXogGpKaemn4T77eKgCy0oIEJl6aQXIjqvz/aQJHXvFIqtP8Yks588xnsqjLCxrQvHaNhBC5uzV/IKhDSm4TUQSo42V1Pv7TlmEzXjruaUoyqGsMp2SMzVyWmjLy+eK1HGxfbNnRM43hnoA05xLRqFSioOBJpGbcWKS1MvrSJ8mB8YgRuQCupEpMkVyge76Sc/8Zmak5Ku8Lq/8tHIBOnpS2hzWJfklh62j/6eozjEgxQxU2RorfDElzHXFFgcnxDmm9rg43+mqQrXgQY/kdZjOAI2sraji65mopr953zeUgwzFhvDlgB+ifl7MxChJeWNQ7V8hCfj0QW0TMb53Jg/BaAkrbznqpBoYg2OeKqjzuk0wVdgnaMklUXBL76jdYQT+kL9TFPe7rLBSnkkE5yYhkUl5JhAJEHPBrccFdyXqcVqTC+h5EOqR+tBKIRY+sbQxCwCFEQ4GkvtxIyAX3X60UTN8+3SK1wHX5K/Wz92rXlDVahoeFtuULzK3YDcM74o9b7RQTWH8o9mZGr0m07Gv1NXHstcdN8PACDqqjngwM0tYHN1O7Rx0qne6rVYEAkl/iUv4bg6Ps8XWjptUh7dJ1WXlq9V2uv7IqM6nWFYyMFUD3g3mx3FJiCZIbt4WcK1IZw9nWvBG6gsGvs8Hqk09lKe15cGyFuGJv5BQCa0GgAfam00K7NuiLtGpxkZL3qYCGhppzJTLGmniVvJ31raB2/8unLkH2hToMsSinqtN7HPYKst+0lna7eMjjCcUm4n5slghJ6wzOykyOT16u+JCajt2x5RN7AJ530PX7AnOQiVllD/LCZufJ2yHr8DGJk31702l1u3vOMK+uaeRuXOEh3+qVwo/ZBOzx9g9FyMeXyaTbcvTnyEKD66I+gyioLGuKkA606+/dhguqYq7O1XzBCn3RiCMFZRBhR7Xc8ed3FpIMlksMvs764+Cd4lZ3QFopRD67F3aMRPf4j4z1qR1yBiOwAcVr91PShI76XWw0MO6Kfvzr6t8+nOqMxPSL4mCUJyUqSkK/keZ5eD3cS5ixspIbRsGYDjed7+sARTlLZnR9/NRTrffhGfBIDDu+MVpFc0HgEmnUYowbBa1cV2IBER/3/zqZFlwC5KJj2a1hEg+6J72jIbddvLoC7Mt4FwvnX8bEafARBX3Qjy1np6LQhZz91yuVZXFCL0OMtUzFrVSHNhaSDrsDghHVUIFfAv67Hio9grRQ3bqIdcqK0D/XzdqgzP9jnlqT+Pi6zjjop6LkS1XByehunX6OQyL8I1QpeD2NW853Q9i+R4SemiCJdJCyATh2KTwt25cm/qBiWiHZMeBM8Huegs7ZNgmjCpyeJmFMoJ1Jc393mIcStLHtmU2TZagapZRHV3C3dQK//BcLi+fmYEjQS8VDzXqiFUKn43Ad4Z3TSrc/HdiNgK3C7OMQmBPBwlvotW5TFlfmeABfj3ByhxYzkJIBM0Gbtt8KG343CtqWwB6utus1tc0qi4BnTQV8FDlDPw7WWEw5Pobx7H6GSSeuM/VxZEBvXXB6KP73Af40rInwQm1+4oxWFxFh1zC7ttfHAbib4qpmuyBNCXobwhFgKLjDET+SBDnjQZedxxC29TctA+QLUK59yznZZvPq0T4uMA6HpAsOm58ZrOb+HocbVjA/MrPkrWNK12fNTxFvCIfhZ+T9xIOoV/xX7c2twEXS6uk6NyOyME1+EplMPM5eyFEcmhd2/ZWSma4Sxj0+vSvNQ2w3wuVTjABA2N+IhS3Jr7lQJPN1Ri99ykTitM5cQDGwaJc8bR0BXR0itXSfmVBQCADP43RBbe9JQiyAowiWCNyQHs6vg8612bGpIXnLJea7IHhhgamRU+mFZ8lDjFedd6QtZ3jod42FqtvMRdKN4us1SrBSJ3NVRYS8BjOOcrQralaJQDQsIVKHDXmVhXu1rsnCD3f1jLHvnG2r6su17pv+LhztVTuFtebuC3HWblwDWtVHfW1kC4g9WcmzNCTvaXrj7tHtnXElWFSZPFtmXQvmyw2uX+MCOC6QjQeUL+BhJwTZC+lvyhHu43elBEujAzQM11t/ocIk02Ud9ZLf+JbnFnkB+PJrPY1bXXedCP2vvmjJsXmkiPC5uXeImZ42M2m0mlqk0K63H9hEwf9E9kk/tezHhu1cdLSRbL/A9S/c1ZnJnf8I5/wDzL+ylHFWchxMeY+e73qGpfXiI42u3VX+9tzwEDpL83tlw7gFV9lm6KiAlVZyFQXWIL2M7SWyTDH+xk/8ZDaOOmB/CikT4nar7XF4N4N4FZ5XfJamQtUSo6c1z2IjAwCkoZSUnZMLDldZwUTY1Suy2Y2tFBhfakYv0FuYLC/bgduNwZJNaHbt59ULmedAdU6jK64pq6T6esjBCyG3bndaQdzm+l9cUG9ZjG6upDaUHC0XfGLgnRU7Yo6HWJ3Q7P8m1dPCxd3EHCV1tJfvfABJY7s9+dxpZyr2+VoprL+cQyDAcinDbELO39xVZMuzhDyPJWeSshncKrUP45XnyQhfoBrC92LX9Pz5BNXfA0ysvUBFdf9g0KHoq8dIPw5jNIN/iqgsLVxElo5veBn/g1ooVX5sBy5R8WBeSdIklx5PEfhpoVkY5QHf0fMJXRdKl11cu3dpaHTcn+V3AHprfT9aEptKMsoKGYfRw59SbO0xiXYUgzy2e4884vzEqJMO04RY0Guyot6Thr4yLLBF2WOlNqzGrXtR6be2mOHpGw+WBBi2uP1dogCP7kJ7hQIUrfy6luLoQJZQX7yqfnQW3M+CtcoL91V+ZOnmlwPuk/41taaqOjoyIBE2hlfmAZNsumkqedLH2igSlnKBWxXRNtwW6BCqAsnyG5tnTGth4HJ8R8wFdhAL3ZkszqWbFtCAG2Q2/DRE5ggNE8FpohyF8rGrAUCxc+ZP2d8hGEAJa7C91eG+3NQrAi8wx5l8TmdD3knjh+xqC2CTDc3CF905r8UZRAn4RDebaUuvgjEofvuT5R0EIrmx6WSZYJ9YfvCEylr140iMR/6QJVao4gL88YHIjVy3Czqro+zZ3ZeTzkNAHRIcwWREalrvgmK9oXQDLJcmJ+E2Shx36oGPoNGBe2xH/Uj9uGsjc8Gq3Mf9XBVclT4x5C0Ganlnt35vZmezj8aKE+yk3UA/lGHmBnekaKHUFUfEt4DKJ3EjX1T4TYcT1/ozNHIdXi3nvcobeCsmXQYUUsyBfyk9scxg5Om2UNCRs5/uwc6iswXQBnKqZUVZZhv3BrWL9paD4Tog+nFdengEueiW5IVY2d6nexb/fgeShqM14gNXkKYRNrafF2blWWgDovAMMIup3g37/29Ibjeiron6o6rhnuBwNVCEHJO1t9toAMzqFnUS6tk4YpNPbyGfYhYigEbp/W05dkx6zqxMR5l4Bc4dBKCWBIE+k4lwRkdENw4YzQ7R+PYfrFMMfXa91u+NKjRXQJeMlriB7MLjZLadBY75fD7xSNfUrSScIKp32905QgkI63VOh2P88lWdJdqPVKx1SFeGwQmjKqVkpnysHSp8v0JHCBmsi3wCENCK7wuaV3wF6ie/KRXi1dgT0d58KrYHTYCayEzLBo7eEHpnXB04wcN/zRgVVBI2XRhZK3ynPP94pDspjNKUtkEKKUSANqrTz5cDRpYResruTQWcah1Hu83dxsEPnsjMfSYv37e6XREPh9HJRFIZU0+Tkn+By1UyKgIxSP1Xgoh8TGLhjE+uX4qgHkJkAJZAg60YE3H1s70rZyMLdPusGmo6huCVkKJeWaG8Kov7p8H1IB9G50efo5MwO2FhqBo4S/U5KlpVJl6E995VLIDjGMn2EJfOYOpyaBkI3ftmsgJE4KH5x6+apCSfpT8zS6h9XjmZupHcDAeXCqlBU0Z4Y5yuYD1ZGLVNQuAI/vX2RUf0mKYHx2ZihEBMwEyp1AOj6Q13R08PouD2zRexdbMuKtfP9mkksEYTy5LdM+J+UMucTasV+ZjCHSMzWrKtiLk2M1nE4+VtcVLpjnhQNq/QiNK2xARDtYhnBS71LS8PvjHFqxtiJUmYoGmXYUHHCXWtQ9MZUtDAFT638DLh08uNDnl4LTfin9e3pa/BaoDt69qTfIjI3qCrWETXYwcZXXrCRxYVTVlw+rA+MqYONIg1spMC2K3OxYtqRWky8VLCnrq2lZFbIs6/d4OrU9XPrWe5k+K2MlAn9t2DZUcmIqcvz+Yu6yOh1vHOBKd8qL6zw8lmkmPU3YVGUwLtWPKcGRO1oU/gJrmWvH10/W9pOOQGp3nwCdAUsM4tUFM1c5thiUL5RryU4dJtyywMlPlmYzYbV5HsO5k6LssV5KDTKu2ITefRsOHJPvg3aSbG/nFSq12WCW693LdTrYefHsajlbnfNhsli2xxs4xs+ZSOc5QrXLcrWIKktZJ89GLEPY7WDF4Tyq3mm4EZ9dUJCX/OwZ8Eb7dOgJzBWpRYNRyEJXFRbR32WakE58Y+M9k/yuGwoWg3Ce3tngAba9z2gs6P4A/pDEvk7l+xKEzmSthvg5ooKEyXcZ9smf78HPokoD4o+jxowSRQUgJrCdPuV305oMDnjH1JWSXpPF8lipJLa+86l+Ms61uETJB+InqslkPyCGfXJGn4YGD6oTAbnoFCQtXmNtqIX2ThXMmUTslhIQXTOhQCuHfX2JEzLzKcKYAaWNi18V6ZThDYafI6Md1FRm5A/yN2F+jNj+sDR+tzN9iOJKzLY2EtogKkGyLZCnqx5/e87PH9md5eoXlOjPDWxSdKfp1afNv/aGvLdaY+c/xSogCCcMJAUbCpmuXhLVEDEdH7SLkgr4FpexGDEjPOJ1yNHA9NgWa/keDZlXRiBHXX7AGANP9Ooxz6P6ZFAcA89oWtcVj8oqNSKNLiickVVUWU9faAGzPk5wevkTEVKnTaIjUOqN0b6My1MplSyH7cuTMxvXNSHXa2uZLWQGvAqN06XOTAG5OWVf0GdksdvCSgyToRL1LJPbkhjSga9AkhE3MW5mvmNyT8K4UC5dDWGX6KlEtNrfRO1+KWUCG7x4aul8k9zpSS6JKq+YErwioiNHIVdLQZ1TwqH4NBFwg3T0zYJOTbgcH3KqPbT4Tv+l2GATk61AMKdON3MDB2fgX45XChrUWLJ/Yh+mnNURi12p83+ExqmP8fBEYbcgWfxgJZ+4KAMxpu19oj8sl2pdEhWCGjZqAwdHEubxl6RQZP/qQ+XdTA7Ejw0Mwyae9Iftnm3d7e5pnViDJKyrNFAY43GoCPNtsi2+UwThH2riHbMuiw9y5GAhYkwC15CUMG2bhNZQID5E6h1lRuOCGV1Y624SN6St8QAg/4X6oEs3hqFlpwC96L4vF9hQgbCw7HiGJCJB8NY8VEd1EZEUZc/PiH2hZHCJ+4OeEa9TXVC+uTtTO26kV3POmMft/8kIjushFjhhoZA+4L7EMdAXY4PQET/gD1WMMhfTRM0IF6FY4/+/koDKzGgEWsL8yz0a7/dEKewGoXQOeqJH+/5+AT6h0gXwDXUAz2/sMrTdAlx5eO8Q3prEQuJScZ5GxxUmzovBv3aoyF/4oAZsoL6CL45OwfbZFO4H6Zr1LbAoqhwn5JMJCgRcneABoneaqTunEYL2sfh2ZBB7yxTd/gFUUn0xcA2zXMOuE34KKyUSbRyR9aRezsfUYnTLbuKQ0bYJUCVVTBuNOZbdwmnS9GoFZquJGH3hqtzKhpsHdPesa2oXEOUFCeblpTXnZ3iK19eS5EnRRRKojxiX5I2KNI8oLybGsGC0SLHSsd01Su+8VzFxI9vO/pE+WdMmFNfwnX7n+Xu05jcGS9PVoKTd0ZeupExvalSa2lQpEyug2R8KW6nybDPesxbK8AqeqSKgGjrnnZigA7lqR20/ppfGabse1U7qjL752PCoe4fcFVqM9EOTnUXaunVp1z6pKT+lLdq1AAIX7diXcNrwvzNrMX2Ub/HyKKIAuBMYCB3u4z31joWJ2dEcXnSUDWXrwQgK84IsfYvsjc8G38pR8cgUcoReGKCCG7mpv8dX1Tyz8iZHf2C9u7Rg7BzjS6dXHtIwoudYdjibD+Y2zxSqhTDKtT82j00kV7gpTd9OptqRk60xM+0wn48AUS/xtTB5FuvVFgzum0/9E5T1AdWaiplqhQYVIA7ESnoIPisV04/Arce4CUu40rpD8ZBU2NCb1f8tDEJvKU7EabIWCxueJUmVrYcTqGQd952Fq0nDGvk2NM9e0onCABhsEgFYfwFyEyxHICAN0rEay+RyljvzcT5XiZppzDZuELnjHTwcO9dSJ2fEY/0CyDt57hPyHMd77WAUoYDH1E+ETlPcTdMhzPF/CNCxAWvs4Ex9WpaURQCOr8TvSuUW0zOlcjra8aVZj17ORwblSm5vEbEglEGPckFNd8Bw/Z3wRQvyslkPiKGrsTsF8uo9G6J3tRTKRU/X373AXB44SmKO2gHgEB/sHY5dR+YTZgW4v+BVJ8R0WIKDdkic76AMcUVUnLn6K10M2yRhlhli2TUuVSkiNbKAPSzd2wohXkkgMcp4yxCjTgf/x7gIwzrptLQ+eDu8CNGJJVxFFg/kTcz61wyc3JXA0BsnFHClLHlO3p4SzIt5lMATcO9xd2RlyEtAIiZDgqkQU/Y0+ku+mgmk81HJXqZj6XyyAzcfAL+Ow29qYT6BTosf/ERq99R3Phc4fFK0K2IcghYuZqiXs7TDfE7zZlp8oRZIWjsHR4CBlIEkRBroLEkAwJaKSPAhTfJ/niaK6vJ4rDYrIwA6d0oFzBbgo/5q/1krL+KVe6GBbmu6z1D++qtgHI+CxwBtesLJSF7d+bzDosrYWWF61nT29Pzlvq3u2e9TZYO1ubq5siKntleb7hRtSbAG2yO5OwRyPub7uKRhNY2hd37hI41mcaXooFJXkNoR3gA8dpKMI60LvEBHY6jtJAHJDS6CH8uAickEBR83xnjNoq+NdXYo6eciJFLSqXG1XdTCVOj+mwy02roALcCzkcng+mLfWjcj95uVinCpEAgQMyWjw7SmPyufvMBRGm9vF0SjM3Dis6W08JEaZ3F4IbVidovmnmpVd4nbOce2g5BRhzBwgXifMdfWrScfiVeZyr5jLLFYdlwRip4n9FaH6KZswVqgruM1XS5wuGYSUgcW5H/okFrXxdtDvClVC7dzp4s5Vs9+xPSWPvqqSXU/5MxQN0Q1EDxaWxOO/N8DqgXECQF3DLFM4f/S0z21Hj8qSFp4jqCydfCtbWOzFL6wiwLV7ZdYlo/jfYu/Wd//F8/R63hyJz8LGx4VwP2+le+7x/A9ED98kxJlmt7Uu46+f3L/Eqk6fJucQH5tpuv3TcNotVZdt9+dk4HaE6566IsanQXcbXIoShpt8LwxPZEA8Tc6ls8Gu/ODwYY3iQuHrtVoyJFfjB9TyK1dThTwQCP1ApjYfZ1ufKnWjqAaxTrYLZXSKkuu9XJK8yXt/BG/mOOx8thmRsdIBCELelJatbJ2gdJ5bBa8of2ubIcW1vqIyH8QDpA0X1790ICDB4rcCZnLI33Zi7RzrELYQQc1TIotcLTjO7aooXI6BRgHFXCGI+c6jDeZMKFRNTofJXT5QBu0QEKBs53pt6Lr9Vn9KGNFCoheSuIbs+M4ijvchaRWYq5/+6saDEdd8aNnMGvzhZwg0SqdAg9h9bFz1eutSwHz8Ka1nWVkjPMQ9/nz6EGVYc0LpXNBdAa6iZ6YbNPoE4bVjFMxzs7qrri/7rdL5nu1UFQbIg/3hPQgskPZHdTbskZyq48iwA38cDB7vZZT/dmN2bD8dYUNAThlGCseDDVeY8yFhcwbP+CnbilM1xBW+F2Md3L/2+1+buSElN65KdWV47hIDmJ8LgB92hX9KC18Zg9rQUxU308JSRfRZ8jBGSNb1GoEvYRGvcDuhT/Hb7y0XeIhf9V84hFEOyA2lFf+euenhxZDOlWyjafaz3XyAFoNijoLtROeodQ4z1DOytd5IbgFRmHKMd5qC8qiQ0lwWwc1eyzDaMCfX41kkQvdwSUahZkXgIkRuJ6EktjYuYPr1HBNwnJgF/CD33F1GLy8zx8ya0M7r3vmM++ujs1ED12l3BXG+6fp1WHxPmb2jLkOcWOgDZG8TIDoRUESH2xrFT4VJKmGHJpwhB5+TRDzIRa2dygPMV0xvaEIO7i0lVIU5ubbZlAbJ1wWCclsOAgVfe/9+haHvVLgLjtc6fe0V16BKME7ZHve6J/s/rmvg+8U3UtvfmTFa4LJo1+zOHRCqP/MWIlExj4jtHHMNAipKOZ2cvMJeWKAftZhaJ1NHjJlXnSP7uEaZuj8VOJ2oeC1etAcb3V0ySyf1PMZwA8u4dub5/APdTr0ykB2xb0WSuHCU6HMG/dzRFMinJjzwO5tUmqcznslRq3RCnW4y+Vp4rftCQWSXnioT+zZk1/v+s8XZ7lLeK2wLVz8FLUKRvozOSkqLQ4JlHLIoehPpZrjXH/RV2lnUUKQdVoeG/3QjhhYbULMtbn4LNWOt0TskOraHb91kf7//WcpQIOT74geTHa1LCnzDq7F2j3nhRVbray64L1BqeCaH0Ycfy9ZfuoU7PsH5CerFBREHygKDkSsaqeJRZHIMAPqpz2ATi3nzB6DROIzE+TwnfOlc5/WxBHf6HJmRcJaEyLFDsl0GsEXcTLQeROUk5rEygpOD7nYbNARGLDANlsdNXxKRNoM3B2zfM3ESKI/cR2VvytJS425SachhG8Xb0+twhAjhZ6Y3ra2OPfMyQkG/VDWI0B3Fy2Azt7Fyv8bIjFGHRwFh4kDCHUgh0YQ7OUKiejHcdzu4wokemgI6jvi73NakMY/43mopLKwu5QYHQs1Em3txMUVQUNMsenxuUT37KCP3WveCqrlJbs9GITxnlZo9VvewkuD75wcB33aCiESeAZIlfdkmhxSx0mAmbia1ytmsvppmF3RTQVBrNM1RkaA//gnjlshkmrrKasyzNPek1hamneu0uXbeeRke70PTtaJTVxZLimuNAPEf6NH1plcT1Li7Mo+DWS5vb9dNj3D3lQ8qGshvviuG7eKccVf7q4An4WB76kTdAghG6ReVS/XSbp12p3R+TXW0rH/i7mhYIP4+HWjpTfMIM1//NLfkfzkHTk/bsXwqMXNm+XyrBXqa+5ygRnJPx5eyZMjLA5wh8JP9o7akjLoCuYrWhuzygfHK3wDWjqYypaJ8LfZBlLS8MXJ6FK+uHtZ21n5Qazn8QE6OkpGoPY25MMCmZPdjZeRm3DxsJSEe79xG78nl117j1mpVPCOk20oA0ZGrWmw3FfwSurdMGWM1pnrtzelekE4ds25XzfQgae3liNi6veS6p4D4VqVigoE8+8C3PFkK+3HHkg1u/4h7P819BHGgSlm9wjZUcV8XMRkzAGS7sXOoGdYeFwb4Pb/u6C9jkMYlBe8+ccfWwoMUNmN4Gw/9RZQFbNNWNblZhDwDYLpA+CRAJY/yeQMN3nioCr++b03vabB4iBMI6TOr48XW9j5PKNFvSEkvraKtgIonzMAt8B6u7U4VUlAN3E19ZgvK626bGCYispyvJ4oxrgb7e48uXD53Hoe6G3hB/uU0ssiKjngNhwyV2sw8xI+8o9bUxiLwa5DuQehdQpziAwm0XD1qDZwjWZm6lXiygRQge2ED3v7tj7STMdzfDfJjKSuBBo0PNfOl1lHmw1LCYNBCQuE5PKHMs4yTmb8A1VyRV0lKl6GcOPeZNMsTb1P/fIhBMcGPGXICU/6I+T3UXr9qEh4NwbDUNt/vVo2LOtQ7n1sJDjB3yX341GnRcRNCDv70NLlWkQSydSN5rvS7QRZr6ffTznoPPtP4xYfR6rs1l5CMvDtiqvGum09apcNpSV4P8JbjeHq4LIBtmurXzzm0dAn3QozGFER6ap/wR663N4OlFoY+uOEyVDMvIumqK4WbxRkzDQfFYQHgiZTyc22tWJv1C7MXUyNmtNKvskffrBQdHFGx09QzQlnF5vcmlDUiWf8PV2UlsiiHlfhkoghn4znDosEbKIcTngt9WN2xjPUd6Sl9Xmn+oR33RzN7CXe7pTL3aX6MmSDIhuu3fxbRwjVJg5YeWdo6BNhFenC5t5xEUtYI+sGjuitqPc//HjKXR4VyiW6dRl3I+WN18oDwRk0zqhYCQHfHtTJuN3nGFfy/F8e5fbHfV1LwyQfBJM8tlyd+PSO6vq6JOkQNIpkvgdhurKZisD+NH0S4C8XIZqd7wI6He6EI0cMwE7oK8M5oee7DKWvxywlQdW/aac4kk7zMnJwj7mxH2pJRtXRznE/X05+SEQiMaHHTIgqu/vYP+p3SQGCBm0tu6xr1GAHWwbwM7CNksEEyoj0NAv6TOncD7a65Jal+7lSYgZ5I4woEjkA1hJEjzk4GMOiwC0Jmux9dRBSMuAW5RJ4P+mmi8f/69IYyAHY4I24Gx8IoFuiE5yetptgmg/X09cmHNfYHFeGJTNVXug2TCsTXXe3qT7PzQd/bqlriXf5NBCHRz70/30HRpFz8TT3U/sDheMHirPoSGlqCsSiRSx8SOXEo/m+bhk/LF7wnPHyEdbimmW9lHjTVjpTS4KD+wdi39tAapWT3KdwnYf9X32F+0+vpwUXdUTgsWiJATqmLyi4pB6azdHUicNbvtmMB/mJmQPKnCHyXGlWhhfqgR4w8juERfwFV4i+csihwKOnseH2UezFgy86hZp7TM+yLvuNw4Fxr+2FvhWidxMrSoPDHm8x1rk5A8WtXVFIvrp3qXdQjMtIp1ze039NfS+8TTMphOiSj0UvJnju3Jp8K0lu/AJn2MMUH2NSrrBtTmefgvvlB7i0FK5cg24R7tzwpGnChRU6ZBfP6e8IfJfQC0eGwcrZmc6UOKLbGnsJnJnvzKEZ0BP8YOC/GHclcHUIVtBH7v+bEMD9QNSelKZq/bfFYW2XY1bFzAOZsa480d5G7JNCu/1DD956UA3uvvr+k4oFd0uGLRHSxnIsVKqpkHi6SDDqi3tuCvTVPV1TJYQu3tTULGAXuH8RcR07UfAwWqbVwRDSEMb0Cil860Dhi/gA6iK4LgBfkgkY7/4nfeeVTNJpivEY/3lRSxbLaj/f6N5QJ11rdICcyRA9cZ58tabQ14q2FWD0kkDv5pi2ROuje8W4AkkaHPx+/9IHNKlUCAqEjvpU5vrxOxT03ftjG+pDlWAeLLNNvSDHwc4LG7BDucb/X6O3ojuqKsg/vOxcjP2LoJn6RnaloApRuszt4goa7T4lwRT0zUVcsir8K0L0OVCbUyb4zgcXSyj51HVAXMiGF3Y0UBwMccqxsfm/1kJCKvMCWJrYJl1qgYTiTxxN+Gi/5kxJ/+foNub4mnVZhE64lf/JsvlEXhH3jn61RZSFKvNVEl2R2v8dKo/siF1oEdKYPHXFo0o0zfjVR6S3BWvYwzbNgGrHOG9mUx3sVsZT1tZTpc/Tz7BlRDj3NBxrBC0Xr9QWs/legP7W5lCsQ3uR/l2xtHvDRQIKDh1yqtqomrj+MyLxY9BIsaC/JDHkIOF4E8bG/0kO+M6jTPuCxiju7iwvtosYH3uZYaXs+e09zNzm9pGbxEoI1wwfFBwrwGg/fZL4FbA5UJEefq1wBDvfAFHgsmZlgjLWaaiTtcyDUHzVM5OACnoCpILmnWZldZAmac5QImu7lVo+JXcavGRWOMgaOXZKDRE7NMR8P5INXPUMB8X7+ucFWpgLuZ/fkWQS5nXgYXh20o7Gn2C+/fPuBa9Vij7KLXP1CDCQQc8Rcr2NT5ERtq8ZyW3zTThprnUXbX2JS51npdNgfmnPPebncQCgwSrAJYD3BhoGcTsDDk5McpldHWBteFN2XmjACeRIVjcUBEt3n4vyXc+13X/MEo2Xw3au6NKKTxvfom2Mz6q3Wd6V2ZVM9ULsdcogwpPTPPrSzYazM4w5AysqEHwKMcw9NRyc9pQNDNlChIeD1lbyNJiH4jbJi6BOyEAVOwQu0fIfQoz9PHlKnzlyHe1LCev+s1eqOnjKEKYGKYSsjCsW230NhOjNA+mRRqehY9kG9efnq9OXNcet/LAjyYOL80L3f2ucCW/l8kQz0afPd9awMeGve7K8WVYz9bObHdUOIalApx4PW83G71X38T1wkjxFatU7FRCZHknV6DFJWUsxBdSplBjYyTAU5/T+MrL1GMNoug7ACv6gapim00lMzdFCCZwUU7vQbv6dgaNzPDOTrUTFv3ifd1BEY+XOyFeAf+FMma3voT700fk8LcCqVH6nN0PcBHd/6k78bRGEteixzz4SOnwZq4YP8zY/9hf++lUCvfrxGj4Xo5MMADoBBTEG0ClQE3j2bLNRIpxQK7wsIMA1uacGFGW9LpE7E57J5p0ngzaLr5Y53RIYn//t5aDJlt2zh90LI9CIibfEIejKpwco8uufR21phLNtX0Dtg8fhNAyl2l8QExjFr32em2WNwoEPyr33ZSs9ANcj+VmkqvSbLOMEXIc6SF5unR08q1pzfehqGJVEyXhKeAfVul0JO5VkcpbeoCtyR+fUDpIke08u/JLJF8+LIcmNIq3A8KmEjP1aNhV5tHl/skn0JyuarKAJTSZLkUxZV3BaxItcT/9RkhwkPA5vgkkfdZ5iGNwWE5nbGUgCabdXDz1PVeHHVmnLQqofbX3bC4LMc0dVlruM3nK+1EuBrentE5FqFuuVf84RbJe3BJWo4mDEpGeGUlXd3M2/RchhBqCk8fHlFc/RHtCTcuJDw+u7KWmOEajlUpdYmLMtbCetycCV09gV/1gX9QwkHakRBQFYCofuCFBcabrr7STwBV23YoP/nkNoKTBYaQLDZUOS64I2h80AXI1qFzwr2KUJTrzwJu7Ml5YON8ZfZdHBVAvnZLqAgMjvJKD08D5BicjVajk8SxTQOySKbi7XVBLIRV0PpsnHoD7doqLdDeYiicHmg9jRaUwMPS6a2Psf3Hk7XHnztwY+8B+Ho9oVpkhRtqtkV1DW5vN8VsnG8CbaIeJjKZyGDjVSrEKeu+PYI6Zlio5oXBasNdVgL8ojX+UNgLLfd//f6PmrjpO0GKy5P5f5xItDxY+Kl8TwEfsBxtKwLm+YmOQeD9Ln41esN5DHNsbhp6jTUDthuAhH7vtQk/Jcx6mrnl9hzIN1ToK6hQW1x+pSVNV6zrGd9Dcq3K6MLaavywDvDOBzgCsRkGwK75zM4xj4gsqwBvWyO7EJDz2TG39HLXEUaeK+ilaBieEdBmZpkMMwSnX9DdGQm0In2KHX/USeSlX6aRH5NppBrC6dj1LnFkjxfC/X7up3Ma4e5Log1nTHEY74btnuJouI+dYxE+KKI1q2jeRkJXOFJVpl7qoMCmOACOGPJL/1UGZG/nX0CaBRaHrKzXXutTzuKl9akxwOLS19vPlbdExlCu+xic0h+DeXP7iA/0DZGLGLr9G9RnNdEkCSluJAGY6iEOQV1dEcK5eo6Isz3Fyg9b3a4TO4T2trb9LHsHmx2Tl5mo5cwbJpv7+VtiP3DjJGRJC66tMyF5whDoxUU6OHPxbxSw2SsmVtJ6t+eAkl3f3BYs4ZcC1TCpCRSOCMsUOdm3ADaPimvY0NRxRgvl3GMQs7KoviPQVdP8HZpU/BFdpy+K7nzS7ThlzKWRr7loPlZVPj5NfcBEC6P9quxj3J88QbebA8qmMZeARVXeBte/KMu+TABY4983QvVF8tDGEnigz0rL+s2JLQRr9gquzZ35IZqjAG/al/ea8DUqDykzOSYGFvuKf1bJv4XTNmVxG12WojFDGdL8cb4M+taz0WEIIkM6pa5y6H0fTk/NIS1PxaFXcYFk+2/kJmlQN7Zyri8EkTaBviyj0gsc0lqoMKyRjDzFmOskW07gpzNPtzu9QhZwVRqNUBQbRr/DIo5zQ8ncaoMaWDKH9+UtmAd/OWoTh1lhdOTXPJXRamGIXbEzbZDC7ZP8W0Rncxr0mIuood7dHWiwgY6MytjV2BAH3+LoxEJ8nDDGjpRB5xW3z7CDod1ZyEJ7CGQa32U7A3NlWa2dUtlbiKcssnPzy/c2dKdbEtZlSDeu4B8HH09tP+aNaubIJEExWiwOeyoszuXuboLzIknf5Ie+Y+5DR/6ykBZfX/OjkL6GKG2SIy5b+89HwvH/Og6iH8EuQ+YxreJ7Av6vroSNPlX3sBeEnQQuywDvCs1iRe232Mq+Qk2kWY7aUNx/z2LZ3AddHV9on/0IYNN/0FmieDQ8tFBIf4WEtXcqGmmgcXASAGLkMUs6cNrOE2cW29f758OUzbu/naRffCHglbRJekiDDpMO2UJrnUXhqOUBpmiS6UconFK73bCqKBbfQURAIrxgEboxJyrC1b1sWQGinrM4VJXDHqNc5AAPLxpoli6LYbcPLVMsI0pp2gFUCZYjgLXML5DW2i0IRfjJNauUOM4or6xBwXQvyk82gl2hMw7Q5jxS7JPVDu9zTtonwwC4bCa7Te/jr8nBKLx3saNxptOwkP1Lc6YBqUgYxPS9v08i+iDh5+EIEUZDuo27d+i9KJerYzO5PP3ewQXddNe6u3H9WEIhutBhEEJ+fjdBzAmi0IebFsYWoLqEX5G0SScQEsVmyBqL+8pybdt+V7aTRff2MI3SiRtZt5C2wEvym+nGt68Zl4ZXe/14VQTMuocPFiOrQfmuSURVVh8pZU5pR8S6uJI6LIbcOxtrq1RAyFi2owsSsDmuzvqQkOUSQHueGkBG5GlF3/UADIK/i63VDt5w/H5i3BqUp9Xjylzff4OGLgBEUOCjdXBXF5XpxmEL1wfc6aVWwzjGDZAp1017zWBJuK1rngh+D4tV5pOC8lFj6NxKIZEqfiRNbZ3izLNx5Fd6VugxrKG8VfyBNJau7M0bjgU3I1VJt+YVJggWj2NI8ULHA4fDvg/MjUs41EiogW6t3UeudNQiD8nyDrgbYYamtAyKlAtj8ignfrnecnKAD8Cx8tN92CQDJaL4RI9Q5xBGy2G0a/vd5VuOqa71dM+7npHU6s1afdEdwphb8+TcUw4Ja9BH0HuosPGpy069aGl1N3bXrh5z4Qx8Mj3nmycZfI6PQ6PmzpcYE32zNRrRUNKMe9FeQGH6WGXkhmO37r5n4NT9FYffrRX4/LgAD2tiUDrnZemgvK+4YspyXM8IlJScTImsW9k/PAECSM+TH+mg8SeKtYsFosnF9lj8gxM03gfW2YvxUQALwQzDT7vyxJ6mMs9kJ159H4bjAgDOyTAV8BEYJ+jZrYoT9uwsOuG7sh153UIYkMPxxCoqss40sj5wjDeKN883TLpPKtZTd7hFboWkBFYQpG+qymAHgxVZt79TDdbHuZ9Fh+CNb2w5aWdz46KP6byxcH7nd3QxxFhv44Jkyr2pOrACazPeq9Ns96iYDLETTB/Cuo+HpKBREMx3IRU4ug52KWlyn2B6dhmWowfcd/m2+6XWcTs+5RDNxIs19hZqHUz5EQgUJVzSLdXVvHj8kZCBETT+++KHfVv245uhgLNPPVswcwvMrZ1nLWh8s018xFReUxhCjT4ySb6JxFTfhuyahrV4WAR6Flqjy+zUGNB0Ttkc4ggjcVnUHWd+PaT2bUbKFKd5A/EyLTN4rXsv7j2YTrWMA9K2NYZv2i+vo2RVN5DKCK6mC6BXhh5MhMHrEbCTvLQFwGmZnEaITpWhCHNnzqy68Wx/q11w/iiNYnIrQEeHuG9Vyf2LEhRQxjcgrRz7rByfJsXEUUF2mfbo7Wqy+HaW7uKBN6oOWHHhQBlUAA/RIdpaBrbaRtHL2v3FqMlq3zC9ZRgpg09gUgxFfIt2+WCMBtt3GG53PxqUBkmnSdfKkq7s5kqCu+qR2pciSQRGWGKpTjt74u8G6W+vzwDiM+49ld+jjSy7nG3CmwrH/vOylpW12BXGtaddR6sy1Z1PbNA0Gzb6P5pQ8pKkQ10RDQNY+AgyTqrzpQ5vXq9Likt5H0dNXjwhTRs6oL30fz4eyGApgxr49E8Us0ELK+MQqDcZFgpRPKyOWQVAB7Y6BQ2iAHqn3QVoyQz4RfurGlo2aoDD2LsToSlMKLLixCe11ZZChXekqRRZfELLCVYiJdXRfUidtI5PthDnPLsrdm3RYGKvwFzSPzZgMeQB+TLJzRGx5wtPB3VP2SX70ZWT7GrqqFf02aE9I6sDuF/xAu4ooODuOXreev9nAXrW6ubydE8BOisY6+FvFMn0j2a1EnyYpbTe5nnAIr+oDVr5ajD6XsfCwluoV1JwSYk1J69M5r+mC5zr/HQgddF0zpgFu6GALR45YbF6UDi09hXrthvIHqkDtHl85766LBDFeUquF3nJa9x7/NkkvkgoJkOSOKxmQwMtKEYqeSxF+wltVcrT2QWw/4tdPS8XidSmXkUuzobYGN1eVndHlTA9EeaLguc2XdOq40c1Uuy62TCYyEPneFk3e/8cevvmLz6VCgR0vHG95Q+CLF3tjO3woRiRT43hY3n7v3G8WZcjqxTvaZF8vtksX9jG8wRbeJoa1Pic9KDd+vGsuI4W0UaHp6Pt/+TdbT7J5Bzcp4hc6DVt2xfPzP5KEebgh1QZW61O8JR4qQsSLzA89gCsaSdtsb5ls02nYqPSwexJcyAJ8OKSev3b7oSey/BQFrMsJJTdAEP4yURBg/FxXG8IElCIziN3NB4XB/N91oJ7Pjh2cQYsBmMqyX9JdrNtp74Ay1xVk9eTigYVmt8VRkIxG1fP+d/TRxEOk0z6lmXqHXd7tWTigikCK0fS1RmPLr1Mur4aTTlIjCXlCk7A+cLuO65FdZGAqZRaDZw6EfUoT4l4VCZU9KWlseDux6anVjA0V/GPhFS8fP3RpiPJ7fMcp+FdV7aLlZhM67/Oa9MitODulasvSck+KCfy/V2LCJndOoMc3noPS6OwLKZCL9c+taS08ex/sO/OY9e7pR7/xmvn6Aj8CjjMdzOozIMu53ZFN3SQa9G/QP+9G7jy9wGv45BpzoIFa0yjDQlE26vW9qOtcAuMgstDajbZiPTmTfHqc7s1MVBUDDf2iDpSSWFIZprcBNNJGptOBMxkk8kS6yw1r6qFBGP5a6dT2188VzP9v+I1Dqu9V96/Kpi0x5xKiw38+iJp7y2zjhm6GlI/YtTYt+9C5RjGb7ojSMs1oGq6C0wAQIRl7mcwLTX5nt78D+CkK3TsWIMe7a1myPfiLumVByj2NXndoWxS8hBtjkw9gr4+dpKjm4MWGEaHMqs8fuo/JHAK2sL/6hTBrZJj3CjvBd9Ajqaftt3LU2uLF45gpGHjoSxscGsLs9mekg0O2CJLF00OJCa+3Ao+JNW9hwJj1kd0ap/+FRBRlWnrLwv3e1KIZ8K1ZJvS6graU0R5qAJnIxLN8KzBsdoamkkwNolG1IvAAu3UeBKyioIdVzUoTzLrzbr3p1MtXPLBO4SK2W6EVFtrCR4e8hcjZtKjKNKwwGifwSoxYQiRPZvtKKYepSMgTcsb/ZOoUvF8MBm7c6swjR9pbqKwbRKN70sXrghB+gngUk+APWaJdncgVJtg5xxGpoQsTgpu0tQFG6YIdEc3GlwaoZIOTbzfpppppawcFWTWjxMCveWU3HAdk207PAU0NeW7GKJd0sQI5cUVT7JeHuDW7IQgwiuolU6ftFRmcblzzfjZroa/nfs9S2hH2iSGuhXFK6wOLFH8agrxcZP3LCrK3gyVj6kothcxylhfHpUzDMG4Rort3JK533bXIDQWAsmcIQkDiOO4tqfUBw6N+BLp92Vu6Sw2e9gFCHBV0ARO426QG0McXV0vvgiHJ3tYU1B+juAP/Ck9n8ZTGks/eSUOeLi/3TweBx7IbS+S7ssZr8scy+tAY8ivuelojFS73MW3vdPcCGDp6gmvTGvuW+RgW8a3X7Qzy5gknyl+Ca/ol479Q1p8TMP8oj5EJhy+ynNiMcXzcMtktZQLjXkGHOTVUyA8FqL8icSz0eyOBDO9GBQzSgPkIs9QoYsWgEiwJL2wJ5dR1d0hiVJH7VPA+1Wv5SwA2vCg3xc2BKZwTzeC7tHkFy2GwZna4KsYj7ycMZgr96iYliXJVEXGAfeIB9o0ss1r5Vt2N3aBbC34qHwKtknkm6QlPS/F0X1TP06L3ZfbfFiE3wTdLoFU4S+UdVpSf8ZC6LO/Xb3z8X3Hfh1onxmNRNiKEyDNGtCfB3Khjafv3hIWNIwutSCCaDUcrtsRQ/Kr9etScZhjrCtfB9CsbP2eVxRtDCVmrmFZI8IuJ/2BJ3rkrA+tA8RIrH/FVKWCXmNN2JWBFFADziq/rKbqfx1Yy+vgaFMUhkmx1iPwrGvo0nx0NISyjfqfLv7+e4tvrdvOwJCnH/0QJXGiW2+oVu8xbUMT7UjfiMcx0i70WpN1WPo4QS6THBZfMKauPD+Ke6D8NHN2zhBJjGK7Ygw2JNwalLAdxii5EnoL764YRUfQ5GYxMXFX5tbjlcXWza6m2DwyYIvlgmZ9HxQ3cc35KVhO87DOFui95YJHLDfTRzO5uyZsLD09ZtBiuG7sTsb+oWQARmcqcOn5mHnG+GdGZVAlKjI5/7cYEoFHSSqBvwoVdtSHNurTgyyOqwEpST30E2hEhoXlqZmhBtOqqZujJOL1OnsO4yKeVlCwTcON3+bKs/fvnxvTXCa2hKTte3Gs88ej4Kv93FMN02I+OlpG1TZaXVE9Yk7bk8+4JhYLUKUf72GvS+JVv5bLPYXeZ9t84vHDXOW+TffBH+L5C27aHhWs1X/+D6ytFOgZqcVkgY0fTSBu66KWQnCDAUT2ip/9la4n2SigUga4CT+5ek/LJEBwh0FL9VuZyvl3oAsSSU0bNmqDkEoe6Scg5ETNSh0yirhhIMDLWGLUhT1fggUskXJA5pCh4dwuB+NauwnUig5hKN/PXMslETDuI1TKwWChKRJuFPfj4sUQzxe+SFNlGsS8qysv+OI5Tk0uzx+Jg7LQVn1Z3ag6GinsrOT6U1rMDXR+PFoeLuuAC4b0yeWYffdVuv/ZhcSTZKrC/KgFURbNcio7vNGYbhY0QApPeU6i7ABwF7JfEPRnDr1MAPg/MWWu0sxwo9PFcBDM2c6gpNzDCU6iWFvTk/3eB7Pu2/t1ahnztJNl0T8G4kmwzC0h0gq0PCb/xxZpKHWL+F3Lv2eHVmBFRZvhQNDYDzpI2V5KpVY5Sa7o4Wlx1CQD/X9Lv5R5clPEi5vM8kUWtLDH/IDBwMoPzk6Y4Nql6ixUFeKyvoYi9Fw1E1AMQRVhANp2f+8/uQ4XX5sUHtFiEYDiXbbNtrytA7t3rkLiTJgZtDVX6K1TquqjGeI4NKqQGME9ERsQLbkdmoGpMS7uM5fuvAnVpjt+CoBo/1CyOO2UzjAHxr231HXL+j0VrOJac5hgsp0HEB4CQCgOzTOLCCDhst76OjnxExnj5JKi+Zk8KsbWyx2/r7nge8sIkVntGRWfrhxSo16x7c3c1dK6/LG/7vi6pzKvukmaQdhC1SXXAaivmDwNml/O9oQRbeUFoFtpR7aXsoAeyei3ObzZONb4y3NZljH1jKz4b4PrNtZEYbrW3mspm2AaYmY8Wpbue/M+CIMz/FJci7t92A67Fc5KLWaPoAng1sCDTGkIfg/ddWqGvpd1ZNxlUS2NEeQrb53wbQOFt9s7+6cDq2K7VXvJe10ACzzBUWd7Hk8MreZoU7xX6cWHdp5/Jce5GvgXYilH23ouUHVNW2hsMdeSsv8yXsZFjxAJEBRUvDvGsBW5q1hUGAkruFhiqdie7+vSjN1/wKYmx2Ty6LwSq3BSzLQdo5XhVKS2ZgInMGWz5g0RLE+pmoroK64A3i5/JADm6dX88cqqToJJR+E1qg3TpKgsi2nZGBnmYjX7V1E++Etu7GLIZLPkSw1GfsEjj6PEc52S4qVXnK4xMdSKdxFKLM0n40RO5TsRUJAGyKXetlHoKoSx4lugmquJXKRbQmvWXHGLg0xc51q5OCZVRyyQiDXoxvO+6wqs+eCxGY4gVhVVRmflqrmv365dWxrscHB7JLcRRJ89hWIkIcLYUDLpUKv2GyxzUUMxFNxGXnGe9S5EfTmK0rejxktXvUQwqLU6JocZMMx85HslsOPRm+CvJDHDqBLMoN2g2YaxE4WrMduUvgaTW7sdUg3Iz5Tov5uNOPagU/IXTNwHXhLkb/CLv/T1FJ1naPwjC/7HIOz19KYjyAHXgdgPm83355iz87Sb8p7U5w6HRy5k54Q7mG1VV6q/i7H3IVcK27Nz5GiR6Zj0S4E2p1Ni3kbnpvZ78LPgc2PzO8RxsI1n2/6JztuufHi1FaKiUMoF1TG0f2nRT7wlqNvuwqBsVmoAqKZWHKjiSZa7Jit4tEayCz7i9SP0XEsojvvxKWGI0+zYHuRwwr2vXzXmik3XVfwszpuA93CzCk4wpBtdMbJGhWidmgxHTqB0haqiKXWfk65D5etHOImWRK9lm+ZytU199RiIUAM+v4ryDsVFOyOZf3fhcZJWG9wsh5iB5YstXd0hX204eQhxZP6RaHSnQLZrbchVVhiPXY43AuRK0NuCi5QOZujhso0XRgupdcrqpw8Gbtk8FbXJZmnxGQjDZ3Ek2kriQini2XnNmlUrFmqV+MsjvMaLU7sL1VhcF7UL6ryRevylXBNOfzBxUtXqmohfZZdciw1bc/T2W7eZrstJDNf1EDT31OZ/MgIPaHtgI/M4juMr7sev9xIKjRoFv6TYCzRWeWX/KDJ4EmSD8/TbBCXE1axgFMs9my3Gz+bU1R17s4A3tXPdR3qp7EAPLcb6pHZF7kvE0rknHk/OY188pp4lXYAH0oombXR00MJEc/Z0KQq96BJ43Dh4ecuWV+Coth3Fki2YWSDboCdn6Tk4kAxEbSsohq0ZNefAIEZ6COqo9B+DbQfMgnz6Hk/6NlEH7AgHIfvIQXTQ9MPYWHc17gIcJrdBKGTbBPwQrdjIsMP7Er0uik7LVWlXfba8QEw/jeAnfCfRCgvz67PVpS4aDNfvOxmyo0l35KrWvOYzibQirmTbaRrPHeNPXvV+rGy57zMV7+f7ME7Ff3r3xctx10pF/57xqW/NvtkFFa4MJWfzH7+0/JX92pZ5Dww1zfLB9oitGkCuONUZZxOywhdykq9T1X8uIEpsFRfpek1GXYIUADofZhb3oy7GRfrRNNwA3Wd2U5dR9DJvlNy4POgC04V34HItAQtgmbujSUluaRI6wPgMveVd/up7jvHWW6rfn6MLafGmZrw/SHFmRUgOuYTfGOwtC3Wa604pNraG2nqkk0KRT/EPtuchDtv83iDbn2rAbzsZVTkca0E5nUwmZlF1Xt+35Y321arBj06f7QW+1h3lKb+Ckibc11JUqfEiagHHhUKqd4xMSsuxcwJxSSjm3lvuXce9XieJXz8QIvd0tLif9q56TFrCZdrhQAF1d81FmKlix0iP5EtQpra/2E4rdAXJ5PNGSzfNbIdTB1HK9DjEG5idZ7xrXIXvRpGmsIBtHeS4UfVqHYjmMwO9PwbWiRa+e6G0atPde3rbUtbJINRenCeYP9BZQncSpEBf8zO6K2vtLu+6FHJ8aePmk4n/MZn/0SYcVbqZo6P3kHdswROhpcx64vWRrdIq3otT/5wqdsR9srMApdE5TZmJjpRNj0FSRr4u+c11Nodih3KQXxyr8OU55Av3SdL3ktxa3CznDkpjHKeSF+sMLXWllItyoOsnMaV8FnvBRNQ+R9u8jLu/vzMcnr4FkZ0IHXD8OUlhGYhvYQanMhWOAdp60LD0u97F++p4TXbMAxyoxrw1t04+ioC0AE7oor7CfrOFyZYV+9YpPnRSvRVNDtBPHW50/Dou86upRGvV545+Zs849aeaJdaUUP4pw14tXBFsuhnzI8fGHZNlkIxaHWBRIWIHjt5zT1t5yuyApQuigYNz0uoz3z1wVQvv1KJXWTYX9k9mCYWMuXdoOS3U6RaHM+zW//4wIaOXWtYnVcivbhpf2PwsIvVfF4b1T3tln+1NBvxQr2ABpmlgcdbLUc6KAR4VGo5aWeQ0958b3SxzthPptoHQJbedmtwI+MvFFzV/lCQgFpsprSGEW49XD8i3fBvR1crrKIpZBb65eVCt2H+LgfLlWbFYs7y9Rbe3J4Q9eybtRC3vLrwwWOAUdN6WHpPW7rbtwB0d88RMAwxjYTS2DYPu+3OMMESs3U70rPFJ/02zWfRoHiTP36gACSSBygU6fDKkN9mEMBymE3JUf4zNxN4VDggm2eTaQllI7TEuQe+gabwKrLgNM/UTlCAe5QKhO2YLhDSGAeII5OCBedn+QRB4BA8MWAo/1RW1Q8TgXw+SCx1uq33GHQ30iUKHpC31Fquhf+/HxH18DUTJry6QBhwSc+ZoNuOsuETc3vX/XKq/rMrHoXyl13q1EJaVTrc2eGdkctLOsNvzZqTG3xHAHKIy6ttoAPyluIBWhHsYkIskrS0Yn53QQLxK53wKBITXcAdc2VcVK2QyoDljmDbH3ec710hBD8fQ0w4VtwajxtyOKll47g4zKtRDjgqR4WqfPK7iaCVRNPVm7gGFlaeNXNY5JMksxOFLVgowVbe9rehiD8XGFzS+9h+TtmLT+K9WgAit+oecw/ln6EhfqLEIuvDvSpTPcUuDW5CFDG/D/CX3sbfzy3fDM/zGs+bnDEYlEigf/+2FxZaypu2ik8SAD6CBs8WzorAs6uxXf++B5f+aEqvxfCG3LUIJi6gxHJpMwOovYCiIxsffQlhLMolxeHh2PR5wkn3rlPzUKo/rBXk93pjds53eqZNTI3ljt7DoL3MqkrgVfFLRrtSAdsA/D+h9RaJSd42mfocwPo0YAewQEfqbGAwDMN70PYN2xqbMqKnQtcXs+AOVK1C/DyBf+qTve7ntyqiQqGjER7NoWhqEmoa/gXyL7QRUEqAuOwxcP+kAEWO+sPLKusuErY5912QD9dEgRRcjgkxj6dkJNYkscLJuDkV4xsz4ByWA+7Eax+83jbqg+HwP7PsVwnrrjgKDkRDbELQFGRovns8CxneQfl54Ufe0qDa9vgq7YmCelBaa6d7cC5hzA9BcArJXe46+gOlTLqlKLFs7jWxHq5k4/0X90LtGDawviasvnit4IpZhD9eNqeGAa1mLoJOu4vpQjrySCXCIsdsPDxuz38PrTNVQBHLVCToOT0RuDav6X3IceOTeyWynfeAikJbMKvQhXYvMqM6sasqGoXIaTBcIowMfb185lG+K2x4YUMUZ+oU1+LfbLp5KQSqL0ub3UsQM12QWVemNbILYXAcOad7xu0jrKH/wBhg64GPXcIx4naNU2VNAMdLlqLjve4hENMTttA0eZvz+6G54LGXn8VF74QmaViftsY5JJZREpTF6Xo2EhLUsH8s3gngWM/m3Yw7ZCXXMGkIdjO6LLWO/GSjXPKEHLrcrfxhn6K48LL6O7Bhyi43ubISfIzdac7TbfOj/MNkAeA0W56wsV6ZyMmqmUIUj8tOvuVENqDCIJpRTj+chxX3HTtlBJR4ymLxnBpVyxSpclE4VVuP772+qTIxLATobfI5qoerEkgn4C9DMnP5QPjaihl0A+Fkv2r/OyXzzph961J9xJDKz6C/4KRvvfyYtNIy5n+xYRW+V0jUJEuVNPzd2FhB5aPfquifE5p3Br3tB0wzTOHz5Kgazi1OH4NyFKI9wzNP0Y+nOPmZR+hVXkOXD3usSrQmGrxuYooaavqwvQFG2gykjPkROYy+7ep1k5ctK9gk1ijoK4Lu4hF0XpcXQTs5uovN4qZzcA/Zh07jCygyfcRVKgcRDUCLYQMw3R5joGqu1lfgeahPbFeMRwMhhgRT9k2xW6o6auXgHycH/1xpRRf9Ues3aAdmKJja8/PoHpM3mdYJA8nT/7BTxQF11v2t/cJ8ULi5uPoP6lzMkihRltcHdLwHRtxf6npU/7UPc1tbp91re5RVopf8IfCSmWymZOWvjXwtVIQR+DJFgkCMpKPvCJhOj2AaBcPBdzpYi/jlFaq+2qYoWgz+rh0dKc96mlDqGx1BD5kdw7XCSky+Vp6Mr/1+OPGdN1W4bNpbUhYs3awvhKeLgqWJ+8e8whVqj6kvtVJ9iD7R0Xp1l0Lf9to6xZ0kQ2G/Fkv6LoNuJ/GsMJMKhLmPQ4hzY6NDIeDGRIGaqEP22lFbzVBt+AdreQ442sS7yEQD0c3mTTEOhXK6P/748rsTX+6c5c1A059OtbQk4U3szVfc9aDtwnZjwRhMfCOfxiDzq/ameKPG48uCX22Nr5kNRf4nI0uoZM/bCdy6mSauI4RAZj4tK0wfoFOaS2wjraVCqk7QUykrO2sIzWK3C3mHoBlWgkeB50XpuxywevMIPSNitJw4UfPs7Gy+tpGmvru9Sg76XT92uUDxJMlw+xS8B5flW2RZEqPmhmLaf3VQhnusp5ZyJtA+hnmYhRtCCXXy2H55B5yBn2D9ieGJlumdveABjaJKLn951tyZrRpGW9s5Ytv1o24i5DwFsT8b7QefHoQNNq7Sv0qs+5f9Nbshny43aobTLebKdFG8BLJxNvJBTcRo8vgHzEEzxEb4z4gdddyhy1zbdQBT/IUVD7trYOlbGrs5FogBk411Aeu7JAVJWI2TnR8MEK5zSpNa9W7ro8WxAFeu+eYiey2UtB5Bm3yg46RuJi0RR9Nw1Lfqz6PQVpPWB1aVHA6E4XLTrdUyepoPmFBPD4nkF5nyZLguoDFXwdbgMyvv9qxCvks6VwhzspMRfQqhGN8H7Nw5KyAEDAjPTAIaypnN1e/lv6yO4tcshWQhnfKjQwnMQgx0ayORKN4b9AbWq1zRYTxO4cA3OmNG0wSbnVgfjkk78znra3+IQcDYM44eqncC0VILWq6jfCWSP13TBvLvZCLcXGvorhmGfdB+fFRcjj0zeJQtaZmW5KWcKd1lRAHwi6AyR2nKalaU8N/sJELTAkupu8HyLsuQiqae5tFyilAVE0IwQOyjHORkY116VDmEwLWYqc28VB75vtfZVP2etYdJqraq388W+t4OUXr91JYBnzdK/mNstFbVXgedYLhU/ORkesA7qSJd7gDQZOIDJUEMeRlCrKlA6a3fkoAflMWNGfO6gshcnHDUbcRwEyCMPbVSxiPVvxanpLQa2cDHREokC9r/hhvieO0VtqOHtkh8ZLtNcqWFYKClvPMgX58gDL+xxco4emEVZ0OSFckdVslOw3ZTmWc+92tHX6cf8QzEgE0U69VgQ5MnHyjuH1NMJysFvD6pyK/ymiOAM5RQWDMBEUPRjSmNc/gYSmgVrP5A5DDDSYPHN0KSPgp721F8yxWzOwRa+LK20af1NlWV1zIKyePEmi425Pnuxzgv/J2XMLcijiMlaq8JUM/JxXunbTnKXeRUUsPaVn0zj7n2a0WPkK9td8FHIXDByVVrM7JGt+S2ZCFhdW1zsMA1HyHeElpPquQKd7lD73aXI8WNAVvMMwvoR7vxUXH2+ROLCQXcMSRKhcKdNHag8KdCDuHhO35Ucyi+MD8DRRmol7t+TFtbxYSs/1wPsQbCNKSoD31nHBHDl+NvcWBNrizvHGKTU74tmJlOVFCkEFnTB/j4tGdpK1MoaNY96ocwIDvZ80DcgdCm7AUMNklCsT3Nv13Vd29gtijGM0ooOT9/lU4Vc8dwkmbMMJKCbmdV3zbShcX7lbO8K186DUX47rn43k/oOwPb9+9gPNVsD1o5OGrh8iM+xKNCmEu3VgrYcJYV/CMWJ/VsUa3MEl9EcPoUWaQfVDsy4bYmvxvWabw71hvkvb9fdKz/YmrG65OXgZeLXyGgYLcCu853r+EEbLA35jGSJDVJrHGPcTV8RQ1helw++j5AtAa4QQHHwpjS7JfdaivWGCnBeiJbNPkESwGbouhHuSRdut2cbKwcwM8hwdxT0nZKlwhmnA2x6gy7CzskUZKcfiV3YtS/oF/TMuYeteVpNrPOa5Iz+mCZfGO/Qz554Y8aaIxS7tJkAgc0kQk535AINtaHvzNEcD7Ei37txmKi/T0dpjhnoXBihrW3x8BJ5Pl14j/1+kX1q57K4cWhy/FoChO2cuSBebwSQvryF5zZddPAiQyIu/lt5eRIS26PbUSiUeowgm9dsN/TjOAWMTHReK7EPj6U/xAgBF7xT7CtpfKiQpyDtHBHSthTvxAd5XaM6p0W1+DjI4maJnkFpV57maMh5GGgC55inP/7dfff9Ms5d+XYh84zThj9et6D4tmKkJKAulvH5KgCKW/9tuYYq4ztcAD/Dhs5+9zYp8InD+ayHC0gT74L05Y13wKHOc/5UqPNI4qcDCivYIysXWmmlnFHttaHQMPzEVMQu6WbaDfrgaYPO3Ov/WE84CgCz96b7MANtuae6pZbsBNG2Y1Ia2deXs6iE71Fl+By+Djob2ZDE8AU2w9/+DLlsEz39x9mE0IfGDMZ35LstZF4rBdnptihctYsWmmkvdaCyr43XY4nyf0oV7UJl8EyJAsVENYVBjKL8g4Txe5XNDSYthJA7mw6WwTTQ6Si3bq9OJEkaFeLJmAMoV0KXjyKwv50sni55+HuU8OGq8Pz8w59jlhbQthwAUthdI+h67z9LuhJvGVwrNr+5t6jWfYUXE/q0I7ZLhlcdiNCkzQX8XgSnq2513TM2Otk+rB4RUwCNfuUivORcRgjFYq97/YCgL9SsQTY6kcxiHVOCxZ8cJeu743NxuJLbuLQNDSe+6uv/X2F8G14GhfMpfgIMrPI9zwGTX4gehZlsawJoEoKJVx+cJBIQgnu5kDG69f7ULLFx/I1468IOHrtniY7VKb86V7xfbVRNeMK+KE6yxqc81FZCi9dldtXE0gOO4+kKkUaG59TtwrFgJ3NPAtXhZu05kRyxBB5TmoE8JD5rQ8hYqTW5GQb0TWMpszoOfV+l2YNqGSsLzfk3+x1xtic/3CayoxuIp2nnA5r47MPcmJI/NCpJla5b/MXnC6r2ePkX8QyGaHWhaZoxWq3xiXjxsslNLOYF5h20U0CZ22V2Gthwajk7WWBu3CFZjR/FJMznJw1vZAsGBLeBKdJkvQb/6rudz168dBsi0cTCBncrVWiokw+YR64MUCzB2wDtA6Ih1559fNYnYgR7aW500h9myZ0XJKdg8tDsnp00e6e45zc97+HhOvU2J3wPQc+Rsmjtb5orzZwgURiW++W1xCNnHXwk+T1xse2hbnS5IRr6suNE2UUpPVLG8oyoCp7kb6MZdI2rZL/uesB6EE37uLsmQLOimnU0pBkaBL/rrZFT7mFRpNGNpc3KkyCcVpi3B3mngRo25ymBINhFVZnsRSDLWsXzbe3oFHyxisfynfHAYi92nUrrYGmXQbFC31XiGEsbjJGiOIysnXTQ3A7ShLiI6Ok8m0Jl0zzTijjN7xhhy2aAtCm5Ie3d9tla7RIEoxFua9TrHEHzMjHm/FxjZ6bgVuDyO9I0Yz1mKzl5RBm6qXK2Z+7IvrDQUOpUXZJNynzLHT45S8saLR7vSyMnSeyTOCRknKChJB7ctbbTp8Seu97KacKn/pccWbmUXTIOQM+wu1VA7v/mH95E0o2FMaOpxkvtJBU4oYfpO9jc+VR0+958/w4Nw9PLfmAY6c7OzWhQPs5DUtSe6UitqWnB53wPO4xfE82L9GV2XzKIid/Zl3/uIKwI0+5xpVAMimYVScuf4e2GPCTZM1rd2On4Gu3IVKHE72bue1ouVUNDI0GGAq73xlwOL9pA2E/O1DwX433C/FUGpsok/2hfF/t0sRCPTvqKVHOD6xmbY+iQ0FpwGxwnL9VOo1eszBqvxTUVYqPw3GqYzfRmxSbZDHb2jYu0HT/4UwwnLK++69OLmta/yHXkvU7KgAGirD9YiI/bcaludqRY0kxKZD1TZgb64JmYlaKl0uxbvWS3d35sCrMDFNfCsgIGBdqgAfdtxqWsoGYeJqFR1BZ44zcafbZzjQhf6ny8v6dPXayr37fV+u1KxX0qHq6Il90/c/PTYcItY3bZ27lZ/I5Y3pHgeL8REf0ZS1CjLY4K2jb9sX1nZGNaPtTMN2Iuv2LQHhcezCj0RYAHZBuYnk8LYECOzfIbpMk/9mA0Uvvd7pWgO2NDur7yoj7lwEHyrrLgXmmyGvfqscd6I28JoBGgL2W9tvuJW49G8GnncN6VDM9/TtB2+JHhO1xJrPglKFGJepdgfx3oc72f29XgSkVBmpxQqfcXT8kjpWBwOwP41l4r8mj5W/behrqa/RRp6NplXSvqBmQCqWKniRFcBdGjHnWDld3wrkxnn9HgvJ8wofE+reV5j/JgU0ODPwlgVNvku+a+O5jxSAsnnujuAqx+05VaGKUpy/vnBSyEmMa5Cwj1dxhhmgfOCqiy5kptTXmFdPOp/m/7P7ST91dgaFnwiV0YYAhVc83TMSz3VunUfkfXkFi/AY0M1jDVN9ae8bMW3Ea0l0foHSpetXpWhI3uV2giqKWa2VyAO+vR7Ckn4tz8SO+yenPLHhV6Hd5BobFfsfo76E8f4TVx5cP39rd+TRMakKdt+RdyWGHK08LxBiexWmL9TbUAGorb34/PYhYfhF6J+4JO5y6xrm8UqaCGFZkWSCYcaJyCMFaYmcmUkpJ6sJVcTDJhol3OUyl7pjzahwVD0H1rNR+0VfTiQh13DIUdaCdJKyDs1kjWqBQde63kSr7JL/4aoFFBpHCYzJl0pSRgCDmgfLFPWpy/MscVKN9iP5Tf5S7CjfSF7W1ONlkwj3CJCD5ZfIGTcVxXu5ajwTgb8nWn6sVPC4k5Lu8EwNDJxv0eovk39xA6CpaxyTGpF2v/Do6TeWf1ZoDF+BT+ZJHAvhtlrjqwEyK/vZynCBwVmm5ywMW2SsSjXTE3ESBHXLDq/v+E/0z3OD1hqTaImXJegIo/u9iEiybrY2+IqIv4ehT0qthfPoKNQY4TzFunet3P7M+lxgHWi7z30Kb0A2KJok0OfoUsZyIOomWvb91CtADul6I/k4ZpiwCewLmwsKs3QUV+sCnaDDJuKB9felIVNQYTh1iYit1pHPwRSAP3EBbK13ejr2wLQum15lzCCTLvd/Fqyartfdvn/iEa1xHSBSOYRtk8ChGKGD8SSMa/79HdY8j/gK7m+FdquQOTAmA4EORWqt37+vvq2ZVwsf2uObsrH5vqleRdo08BHe6jalUeBtJG2f1qVoPO/uhrzpHFGyBhAN7r/txsblVncNmjAVcByI/LzHcKv+TE0xuqyyoBK7LYmdVSlwTHDP5caFXrYShLzSwSmVdTk3v7Tt3fZNpaGs8DlabgZCzOhwmpn1+DEvikMxeJZ1KsUZ7eppoNj6rzCA2986N3ap2usSyBQqv1I5JlfysPd2E5jEi/mCb//N/l91qQ/Eg0+1ct28im6Sjl9uIpZx4kVmNTObNsawnzb3zl5iI56d9pPS5bNMYIhRTNAKhXWivJJQYLzdGCHYXGua+EwjOIggd26YREsG/Az9NSjBt1jgK3Rz0w6dw/P+7Y4hyiouqA4Z/4cYJXn2BwOX2Y0jskXO7+3u++XRO2j7SNYeLODxstH1md6M44L+alqAy27O0zXVX/YbXCb/oiLNDLSj6qF7qsLMn5TSc+VPOJa3sdd6pkCiyZlkzvkgBv6piDOidTDA0rI/jytS+PsbNqr3XFrcGpWlGFYr8EFQHP1i28pB+W032Ko9GfGixfasAPS1jeLzpan9lr6+iq31mlVLSX3IWrLA20Quf1WolCKO99Yjb11tg+BZAIPVzOsEcDMtZROBkK9khr55fO03tI79m2Pw3HoVohGnVTkPvCHfztqlFPqK2SOdBwRyRSP2TnjLiyJIKHCOSx4RDEikRlVlMZK3WsCItpiOnZdOik57v4R8c+W3VLM+9ukOR+6nhjQCPlyrH+Rh96/+6m4oTrO0dqyF48tWc+Fh5inYg55sh6kKa2AeOU+j6j4IazlhS8MifK+RW9IFFoAdTZoKmBrPb6N+9Sl9VSTrmoDXENlkEhU2dwLTVta1vioN4bmdGXTQfTL/zaFuQfE3WAs7vU6zSAUIZDt3kWCC2oBLxck76/i2eBbaQI5Bd9azGVpITQRJ4pZIynGWdPXjO5wFNdToNwMrWY8VPF9N88aJCdPfY+GJFhdSdAOcFAKgJbGIM9ZXOZ0MF6Yj0wDt5lWLWZ3CBb6goKKV4kWqaw3kxBhH9RGlI7y3kh8lL1/WnnoS9ijLMyuLqYdBWfr+50Od+e8n/BYwdoKJb36Mpxe7uLsNwcaUS1cSWOcSf5h9Zq1bXlastkRa+4L9SOECcxGEVeSJBtrI+o9zy8NJMQJmYLWiJsJdfx1Yn3+j1P9xxPeBJnHbEmxP9GFpFtafR24tfzCaEFMNCVXzFtS8dAeN/XLsHyEW3OlhB9YjgIj+KOl+yOg258tOwooghQwtMQSAvcv4JuLQIeA3VNjOfCSwtMStbdxuF+u9UV9/8btUZDS+QCzT8+YlFpJ1Fi6tBCXE2WPoXUOizzGB2IEaiSwIMB4E/pC1U/szQJ/ZYLQ5rNFXZD/ZrqTTbRQCggprVqC1B+epBvYN1WIlqhJ83L+/Ueq2pjyYKsYmgnO1hepoUUTOHoyTtlgFrsrTz25LjRCvJtAVJydeKm9Y3NoM11rGXlI8kPC9GooL5cHCiICbzP2XDp/kFjPkFhnrDdDGJelI3gR2mAztMVNn4V7efayoh/nT2mInqdjXCJgdABp9EUfZi9lvg/NLGq9g/yfbgo6ubCtpFmpUTQASUbQw2fdIMO4MzjyX7x61Rhnr2btXsJN1s6JxZ6wH/fV4AsnvxhKQyUSbDFTDdmNAjKNNxZJDK8WHMMKdTHRfLPxopJ6V7p3RsBlEde6k0zGWGF00WUHFLIT9TVfbJjrD3h8vsVl54ir+KamsJzduwHPbck8Q6AmVVu70bBnotT1sAsPQMaPwnrWkzq8dLSYXBVj7CbZG8U5U/GAv90qbXRAe2DWJcbPxoCg7lRLfzr49kJQ0MQbIPn6j9jiFGbfAd3LiyObJ3k2GdJwR0vUk6jfQlRSji5gv+XNVL81x+rwH2Y5g/bJmZNithLrQyUFBV93EHXkTUfee0sTSlzqcLpHcU2GcxGVsuyunV6E5dCyofZD7g8JRS4JiKJ6SBWmQTCSEdOrTtC6qef+kRAgXdLig3p9FQ7b0S84G0WfhVcdjV1ZgQwHYvPjMGW4hw6lRGYdZ0Zbv2UCPK+f/xeOfMBmu3xvr+e9/YGnX+7BRQFo7ERyj3YGHN2UsYLE/+A+IzdkuDiJM8tbnKQUfYUhhlphtQ3Vy1gFKAfHTu4BsnT/K7sH2MNYANT4wFhSJFnHWalADBsbr5UlpadzVW5PZ3scasWFz/11w82sNSxFRJIhKnHo0zvHT5JnTEoGfXASovIn9a6OhuG/CR1EYViYZ8GC9indbB7xuPcA6Tfl1sOpnqlAgmm+MEDz12BGDfn/3952s5dojWck4wI46YfrBzvb9UUU4OqgYVJPMphqApfgXRo9JHLIpxjF2wshjClDYY57oOnrswa/iA6PFSvCfBSjj1h8X5Yc/wnscRzo8r0jl98VPGvHRMdOHKgl8Yi9SeNQzAPAuTwogt+pVcqy9W2gnE7A0DDm1SpDt/SLdtRTD63mJUYPpJDbuCSX/GWB07nw6K2JJrhGkTFD135iarfX+n+92bwBwxuenaeWJOkbYxQZdqhj5E+fu2T3BXEBMPD2hg5yiqTtV+ZKc60qJbr419+xnptyNtoIJEMqtmWQ59Y/tICmebTCMpNv8rkQ+d56uHamtsVpCgN5k+oXxgFBDGe0lqRRefmZaehgbzbOpaLCCQKgCy6tvo1vYErT7kwzGWn5nvxVeFh6Hf4kNtSY8WubBZhCqD6S8Nb22ev4qM/5nP0ePAq0GeLHqB+7evWX2Y5IkXR0f7KRudC2KitCTvv57ITw5pIzilbAF5PaGDiRJbac8exU1ss8cmZscGLRAKxiQverRJVFkwskLvXpp61z30QmhKk5iKJ2dw6QUVji2n9QOtlob9mIRYefbaU95aUN/RRelWFnw0DB/BryHnwQ8MylCyDpB26yebeDnncbGLpbT9otog4HtoE7Y3DlhCtdbf9er99TUDueF8py4UffvZ2U8KXX7WtOG7V+7CZT6Fz0PlEErIx/6jDNsOWAMkuZMMGs5dUS5AOtAq8kY3dCTTTgy8puUVYqUFd3R3zXHoGrabLQ6XmVF71hORh8uzbkcxJqoCPf6CiVEGP4XBDNTkSRqsOnVh3DTkTZMuk9HDAW5q4Y1r9o3dtJl+a5G5Q+uHjJBd2WtERFrx3bEkaE96Zcdrwqc5QGLw3mOFgPm//jbAxjxIfUZptiTXxNf4D+n24+3fv2AdFJqFI7jsbSdn8tIf3Iq/PeEBrpCTm/DIP0o728nbk4pMG2nolSDgbHCUnhwmFazvbNwDa/lWh8vNNyOXHNuXza1JqnKCcSZewj6GgrWN+A/F8yj/Rix5dm5X7WR6w0AFIC49ehIHas9YXHMDrvqBJVKq7mCdjNyd6CykR6naQ64nmQGfSvCFvV0vH4p7aLC74NJmiJTYz7hrnWQTPO3fwbHetnra5C1PgZKJBybVF75XxwOGNX/vRw+Km4sAl1z9X5uJUTCxFTN+pkGIDbGKB7Fxe7XdUucu9Z3Vki8N71blEKJ2ohuaprHxPZ353CGV73hg4xB9kovTsGUlEJCHjYfaLnSmXtItLpo9GzC+QbF4NoWkpQjoky+I2LRY9u4egNAQRAO096Lm6IZVa9um3pQzDIP7QdXccskEAZhwaM07CJiQ0WArE+6Odh8rBJKTQkp2RiB3cCpN2pQgnoA50Iw8JL7GY2Ad4Ut81YyMiHhVipsAn68tMuRPKwbA87cDEbF4XnHAqn4OIj8prVP8FAYAnPcCrJUlXUSIggitX2emcQylJJqSfiKKC09DwZfWhtv6O5LdE/07GIa6MlJiZtitCmvABgC7EQeDXTU+liFuvRXiEN+UZ9qfV9ra0Lt9gtJxz+y4IefYDB9ljFlX99hP1rWK6ghlQcO8Yf6NDQISIRY7l3YBeTOTgFcGw6I7Pq4Efde2ExkpR30Nb5dXVacQa9hy2Qh3GOM2lc1sxdJ8R/BcxcRbk9qay2mF8XGj8wR5UguX2Wa1xi+3ZZoh5npM6FqAEKFUo/mgJ6RYbBYxrOzoIcCoxNY0ZOB+hlNOhiQYJt1ygGwkzIIK4JKuxEdI6SL+Cq8HaI48XG8fwdLbp15LaP7mLl66cm06FKnMGlPypklYhad/9d9kYsrBIQMW9ugsPaRm/eE5fQILUMg2uQLqw6kicZkl2UUHyLV8qVh7LhDbiZBPU5I2SWZT8QUfmFJ4Ix2cyYuQ4wPNH734zSEIip7U2SddEWsCkNuadDF+D37wYKT0X46UXWV+AvNhxX6uicg9DeOQBwEVzkFd3foaLP7Fwq6nGxvVkg5unmEjtSNl0r8kqVV6wCsc7bOSlvwzoAJz/AbszjjWw2mITCsaO5OqZic82k3YESUTd22ggvx33tCA0JBmVsknlKqbcD1E6z0OAkMaA9+XN9/mOqJh64P85EeRJFIkTKjcc0/89eskMrDzNCjF6qo3H/9HiGQohSGcAoupZ/JQcieeGA4XoXU2uKp3M9mHmoncGZFh67SkEuBUOtL0nxj//Gib7Smp/EU4JE6B12xuIrpUbLNXymR9RovlcMXH419uZ7N/jCuDOt7Y6dAw1lN0XGEjqOG1Cb6yyEgE3zGBNQhXGVUrFImzoZh6IJoF3VkddgdEG8jtjSHaWJ6c5BuBYq1EbcmskdPqTB+RIlrP22MZFKgheh9jxHQbt8O6LR1hZ03KKKDyLRFWKuAXCBV1q/F8hGODcpYdSMjwXfASv8Mc8zc8oI/WVIp+KKZnPviX5AaeyIoo1T4h7AFH5/2EoulRtHNo79R/g+yKEajLuPsl4VaBMMMhc9U+vleRapczROyd5d5Xv0CQ2NsXg7/Iha/KEl/gyw0MgxjzyGB5+qxVOjYt9i22FhbATFMOBr4UwrP67KsNru05BfLrcJL/eFzFYB4hNVctcXV7JWMepLNXC1dO4gPOeyyRL+HEnTJN0la/gheU6Ua6a2ZdQdChK4JeDNBZ3dQdzrJyOOzsmb9uMQic2DaZffeOxg7xxnXmaA87J3/tSRwFnMzc/CM0NdMja06fBVim2xCrMkJ2kaBqhWYDigVe6vHGMJvqv8JiKZCiyPm+iTpCJEAY3FicqJsBU2hC7hFuZgXT9iY8o8ly9qUV9uRd84/WgbhZUAVpMZ7po+y/pr42d5mu0WU356SEciG1q7qex0jlPTdFdBIwu3z4GkMsiuIjhqrD4bFrHVXiS60NtKHlvHByWaba1H8CZj8xwk5tKVQJhoacMVb1JLGsIHuLb4Q6A72thZ2iUSrfW5ZLpSKGQcKw2LAayzF8or2r0zUrwN2on0QFbh5Owg/vR4+2JOr8FwflxS7nYnae+n4Q4dY6VCEVaUesnKKljZlkfNYAmek6OubbmRkG4lK8/qk59Oh04IhEhEScZz7ThpIRpBMq/AfApa5QoYKhT31iMc6F3bLow11uf+LN6A6plD9NJIVb08D7rWe1YQKN1jdL1fv+Fn8Msxfq0w30fsvOHTR1J4mljZwxffKINjrTDPFZJO5FSNsfn6E2o5HeAjzLiJ+fK5g3YnNUhIcntICpK3AddTiE4peEqb0m8HmqYBIJ/9etgPX8Ys0NCrA26Q04S0uf8SQMZ6UggWifsHhFbmq4j13GNUdKiWV7ANBbhu0XOpr4IU13nRFlPFCXSGHzdj78biExs3/IcU+CiuKxSThp/InGiB4PXtBwPhJYSkQ4BLWWytlDFQgzU82Y+fuEb0NTOJEsGcr/WLHeyMQXmxoB94df0rzr8Ax6MCVqW2GLFSWXgG/Qw/UCPKpVKAeMsamJHMyTckcbsD5xqV+0oaEtrl8OiwLVRKypVW5dv0HlTUArRkYrKigLHzpkzW3vYcjvzxUzRIvJm0TU0usn6oWFcsSadfSLg9VpRdTWQVNvVtHL7yuFw9pFhnieharl9YXwPTvQ3PVdRlAXN33ssdWh6GcevDSmC0tCEP6lMERq3Uc1LIMmUAIooMCsq7UtuIBIvrViMCIo2e7xAQfvNRiMaZoz8omODbGyIRdX2NgL2WTjxrkAiGUIS6335JSgBlGJpybYntAGUoQj+8FigeAvbU3FqLZjw0+zn7TGQSbrIbCBQIJM/xQCNYI/cRp0T9zDQfN0mZ6PNdNPNIy31kcn5y2xaLNpN2QBvKiU4xNDrGWXHG+1E487S/SNZosZiS6MhlrJkHDZ0qfgip1eFHhTnMR50emXaXas6ixogLhhFV/q8i/wwxyRgsUCCpo/EXeZVQ6+y//ilRmmMgubem5JfUh3ytdeQLuLZtVHTkRoyeHC4akYd2OZrgZVU5hHCiv1fObK4r6WXhWLGkcGvJ7+TUF02CWAlfJR2Masl4PJ4mr9pLThd3Ox0iIgR1bO+irmA9tRtVdHMGIzWAT8Bs/0UyQ6nDtHKkAjpvqlW2D/qz1j+c6hEUTzig3P/jr22BttTXaKVL5xE65XLO7+dmftkeVAjSIgEfCCtbr1M/befywnIEIpFwHZgLdnGsIjPWepNlinsZf5pb3MNPa/ZdUP6TbchrOoUR/kuYPgZwcTzMH4AyZ34O7GGKYSBVXe+l9JI9FZp8eg44z0pdV8oeEZ+JSF1aJ+CDxm45DzuKNxUQR07LyrMKO9Fpt6b1o6vPx4mwKk8UwVk71DrseylUjg8JRVNJKWlWN9kvdtn2GOZwbeTwrGVQscY1/NeOW9eOtoyw2kN14BDO/XR3LwNxxnv8wIqXPbUsSqGwmDtzEla5RScu2Tl7YjuzurFAKCXrPrc02KY1ad3ibUj86TqwV5/DFVz+4ZAKuSz1MarZHUzJdN1SQYrqt6Udf2l6IuNKa6wwaJA65PX3afYneb+8VpgZDxINUBh/WoVLKISZWITmdgfhMKUIMjAxCb1LB9a0uqu/85Unjw1NtKIZqjvpS8bmRGl8XGhvvyqdlEKJEQi26eDzR2hOLxfn44/e45XzR9sW8JVuqt2rFRXHIzkXrlVAsFUE7SPatVhJ7i3t6XYdYKRepw3yZdchD71tFXWKEWQ8z39JHoIFL1rBu1jD2u1p2ckEC+IsaP1JaWt/ZVX8KaU9IkfV1o0p2TTZ7Oeo3/Uaa/yl7f0w1CFB9q56rXJSecAoJpk3K+YQaMSU7v97hl7jwtB1XQZP59XPYkgFGoX0d1GklwppPpL/kzcCuUH5jTcoIa2FY+qoL4n3kVtl41wSnn/qM02RRSOQG9/vnBMQqtl90dVOQwlH4p7gUKH9ivQCB+yOxQydD5q/o85u1Hn32fp3EW2kMBYQRipm3V4Xa6IlpFwrqSpt7EYGOn2BeLNVS31y+BdK5Ea8PbVPCZhmML8c4nzr0QkMrP+a9XpiH5Wfb6CWoIa2MK0iQr8BkGPJ5VK1u/5uYwinhMCm3K3TbVy3SsKxkcVS4Y3vlMx157yS8JYxblbsh7luULvk/RnT/Xc3ztzOaZ4VqH8rZzDUWQTEhrCLwwnHM4wcCOyyu2u5WPWs06LWmeMAvaiiK5CT4YVcuQunF1ZXzLwcbmzFq1WoxlJ8x345hDShR9QrKuLCbpPg1YFC5+QLI1RQAr4WHDh5qA/Zfw62Tp/yDEpaxkLoSItZQq6ccmCqhbWuG4/eabQRP4RCRroB8jWk69azuni8jrxWMuGkywRWvMPFc+kGf8DKE/R6foIOp22ZRevjNurKPm2Y0mdvQsAcRLSAZnIyL1iNWpXhzi3s3HR5ireJ9tEf7LXU3go1UtVPxnYHDi9YZGadEWX14ZkIBJ+PM5WxC5R+o81nzDBoaXdFg9FBUaZR5DPG8HSih/iUHdm7wjEH6CVJB1gOGhmquTxD19cMUhMTMzQUvy3UEQCpym8Wb+QEnrbL+cFAKf0Uf5YP24xdtKKV12g0fy627jexPBkU4XXz5dKGNf2DbUXVZpPWQqJk6H0FiUxBvoHHpwD7+UUfG1bc2aevMLxzGWgUs5ZaQ82eKpC1dtTjTAsFcp0pkUWigE9EdU1Z1YqXmSx63Qk0OhTlDs3dyWLArA/bW7Pv0uho2N9nDUyeRw1GJ529nEu50TmUikyY7WcfQ4+ed1unc7CTq2iB1FYC5KCw7dKxlo/0QAPwvhYyFMTMud4/fIjUHQ6H8ZcwifokqbB2MMlYzMiSUEYXXfPZQRchtctKbscUUYXmCuc9YscSCpR2SS5RVMjqRWsp5ozhMa1GiwaVXTWMAxEyJSgIr3a5fpQy4aqBgR9Ua+q11iW8CMIgw9dJtWwcdy6lbukbrb5CSZcIM6F5coGDCoYjR/A8P5LmZxcnNwdwaswFb4QtxkWJ4dkiL9QCtcdjKZgAskTCBjS3vhPojQ2aq1AGuBZTPLaE9VLvn7Ij8uWuWPl6szelfb5Lfgr4lfmQI6t+pgH8Lu5sRKzgapWHehalJLn3XSgiXJ9n+J1rwHQQJIw/XvaCqnaGNP1ocL67CkW8yzIL1ntZoVEFgnSEertoNwKg1BYVyridgJktrzUiC2NWVTNjbgitmObdvzZtAll9QwgTm3P5KuLd4h9ok8g8M06rsqJYdUw2hyn7pe/yjEYAqecCYTHI78wHLgrpFYWnhY/zXEy6WEFZOFlCvWDmohoAaCMZhXd1p0C1NQW4LMMQWGOC7jodamKvhKyd8vBiUXQq4UvDj28SYCmj6eEDbpJBexiTrG+GAlkPfPtl7Aa1ViUkkdO4NumYIfgCklJixm12BqpjOLxSMCZxTEls13MsSg4wPAE4HxS6Lq6VJYBca4Cn1b+dE6sABMUri8wlFMQjA4Sfe5vErXSH+1ZTQh9TLGXoBMHrycQowJxKDI+bK2NvYOF3OoJbfWpYslokCKiSAKJaV7oPn1zjeMtTjMwcxUFsI7McRT7JvFPoXe3/UcyI57/mCtu9eSD3TqBgcR1UTOdbN5y73n2Tqbg+12hpZbIsC0k38da4RexVfnAXwBchQRzaX3QID1XwE2OcQuWg90B06BqJ5xyDC/H1jU90F2MgC85pavb0tlMrSPdwLcr35/qUZp/5WtcP75iPHFpRKaPw9dbSBGtr8p1kX9i+O2SC+mzc8s/tkLElNiM9E/2XYJxWnqjSf2kT7pmHJ9cjKKSbcqUOLa7rLGDZIikvbPnmr5nbGDc0Qv1Dy50c56lg6UjdlZZWwb/ZpyH/sFSmAqgCam8nmzZYtwCux4BIIRaD7kqBm7Wd40o7Zv6h8fSlqHg+5PV77wHOblVcO+PXXu6TPczQUDS8yFVkGqI3O1ez8gu5Pm3HzV9c1AIv2yfaEk8YoW6mY46pJ0nlGY/wnkzkipdaoZQpgM2wRUmzB5+vtzlkzl4uIHtcVBmv5+u3W8PxxV1DeAZHTsHz9/fesMQMe2I6tNtO1EK7+9Kz1lPbfSlKPF82WhlVC41/sN4tJRkj8PSC2rOjcpsrBCfB3qFvkP6DsbNORADv4JZ9/AQyDzsCWI0ZAqkLQEzE7DDhjiThRmH7/tL31UiXm5BUyGNIOX7Zytj3dmYsgjsoa/6XXcG9NDmkZk3rw8/RD+UCXI4VodUUtdIgnRU86bk5TRm3phDFlv3jYVwfG14vLW1fJFumP7z6N/JJBXOB1GOzRPdRxa2F8iNMzcRYLCyAootgBn+XrGQ/m3LnJAgWjJPxN9ljts37FfX850G8n2Vkjg1/EipR2/6OWt5eR9PVV/ZWVILxlRH94zhSCd+5KuZkQyfQoN4LXqz7xte9yZC0CXrfj2kDS20ZcrT9szatCtOXM0wm+jYb+LNaNSAZ4bBtTYEXkGatfYx1qof7mp+ALzvngtADwi46PI0mgkptoQtatWHkqN0g3wb7ymfga2/8atdfkUdhHyAGTEUZe789LTi+Iyl52KUsfAtNc1WimzErYZrcYGFlS0d1VCe9GjplX44UYvckFt4tfAaX/C/0P1VUqunOzEdxN9ss6DaIoyiM0HMOYeyNfsIpNMzuNdXChHG0Sd282iPPeOPpvL+Bl6UZJuR3MFcjgIbbMlvUmPcWX4QePom5+WInnQrM+KO/HBzBhumUTIji2bsGF3ZaE+Mb37M9KD8qk9yk6mhilvMGZ6jbBWg+dnMqFhgjwfpEKwnI8FY4ms5NZbfUliGeTKV5WFtx8keg6si6gs+Fc3EKZxTGyN8i6zHxNKfC6AzPBXqLrvI500XqKxR3HtpzaoDtm/aqIXQmH8PoO3wN0zJcJEq9jskkE3/KiLcir5JskpmcmvNmlTnNJtHnKUrqqZsNYcZWRMNVTnhKw1JukoGEn6v2oWHmlovykxFPrEgIP5srC418xV0DuaHNRSvQrMou/FqNVt8Jel0UnhPDtITkSODb7OSRQfVfWPIY0tW1szkoR+bz5PDPMUdYNcSUzJByvT569QDc9uqREFIL0eJoRAPQvhvbXiv/UGngSEXDaJVmAaJoglV7c+wVW6Q98PfA338H2CJfqeSm0ejXztn2mMGeDVgXTXbWEgAm0wCjg1vA0/RINqVKfUmaEzPNIB0FClM8MqqhQgbBFB2I9gy+ZzZgLXxazwwTv+WL5ZuiRfpkfPztx19gHMRGZDLkXHCEyXVtmZKnxH0rO+qJ6fNXXRO4eT4l4hp5aL3qh3iYGpKxafcYEV9kU0FDkNsvXpezfXodYNZfX2XjOaaAhfoDh8MXDWI6EoFYbUhRBZ5b9QmoIM+sROTLkfMu8HnQMAw/+6U6xyvjsBzpFch6d0sm+EkXtY3Wm9zn+MW7TTx+OvnWFG/iilqvoV+pCHFW4nQo6QLYwJbDaw1MxRf4wtKf4+8ZgQYiyxUE2NK0NNol76JWJUr5jRk6wThU6J2U7UVsVJvbD9Doz7vtseFYjhmPNVpFwTmJ5x0EGQ3WRSMONVPr7T1apKMkOM4i9ug2Kvd2OSuiCIAWnmpUR1IxcYFqlqG1f6rNUYwcZZaYQmDULXRezKAekuhC+o3BcTarUI5lm5q41zjxwAQ+YtKvAjlZqOdJ9BS6PUYNC1AMoob7hZVLkQ7Q5J6WsMO59SjKwDszJdnqqT52HsC8FYsi5tqOPEm7IgJf2/R4S4KH3LJ25xvOWZsPX7HfCv88xf4Ai+2LUFsQNrW5dSTbbICDnHySPpoBDx8VsAie5HWpAKXsfKq5eF5yA0pKVCY6xETfuxuRhmA/k7ill2Jrk8uBm3Kcybqns8XwdYhfvNkUHQUupvxwpDabPkSJ2IA9MA9L+cmmLiM6Nyk0nRMfL6I11uns5JIpoiCVejLEdOLwNmImei5pOmUMa4MaQbM+UgC5OTV8gzfcnSmGkkMviI2ot5p+Pu9s42++0m3jgcsAMYsd0ljmOr/fsiHwd4ThYvoEgyl7ovaR4FMswrHr/QoFU1kiOpYkBXf1hjdgA1LnJOTyGm10dT6DfMuRyRcC4bh33AR54TCsbbSY8OMoEhSXrYwWaAtocR+LuasjZoTeZrXyXcIok3ajhpDAzkQivhqzSBJKxBh1y1L3D5dLpbwQ1nLy9yWn8S3XN+6S4soCIGVVOTRPJUTdaGwc7V13qWk3JG4h7UyXxvZsShm4o0/k8QOoU2NX7vm/kadCPx9Bf1b0q+ayeC9mns6OmkzAvBfQjQ/1fR8+rFrSXGKEEQ7mcVv3ZGSa9p6Q6zS7jkaJzZUJCfGXRG/GFcZAnYq2rbzsbcoUqMLTEOQKox+6Z1NK1F6oyiGXIuACSFaecwa9C4lsScBgiMqDHPE5nJWvw8xxtSfvFlJgPrNN78tfe8oRkDtpVdkzWoo7OW7mR3d6XkFi6cPHxXwCd2Gdbg2D1HFnGz9SCv2jRyqebxULu0D5t5uCtyY0jKIUe82xFYfD7xpQv6LEXaRGdi2E7u+c+SoCNVzXuzfCJTgb2TCJddfMBXAZLi3gr6KmKNHehp5hfrS2gh6GygLjFSgHi+jdr2TFuCGQ7y6CrSvEFCSmvzIy2lp18msBQLyIOmgW4Hz9MrYAoOZUYTXrs+vyLkwjV87D8ipf+oYf7aqrTj6T/Yz4D9QpumzDiWwK/6bBRGDWKlrZb1RmzV0Zd/JfDZ8Acrcf+Dh7ODx2+269c48p8bd9Pj/OZfh/4slAg73BXmEgfGRgA0KHMYn65sONvCHmDuVEMIkBEvuRWfYFigjOSLXsjtjVB6XpDIEcld7sgetNQ5MX+uJO/PEb/NdZLqcdjRGrTHQaYvSRUVuIsylaKHdt3R8TibiZylajJSljWYpNjzyXScZGJ2vX8aeN78Nb+eWHZr21i9CBowYAkw3iTz77I9nWwtt4QZiuULMDUpIdB3lH5hweo0Pf1yzq9Lm40Zd0F5eQWX8+TuC1bpDUD1X7wuMjS/OAGtbZHILDmod3v/TQHLrff73VlFkNA1EeNfgKG9vqm3sB2oGWmkZEcVXcGH7mZ8B/gWcd9D0zGqA6oZSHlJAGOY7A/fQDSo+Vn9aftcvDNJVhuyHW9TVu3sfwkOtzb1jj3doago40ULcZxQ9eOb+xAZKJ56Qv42DXgeKR+yaIf6zfckPlbY0H77xwi7gynro/FcBPHIBzQiGLlkRL9kUwttjzdQYFmTfh8fwozfdZZwoZX7CqyYn+bsw+zJ9b0eLyQJRheac2XWWf/5Wi71fImFJ7iEdb4e3jxbBCsGkx6sXDgktEK88SnpUODACkCAFWTHH/zBRKPYhs1mw7+5f5754UXhP7D7P9aZjkcBoD9+EfE0Sz9Cld64uS0l4lI/9uuq8pCq8d6l6nKHGkftF+6NEJaGnu2s124o6HQtE28wMEiyh5N0pt3hlFwf6QhOGeVLGQK3qQDomm0ahc1OLbTmaaieWOwuBEp07qb9OoR0S16UpIkWrS7mg85EXYhsJ+oNvELNRZH2gP8A1ip9zwCLiCsNIWIlSLKJBu5psh3j8ltVK+ybuOwxvRYhQjKCqymtdPO522qgpJtJA5jXYJSHF69iBlcwGPK4YjH2fkUIuoww6qMwM/15F90BeANl5oB2lwlKUEHpUEIHhFcjGhwI3We2oCozqeiCOYqEXtH9/FiwpZoSR5nvqX8CVQqD4yuapluXfXHDOPrC6V1x0SeERiluaFtJoZL5w7N6faZQ8vnq2k0vxkXbBEe2voGopb5fvCWGzqjE4gZq7Kmmm1jjuSGP/FFZNNn1geBUlXdG++BG2ccaXiO3KLr2vHJLt8tdbeNAzcNDZCTybOFirqCbntcomp8f/EaJAGCvstwsXVfmx/gngncse+c00YImb6jywyRusYmHRsvfu42CwgrzD1ZrNigjS56DsdrmPZ6LC67pm0EyfVMNv+xBimN146Hn508miVUckTFW+4AdNqlQhf6dHwaryQ7q1rurHEgGoUAL2TnPGPtXomKbETlB6oFTABlJsO4vxZwE4mFkwWPhYb2MuVyhJ61qqfA0WluDtDSQTPjjGkNfbq/kB74EkkGaMoG4MPrN0iM62bwHQmD+faB6TIbjiRcOP/OL7oCuF0MBsdXQHckzpy/QdTY063m1F3BjjBlfku5JI77v9+juhjazRMCXQLm4FqlvJS0HT4+EGUz33txJVVQI5hn0kUd+P8H2ppApO42G/4GBM8r13Yk5dafdwrmfFArqZ5JwxcNhXBaDpii0eosC1TqbBGDP7ok0Mhl2kcEKgbh2MOvivSlxmvsOiYg3LIC+bhtJuK7CVzCrxfnksKwom/Trys/vz2LPCfANjbzrAGbPlRoaQgTj+Ff0YuUpBzU54bvSc7UmOKm9l6Y3VhJ47AWlI0JhB58VpORR75abHrNZA6behzPtgLa7LvZJxhBdkIYcaqTuiUs6BtNZ00rWlbWPUnEkQhH8npEkRpMmYUvdwjRGtFtEYtSgAGhGEtmVByKsqvzrJe/oAaEOpH5iORTNjRoRYGVLbWE3Bc+q607weWjExVojSgsvJRofPxWktLLw+FduLTYZizoqxzGiJoux1CYt3BjKxbtPSEcGVOncfkR19GC4w8f0wK+2MC+jrDA1DeJE7vZg4Crp9JlwTBDaDyn2q659/k10AKqG0akzXFduVEbYnMMvDyGK55vV6jqEWf4c8HA3GsJLWMBiL+wUb7u6CbdNGOJVCaWZQDlvhJVCFPODZWPNG9VH6ERx1qJjdyWDAizGzTQN1bbSJKPpj/eaTQDtfdkoQrRL029X1JIGkrBiuzry0RfxFHvQ2xH11K3As3CFlCQGsbwTG4uQwC3ElLFNoQtRauU4V39EthombdxkKFbaCohgdbF8q2Ov3BNTI2cKRANz72iVdELs4sjzto2G4clEzQMe80T1LWgl0NlLcD0JF1WTaS8DnyS/9VHM28j7qNJLdvtt4377phaT0iNbYDf3DI/dolizn/pgzycbb+CmIyXU+Af/bNJQsxDWS7WN109E37eG8soJo0sAyruFWSVjw1e/aWSw5pjQguj8ukECYXB6mCS9CoMwf+niUuL0SCZ+/355OuZfxYqqJhb29KFF6rCfBf6JuoFFT0LYi54XhvFpqzDQumniwLCywS4QzUxe5KD3aLpey2DypeSBcrrCNf/INvgm7I6hSVwzVldsRa0NFhiQtuuIZu9K2tTlG4a+gXMq886fUFy8CDNeZJBAKlXz5Bwi3HnVEAetKBtN1UaLlzpXEHYPjM4WNf7H2CcnDKrA6BX/Sv/Sukpo8wscqwPPUpFIF/oBzTtiJ0vJSTedtc6JJl3r09iaEpPR13xKAb4dB1ddNsBiyJeIPJ6g1/SPdvn5dr+dH9090iozuLTVRJKJlIRDXtOQsT2p8zBb+ovCwD56o0yb1sD1QYvbfI0NFOmkgrkieJLnT05+Gj068rdN1Wo6etcNd3hZAmpm/OZtEQOY3hOWutvxMelWDDiKcmroK0ACgjnjfVUoZ+Dfd/uMAbdEeNK5CHU6G0Z74QdFLdQILliB9lBqUpIMXJ4OOCN567O4VNifHOA7zQZ+XBimFiCBi7PfIMb3JfEF9qO7P8+g6bfHdpJvC2wg7OYpZiSKVACOuHqyoNk01qKJNaBbbF1LWvaM3tNNpZNX6n+3BItAOqb65VU8auAVI0nY1IqKBAqjNWPKxYqTQAQH8MAyak8qD3ruCcNPWETEKGIaWqsNFniX691MsziP34TkG/m73GPfVyUsEDsDIZGD2BtsZsTmwt+zAVrWhVkjAHFdwb87QbMnUBGmf5+NQ9gbn4X/kb2zLZgQBHmCXI0AfWFxD8IlEQt/mKSVjgXQppqI0k8PoLQweuq/DL+5ljmpMjvZ7AlZdXoftDFZwmQ7IEDc1CoMSksAd0ke7dj8dF9zG2TfhaR37sEP+DY4K3dG+MnS5W03MPAazSLhOav1nY0Pq/uJf33xceAcst6Up3JFtdo/ELzgTNHJxWyq3/x1EPZEMkIACA1v75wbQuTJdbXTePtWbgHutSs9mfzT/s6UjruwUM/9Uzl+kacmQ4P4lvsopE9YsrA7cF5DB01G0H/MtUMWaYT/zOfruKNssrhztKuy9am9JJ+UPTKRaOlbF1K+U1ec97wgemTvYtIfMkuP2BtNX45yzAV63sr2ot2hasWRgfW2UOFwZ8/77kgH3bXagvGcwCG60hk4GeibGoL6j3M0IcqWKFwlCy1OouGlOgUfkM63tNZAtvgY/pwGJOLD9p0PIyvSu7RlW4ASMjQERJs7XJ7TZPaCUIwGlbAOC7yf3MKfJ951XLyDMMMtB7L+IrsngZ+pN9CBPe6ZYN5I0E4dCrLHByZXaxhClRXcDoM7hSJXFvbkLLRsDWxq3lqPplm9kiTeMtnrI0xwy1kqAzOM7IA8ukwFpfh5T2wxMdTHJksVAJ/PRXXo9KjSjfNovJCeomzbNyAkaYljx6TsUzPM/WrY9s5qjJoCZlWBs7W/NQ2BswaoC/hT+b+rkKXzqupvSx8LCCd5NwPNYAkfPrHWehL+tK2r5Kadky4i7trGAQWsmIyrytNJmbEQ8HZqH8SZIxKuV3wfogK5KHB1AcAnz85IGBUnNVm+wif5CptMzeb55WfPszzK50nupvyJtamEHB1JZ+QjUr453DkhzWHQL+TAAJ8No025S5vYidJ3j4HC9UIkTNcEdob5QqpQM1sGenK6iFYcfjjkV+GcandeehUYTmUagXlmC4PWOc7l9Oq00h0UaKNaeEOA7L/Cgm5DIiKtWvB4Px7SVTy6UuhaFGpMWcgBOhUC1UsAyJjjOi0auySYoUrWifCHsLBLhRgi8MogBvLaelp1Qt9GzVPOCVYgnzS1UCJLEbrhbeqBpPhj7uuBr4W0tcG49YeQ8zW8I8IzcyWHr8bp0G9dzqK6Ivc0uj8pL865ZAbKq8q4H5LPblHHoT4n+QPbtgt6EStlj3XIBoYdLGYgYJEDh4e2EnbmqCgtnsVrRP4BkDWAa+mytn3ZlXQ2qKeNuw8df9fwBQwSx+XQhubGMHJBsfnSsPgWQwu0YrJmdDH39hGv20eR7ISYnNl/EjZ+A+eKwu/keNEI/CLpbwAfxge+BSxx5cwgAqmEwzle5dDM3HozJVrtZAa2jqsBRgvGlk6JysZ/nDS8K9qgf6cHY/KA4qJKCwCfpVuBUHJmSWOiYwizbNIvpqV7/VLWGYjqB/KKFJ1sMwhELXCu9WMtCi9Qjdb1CdIzpdEN+aMiacP0D2q4Ngw0s6cBCOgGmuPIN7KxeLDWo2lAsdAKHxVmbo8an/qjl3BAbpRQIife3OqQUabchZ2G5+PwX6BE5hX61V4HqQAfzwXZxEylTk1CmHQ+mk4Ga1ZCJGRqeVOecrpinLck/11UYzU+asUf9CjFHxV2HEbHBkPOeccEB09FWJ2OBbeD0qIREV4uwpZQl2yLMke5wuSn8QMHePrL6HpGMNS6E6Ep8xUUkaDFPGsJxCdm0N29L/I9EKaGIbwEuoHUwjvwoMKXF87z6LsRF6prF44eTbMviPBvzyomUF/uoVU27wzdCaMaScg/Hp1k8IHDwXLnysp/jYPLFnhpL5HpeJpGFse/nzKDSuC1hGb1FyvLaYeo7UCn553B92k2lcW47jAiu5/vBqK0R+RI1oJzO29pBTWz31GbVHaDOGPMNRvyZAWb3BcoN+5RoZIecx6tx35/lbq7LPSzwFaSACGusd2TCOPQjwf/kMWXM5zU6WCHBWqwexulzr/9BjZi2SOEY4kR+tc/xP5v3rnng8p4sGZWMU+4cc9AGgsWX7TeywVNp952OZtewQCDSCUBUWkJptZSzc2z0paOqbeIJNmyH6UQXHRDrewfiAULwSk+beqGAWKrlyfjwZAOEJQoogGpTwS7B3NA7p8YtBw/8U3/mX/y6dbWzoWex7Wme1T9oj06hA09qAbdbj6xj9aYl0RN79G0sx7DS1QAKYj4A/y8k3qRUXszUiZm6TpHRwGeqJJYYxPAHB3S2rBphBYKXwyGEZG8j2vY/Ovsw/f3Htd6pLSkV6i6PhXcnsX7Xb4MC+yrhED4p1HMcD99xlBpLXOwso0wbibscpLelsAQEFUMGmO8gVkW6NM9oCJyfZb8ej34lqOGyVzibRRPaBzgkAjY46ZhfKYNxdcfORqsmmGamE8s+Aeb3BdYHQVbIbgX5yUJjRumsspF+W1pMFfGJM352kaLm6mCv8hKT8nFI/GIfCmWhe+zV+14giZZgAncHvSTyfPQ8dLF114GbyUjoYQYCFgfJkSYzvZJJkMz0hfqf0jRLO2fagXgf6ANGpYlARshGCVj7CojHgrdQSI+PwPEjJw3rEJuHyjU5wOUz05xGRq05Tjs1Lq8IFayuS9Kud5WSJ3Sdqp2sHdDaMAIPYyPkJBMi4ysQ7ZNbk0XCCSnUl/VMAWlAL3AWuKzsTBUs5mKOJrfXuXwT2ATS9Po5my9nY5lKLCkB4MpL++8jRMFi3N0V3eNfi48mAC4fHgcbsLLsmmztwvzqePCDCPrqfhYADEWrFX6DTMN4RUfAtQtHUD7GBMVbxFjEgpKY5231IOfqfBFXkwAnCQ9zLjW/fFSBmTYfqQNooAQt+GdXvnEOVzHsSvFF3nKiOaSKQrvUdKexd7i1C0y0Hf0gJh8bZY9HpuYZehB0yLOpXECZ99nUbZX1hW83M+moOQeW2QSiapwC1EjFcdp+YRD3at5QjEq9WO+vBt68xcnnLhuDbr4pBp/R2QTew8RzDzFjiokgEUFa/eMBk+FJSHZNns7a21U4gP/iGgnnBo9nkUVejnc83bclHFMowSQZJltIaelwI+inhzIiHsUZJP7C5IlU6DHJYtVTsCcJOzazIiT5Rfh7/EL5MSKoxvDwaZTBRM2KRLgD55x2Y/WGv6L06kC2ERRFIG6ACpw09rE+MkdeydelIPtjfPEKJctCJJiJr29P+Nxh7fvCMUouQtDVcqcCnChgQ4MtUcZYcHZBLArp/8vzGnNQYsVnMaWxFIQBzovqZs50K5gsmzHfxo8b1j53+B/2MtplOPW0OQazpjcEkzPVcDlGmhd2dht0eVGzJrlLQzP2Vo3jAfHT1UduzoMQrVH0loINbAgOrZpxpQW0uu6u4fP0H4p3GPpFZn/DYYXwnxHApNZ25i0IlimLmlw28TiEXamlHqyzfLgQEX1Ic+iX9QxIPGirF+Yhc+hUgorp+1Z31BDXCGpXnBcuILHxRFDi/8Bjw+CUHsqiUEF/q6ykD4ohadBWyQDG11KV/PGfNAOoXGPBz9hAT7IxE9lz98Vhb86T9LuGR9W4v3zKTVBdV+6mlM7AE2+v8VRLvq/0ab+WhtkBMJx+YuzCcIhHSwnGGqlzpOuuxwIBeBqHns6rqpAyY7uH0jHGE6uI4A/5txTNpABC8B5YTY4kDcZePEo+KFl28FZ9b1Jw3xyOfmKHksipPhixdHrRKDz8neFEYxnHGJjVpn9xIYcXWQGTGL+ptiYhH3czuWMpK0vNu0p24hwqgFYSd1ukoi0vyBSsQ0vXCp8LX++uj1cdMRTfP3c8p70p8Uyn0ALRezCVUNWMeBk3Yguqk790up+n/zqdzqdHO1+XZu07bkzoqfmqOWgzxLbspqaKzYAtXOmE9+bXp5XZHTL6fLR/LabIV2xNuVi0dMByKAjwm0qI2itFZQAr4irVzYXr8THEPzohCZJyPzMPBrFklyFh+oeA/WeTCQh87z1Nj7AlbXO2brrq1YhS9Fq7C6/dBEu4p9RP2dHYBZGliEtlFO7Ij1FBdPRby3U410CpsPdae14Q9snE42RZ8emGY9ueAkw3GkQLj06Xu6gHL5+lossvLYJ9BU7X6mFDsUYZXVWaLQKh3mx1k1dWAJ149VlAMeBC7ynnd1/LSxltHX3VRKIjV4X55Rib7OKw3t0KBI0NzLA0+KyYAj94Jp2zZVKn5va0LPSLTwxV7++8MfFLG0GjOt97FA7je/VodoeQPnYMpttTgvJFlcJb9Voby74D4b75sEB8j7zlJ1ZcY5QJOog/I11tzMnc0fp8GES3aZARYaGKtIp9bBvpV0SfO4cZfEcK0fq1QLQAdVef+yw16H3bWTdSr04gQzpG4NFTlYGOskc6tQ9fwQTYrqEsla8oX3KTAFag18E0MGXEI/xdXmOJ0rqrZop/8rnMXUdwYkE8eVhZw2UNX5O68JxMqJA3/ekihBwieKgPX2olEi9pCRt76rES8+XDxyIEKTGgVuFfKOf5IC5ZtFw7UP61IlE8ponAqK56niDvRmMbm/9t0/p+zMVzYPy482KHDuVtOfJzM2pHf74Wpu4RuhW3d7yySDqrv3q51j/shR9dOGaERmiefkXSQdmomcCG4h6QlODaxwSsds9OYXDQ/C8geDfM/qpaIWKjgq1FzZX+t3aQL7W9cHTl5uCGwq5I8V46Q9t8jkmrw+99Nh2AXVs8q7WgYPaEIxlTqqJ1EIn29iNSdd8g5+Xd3NlryFaaREipvgSIKJL8tet9SO5/fwdAevHFt8V+GKC0hL4QhRYmY6HTKtNqb6rTj6v83l5xXw1Gujsw0cUdaBypCSaAroWzJ35S/UDxANR9haCRxwYPX+uZuLbNCOQTE6rpKHdgvW2LSUM9Pd0C+9MM2D6uS64tR/0Bbd/hk5MYqlsKP0jnDPa9yhmGacr+I2W//ApLn9ozFfU9iUy4TcgCA6H2SEe5eU4NSRaAZ4b+GgQhvefqJi88WwKHBZq+yorHFbmo7IcHZogGvoTtDCvy2eaSAZZbpqzpZ9EeAYJiv7VkcBXF/foZiw1uwT6Y0pPx96IfTg86htDzPM1AgH7iF4zXsnlIVVrZkGc8giinYSYU0K7lWD8fwpjrYf1KZjXasTswPd9i0a37zMqWTXRIDd7wt2CKyXGRapqc2v6AZ/MQLnzPliyT5G82PgkZomuCOwlgKQZQDp57Gf7OoSixsrTOVABIitTV0tUs64rvZYbUttetoCsYRx7zk5DpCyNOSZrZMH+Q13w5qiwGQGbJZ62wZ6f4zNUA1GZ3d73pCidCja9bwa9Nkas9RO2hZ+m4yUd1cvCpTXQiwTTG2bjbE5SFWmnh82l8qACi1PNrEKT94KmsheKdgNq9XQUodeoIslZRlMj+5Oq0Ofyjv9W+bTMZs86sPIkXlEPWpC9SzebVZtaNCQwlOGG6qiMrn0muDzjsNUY5wSYPF76n/VkoirdWyDbvvk4v21T1x9a5yJsaNRtfu+zQgKJXOTnW1MSyf8KLaueFIpau+tBfo2GgebpuotQT0BXaLYEHqwUxkiWYdbOHqjJYQlMpzjVrczMWJ2QEh+wkOyp0bt9OVJ1XNlKEz/pYO8KXvh55CH1A53Urc8beOwXFOP8BRKPEwMyus79zxkKDGlSFRRfCoHjuB6pT+1VoFnP+48Ck+0nr9XUffWtluksKJM5TzcJbwUkLfjCkDUnFI9gn8++Ihgw9g8+tV1bYnbmpW6/IRj7wAIgPuVbKJkGoO5MRBndCCWzXjUbsroKJIuobLGyDX/jUV+JJzAnXOwC/BV6D2f+tV58U1TJtcCctFVgbSWkFLTs4q2aXQJLlo9RO5j4HAsrqwQpTONjW07thYTU07knHMA6RWWu0l8jjOk3E3av8fGZp4gpEUoPnp0LTR+zY8+ktnlv6UmfKZYdjC/X2kcjEkzSjQr67pcRfkC1dXRc+70aVWMSvNZcJy2kMbxPDazISesqVkeT2Gw58eq8lyFSqgQxLI7LPAfg4L9PWE/Jl9ZBWCduqEJaIv7HLDPwk1GNmjj9mp0FISo8tbpm778FQrzne6aM2MG+R68hqeUCqNu4f6W2jkhjxm8Fu16iY/QD2QhuYIDRpr/vqU5i6IbzwS4TL/1d9plfcovCwKfq5cpMyZ7Trq1nQY0CwOTu+If7Dz4qYbCTx9hKkkx8Nrmlgns7wslLgql/HUD7x0l6eoqOHJZr9uu0YrisrpPWptMLuqZA17tdHYIv5LSJq/vyEKsYMHdhY+S2tO2d8uIYnkx3dW5OZM7GbK5x1hch7i9qVBiIQ5G5LwR8F8RiKZQhz1VfRsNg3TUeNqzUJlAcFtg7J+fXoPbDzRMC6wapOCipYb2pZbPXNHZ3z5eQcDnXfVxl5i3M/xzbDa+0xlqt1fiZMagN/XlMh4mAF1FdljHq/eM0B9sIf0dYmqJc9UFEnPk0xxPNeLBZn9QYDAfLvkvcYlgI4yAy1Nt/Wtl8O60BQ8LkLa70Yurj6MwmSFalw4NruxiLiahq4/pTpjFSbPseq55D5xXI4knptYyAoA4OWRQuXuZCLQgog3MALkSAjZIItSe8Z8wFscCLwhXGxlgpEBklnX2XlE4xaAUAInZ4GtsYNdeVOzTOTErTmZNVY/K+sKorNpdWJJEQG3Elk1ovRM6yOEb9YUxbxiy0mo7uA5UJXZR5munnPuYZXVzI1YycdASAQYqqbioW1wnPqfxgHhIC5DrMPUG1EMl3kYlt5Sj1ClNmOx8zI8ntBwS/veYDNVXWoeA4zZCG2c+MZcNl4fq8mRflO+BAMBqkSRIxyu8dvA1jsjqIASBb38ZUNEXN76jaOyJalvrAvyeem2rJlGm7Sh6FgDDzBQQuKsvkuBv9GmqFp6AqeH2NU4eYOwPIKbeVUEaB691b5jI/laH+BLz+Ntxf8+QrTOAn4TqU6yvKZqrUCoSLoCtAwHa8UGHw96U+oG9ui6dHpq8LlvPonjYnuWV2MHx+wZfarIIuaDUJC9K0xfzGTeg1O+cGFfAjHjs6pSsVCKpD60VdLYON2Ej7luOCpkmvoSgqfFDaANMsvAhvNr+06kA0stpCIPtnEmM0efvei2CAKoMEageps7gws/3bJdpVV1Ek5zrQT+37v07Ka3LO2blN6MY+kT1qTparjplKGZH5zNyzdLYG5Q1gsrfJfh12PEAH+enWIjJMtUCNIPZ9VUDPdSrGgW9x1He3wMhQBXaLecxRhcSe3XClwB4nNgjW80Mp/0CsnpBoLpUL6c82ukdTIJbEsCuKkk8Bf3ExaWHq+mPQtxznvYTyukvA3rW49uDxu/JyJkYl3g4OjY62CLOYsgdRmHbwbJzPtkbYci1ROSmX5Qk8pHQ/wTk+dmnL1W2FwQiibTZkDi85Ce3qgBOLS3q/ZqKYijFkS/+CRWR6Qp3erNug7vwR4bYXmITVlLeko2jdCo2CYKwUObo5XsZVKT8v79cbo8Nf7Ox1BgkATuYvdF59JA+Z3TYuq2JTbE+cosXXPtdza8Oz1mOEkYaiN08kPaCajQB/8E5HBWD6Es39KXVYCje4GxCzyiL+zNfAE6I0IzTmfArBakAepgYLqx6xEUXQ6X/nH3raF3RIDyO6mUeOVp4iTF26q7icjZZWZgsA9itURnNfirPY2zCRJpt4cdsrY3+RClV/kVJSc3NoRA9OZFpZ83b+p80rDJL2NEF439o9eJVb/qKXaWmAw1oGW/bWva1N02JH7mtUxrJ+W5rrSX8Bt26W9CBGBSP6fRxrUPkV03rSADsj9mDrrT0JVp4UsAKQgf9TEywQ+UnJt08Na8D0FrarBnFOXdgBVB3xKHyU56aq6KsuoIUW9BptXd4PJbFxgYnClod5iJb6e+oYAfot8yog6VoJ+sToEFK7Ks68sKKr/+dczNupEQ7EQtV7dUbY9xxxvplCClCXXUAcCGkony1MWjvEqNSahAsI9tPkkCKVul5so3EE59klwmmqL4l9NsPdgj1OUBI2MgU5LmgnKwU3QpgH0UbHC19UbDVTzihYRbq+MMo4lmkEIPMCjaolr/xdJ52JC7tp+zBupNKTleDM8pNJouDbe0PL03oO08cEEWJFWrTPMdfmO1i5xGC7hTlXGVj2whbdAQoOselmyowEX6L0S2alIoEj+2k4zgfebB130NZMyGJyewj/PaOQP+l3VeM687TLjBjAnU8/tkGqh1MWCDzYZubJKTMB/YaJ5p0pNMst5cVi1aiu96SGVW4W/2I54ynBRF2k75eyre7xOMx+zNiitVQFWF2ld0npx/l3imbGjFaqXn+Jb1Mw/p37sOIxKVfTfmYR1Y7JM2mwx5mNGcE8xSVgSHwTO3X/ow5x2lP8cfGnQYMCafdrfaxSaXCiLj5YqPLDg1HyxMSwWM6pNuELkTGtYTXCDyP6TP3as30lFqLsmjrIS5QfPq1nOWp9LyPAjTzliYR7hXH/Y8DcJ130MkhkNun6z99j7rxu4+LKXQjE9YrRs+H5P8YEctwXeQ7FcRi42WvjLYvXFZsdDkOK/1ADr37p+dSUg7Q6EvRYEwhT/tUYI5JIok+0XVcGl1ehw0XjXOAoFqEr5s2IB4oSO1/JMfoK2MgpwFsuF0za2U1qbde9gpVBZ82y9WJ1dvZuYQiueREBJrqn85bXZzjYsvCKn775WY4lvMMNuf9RJrXCRN66R35bH76bUc8dX7/bKRdOITFptu+KUW0vQfC3etv9mpWyTsNYZOWemY8Mojf4wL/Hcf1tjSjdgEnrokB4kpqxBk5RwWy+cAyT8jSoUrvWIwtaxYMYBEHuTLxjFpYfiNwXrBJOWqyXZHOjTijuAC96c3+7LZhODjowiJX5EJr1bLK41fnSIMFOeLTUIZmqGtNIPDwuB5D7wPbFNxPGBvX9TyVVHr+eXSBIRRTM6JWtRUfJcXyjb+HUEPjtZ1CasRwZluDSyST6Jl0dWrPYfp2EyW2FrVp5IVHKv96r7tUi4kag/91hw6HS4JHhm26+3Z2aGFumk+ib7/MSXtcvnd+agKWK8jyAoF95XbVBHtqi1iKJcbsBT7OP3a76SgE7YfcBjHP3xWGVUtopXMu6usmYgODSn8MH8lW9c2+FuCglip32inFkYqpvAdDS49RiLa6F2TAH6Fz2ltZOvvjGuUmaBzZ9s0OWdZ5pMe3aSeKe+ibG2cGHHec6IqwOaIsl3T3u2eX4eeRNCB/j2yi9H9V6cTvxk3iYAXAwkiz6PGwEK+T+KkvIxCp57PvFhUf12tsHmPMutTMg32jn/+a9keSEZ6vbeOtFwgVsb9yauvAUgSvQlDz3mx5elXwB8Lkw7ZknHU3u0SWEExAZBfDAXXPFMKIyqzM5etmNrtKl2Py+JBVcyy714WMtmay+ioGWTsOYGtFlwW0IzEp+EwcIU8r+RWv3gRAYCKDnrSy2mF/nDEFWLAdQZVW/qUuK0yGbCbdQ2ZeHJOvOUcL6hqZ93ZFWrTytfOlOphaAKekUTx8vzBJtOsJAMaqiB5HQ2rra0UgHzEz0kpoSky4l74j4hHQUK02TcdPkt6IdJLKrgQpoLw1GRtm9qJaBkuBf6BH1mtgbNOzkF57DlOnON9OeQfZK3XnF+Dm4Sd7Z/CehWL5cKAdYhFGS0aGVspK0yhKvc9ofGK2OYO9iZM9hVscqxCyZqxyangkbLGtqa3b0ScTqjC6wzWiuhkK4MWj40lzt0zylAL+TL3Cl8PNYLTLeKfzIWl/okilyjTQRCApAeQlB359stomZ6NseY+d5HVp40ItwxWYpjMeG3C+lOmMu+gShovLzq9gi48tRLyxjwz6mB9iaQf1F62si3qx54IXb5sUvDN9OmN0rsMFwiYtqiqZRZ4EmbRkuj4W6/CCSfezoqgzJAmSJbIdjVv6EsRIKGZ0XN+Kpd8D7WvbGo0hF4So/7DPkJA19nLwfq9vtO7CQxmt1+nbgUm0J/j3WPN6Midg7cmAhAYiDLmKCecwiSEYiX7eCWhbmigAEdVbnXBiPqMHNkwIyBpkS+w+KNHw4WRuAzUxxlUvmqZoc1xeWtDgBeh8iebzU1xPxsrSdpdQd+Ve1CSXNP9f0/XLxO6qFEjSyXQwcDNJTCWQEURFd4dpTaYHunpmqS02BvdzV9AS4wvysz3s2KZtAZgqYuLh3aDPxXGATIa7zjXMfKKu5qoEE8WUQJ6jWR1M7gpZmHGYex1vQHNbPbzUiS3TiA6BbLZqIqtSGFt8CR8Ch7IhnmAfnfH7vIJMLmx4/Mga3KAB991S0eccQNvLy4UyuD3KcfKrrTCgi/jRW/GT+dPQnj9f9Z0oBhvjSJ74WSqRDJ7ngwHyKpCPMTJTJyw3q2AA+qXlbadVZS5+B6RB9MlOCpkyax75bFQkSMQbapBKqdnKhuX9N0Vu9IBm1BeYNLq7IP75cE4yDuMklM4Mauhq1vZRJ3U2HvBL9hIfYpYF0LFoRGeDO5Esc7JQxIj/lBTwBPi1WpK30lN4kqeG035nctfcnYeSVvM7peesSQ1yqcRjRRmddS1sVFeNUhcWtRqGZ3UzKhoPAlNoFOQ+cCV8iZyuiTi5gG9SoPD7hd/PaP8rDFuH4WNK3TEUOsRdY0wETXD8MRNpXqfGOxizLrlEBVSRo2+CkitiO5M9UxXpvmL0xhlE5IKvg/jef9sG4HBbEL0ssDMbBWnrBbRmXYX07faaRFlJF1377fEf3XrS1bzixnL8pHLaUBoFNCo7pFkjepxyXtEYW11Xgu53koVjvKTfddDkIH4cmA6MxFNmSB3SYrSf4d8RBu6y6iT55s0p6Qm3BDpiw7WbKd90sl4/3vhsEVtNe7cSzlZ0sX6ymSTs/WbT0prgfFlcFo9eAZpS0pQc9RfepADV+4CIj3fnW380CTlNj2JmSZKNCPK/j6btRltsI9PKYgcb3g4coOW9qwcDV020puZLNS5EXjga8YdvKFUzaZB1vWuGj3GCKpjcZ+GwhJB71nWSC2oU8/2wOVJ1j1sOCH9bBB7UixiCCzc1dP/m1ggBRW1qzWaE21pGrepB5QOp4E33kC23XtgKpKOCxykK9gnpfjt3xsKBjrc1Wpl5hDrQG0pyuBCL/3j8SSPZljXzgK+Dtq0z6ZrTkUuMPLWvYkD8vtSyKXA+OkqkAIE5pneUm/7g0PDszO65YVwlUaa3CaH4XM9Rs52qhrLozcWw+sZG/a01kff1kTk48W5qh0+sA8dIsjdfIRlwDjfzRdT3hor/eG1FxiS53WcxQsqfQEOJlBdlurb159eM8WNI2P7rzwDozOh5Mlqm+x7euvb0aJ/1A+cZL+nSiHzxDfaqRZrQc5nvZcyaXl97O8ZP8yvHSN2lMVlqJWVZrz6Uq1dS0jxTokqAq5bDioXnBcQ5Mv3HBmXGtMdRVj6RlJiR+NmnzaZieqEz0q+erz4ngIzapqUnb11JQEhFREXJ71FMBVc+agmlG7p/dtKmp1IJOIF5MqBzvmg86wkhIKAdQhYr613tEKuapOVIBdCP0nDumDYcphZSROcu2JkWZLxATSEexXdaBcgGOr/SvViX21w39QJIiurE4W6RsMjRfO2Y5ah7eSGlVvlYVSdm0bGqmw7mAr4eukboExcRioq8+lVjpEmeZtVublpNQRRVBddnn8qgmSX8jLS8LYi3jZHns/bIILEUZDhse7FI0S0T5neWPBM9VWUIh9mH2C0PgFBHrYH04c1lWcJTM/yS+lIPOSixl/WIRMX+M22SX9ayhrmrYswOor6FmOSnUpOfroW8CAmRPXzcASLoWTUdADkexvcZ+5A/XM4bn2Xtv5wpsNVZwOSCauqppawFMXgPQsvWOaS0ESjS8ZT1ZgEINUN/Se3f200L9ZPKOuIUf/SXizRbqw34H6Ii6z2TYQTsLHeNel63blQ+nDQH30rj4jhSmvsqnb62QO8fmoPhy/7IZ5XKuXfhVT7ryd6QKVzAuFLq4p6g9LjgWx+AShxiyLm7Xq2pwCQtX1QLGYz7wSTmiQZAHG/CkGcWS0Pimp9vcKXx7Tysf6F+eX/C6lxDiQ082CgNxB0rsjupDVyD+4/auc9T3f08WS288wAc0ZIWjOPKGk/VX0/Y6zdVrJSH6Pbbx4i9W+++hcAwHHM8RMdVKxtxQdKjhIf0q1uA+73oaVBh+V8pNdbTt+8oaVGB6NFgy3jMCVLn2XfH9fKsdL7hck1QUMU09O/ST/EdQH8QDrGEHRdSj1Yqg52CW7qBG4wRuX4QSPXHtam0FNkjnwZlGyShFk0kuWzPgeraIR4IbhCAu4qUS31Oz/qamnjoL+dPdEgrQEmdXIGvfNSc0/rnRPzdUKDaPHGStfk/U0gwfv9RRBc9s2254fdYk2Tl0VBsnXDeU4qpofVMzHcFI2QL1l++McZS/5kj/igq8773gURC2W6+TXWsbjKPoch7CJVns9yLZXPym2XHzVOj3ZLRvnp3XGXPkKpfTstD1KE6fq9mj/r9yo8ZEx7j/8C3VsupqIDAzWSxwEIahI3uIeOKcmMEljfipk5iJWVNIy2IdfHcnzd0VB3Sot4p7dF2HBDT0CFHWYpMEJS95w2Sib/GvexgeiTzuRh3WlBTkPE780BaXssjoPuXwh8oykEQ/Yhmxv7QMcmmmtxI2deLX5F9Xov27QAeD9vIxuBXUdvm1GDR1lA101u+6GW/6gyHf92uoD6Qe0/bTtCbxgtLAEq4Phk1jgmYUKjoOQvLqToF2LJ0usBQTrZ4EbBTfMYZ0Q1uvm4UofgNzB8M6t5IayzGnnSLoSCwLlNJfSPRDF6vda7Cw+nUN3JjceejvW7fEkwSkb6Lg0khI4Rgdo8QZUAacLpwNsGmfpXUQQnaHdlOkFjRcNwbMR46Z6yT2Xhx9gOLO0ya+EDnlv0UU9u2he3b8G6kEtO/WsRlzkEXnIdnC0npML4oOL2ZZ601mRXwQrXS2/PvuhmpGsiYHVpTXSb3bQryV2+AucnZN1V28n+AODIXoTBwpU89C/dfR5QvS2W/1xOqoBMCy55MqB4tlB26zkHYHBS3p/d827sxdAP8JkXFwruLghItK37FqFrND8KBSZ+xPoZY7WG1Cvv9UjklY5+JkHFraNXcoDIOFAgPZ4kl34tsQDzk14X+HMC9TEiFM+yW6qzK4tU1Q9whHupGYwEMIgpbyE7Hq3dah0dEZnjhxL1BPlrmmTpLyaUhge6rA2whc4QFe67pE/fCJy/CaTLZ3tY4siymaHxGKfpNB+6LBkVFt+T1M2LKFLrTEL3akxfQ7tcTMhYREQvVyCEjNNcdOwrTIDCMYYcMt7z5OHIbCA9iRxR7PSKO6l1lipR8oX3LQV6/2GQxjceiVfO5lNkj+GTIkCJ4R8YcS3SiUqPxmt+5bEdN/+KQjh8n2LM0vY8yen/gNBqrDt557HyUDmcQCdlkzC6/XrhvQ2JpQ0zGQ7aaa/hGI7nQHORyFAdN7R/IbriXEB4PqHCjoZHfZNSFSlBJwm7KG72SaQ5kvKU1ehKXtg/LU0v07fpFxKSHoZ0xXbTH5MMrxGVeEdNe9sBncVsyoUecNpFRODYHSTmaL2Ah9cRdlqU+AIuf9+3Py7QUvhO6ItjBfQGo4pcL/xQxvYwXwj3cd1VQXJd4ADh3lluwMAt4YwAU3jIzk5/FiQ+//mODglZNwGnU5jFKyTNBZJz3s+J8YF1SFrk5tdNEp/qELEAv13wOa0VqkQm60J7mU46KsVEn0Q0BYELOSMehn1K6te0nkpWDBdO1cIfaNXJlaBBTJQJgvJHKZklo+FEEu60Vs/Xk95f2WIFyAOC/i/repGmdAt+CewEdDa5dsYdwrljH7EY/OsteOdeCCxJi9C3IoqJzH3HnMYcOp/uHasYNyc56XfVNzaILTiUljfI5MHkHSWmQ0OK7fLw5XIh9wTgvdDvy6Z/bcIx+FARM0ePiPFG3F86tnYyZ/p7Q0Leb8qRY9YKwIa8O7JXLbfanrKSc9/8666tk2dX3ykx3LMGD+iS377KtyF4wCqN/HxiJbDdnoY5DdTNfchmO4vHdyPWgLwINHBUcnwUn1WbXed6eVWH9LKVtdfwiaIbUIN9gpUxly0VxzWwyprkAL8IXfDAu8v9bfDxR4R3Ru/3FTzeZtwiTCH6TTy+gL+B+BgV4vH7ZJDufP5eR4mEX3358yKmQGCpqzucOEbIJb4//aVlqGw9wz4lMd5lbArETMB69PeTY9tVRbcn+8w8HSrLoPz+iruR27wWdnHajHQwKllYX08d8+dkbiJ6b5+bSbsts7jY2eLlH39bdUj19EqK8MwZGso5t2FDHqmfNFs6X9vv4iFtPB1WbZWEoNHEWSp6EqUivVN2SaNm2QGSqUFP8X7GEJRMj0rtxtBYU4HM+zh4Lj4/bsgw6S023sGx2yfAs4kbuzFcBu+8I2Uyz/eBlY/74NbsxLG0YaBxUGsGYh2RBS7/elD7OZsUUv4S2uuQkCS9hiWsMIYkWHFNINxj7n3HvaWuVUe3gc3WY+uqErgqQp+8P/uIttWq+nV/+NW4sCfiqyFawVHysyMOKGodSw75qLWP5IgvOENK3O3YHhpmXcnup5I7XTBLCDr5F0KRJQjqb0+Bwi97KFkVCjKlExWOUL1dS7LJwxq9fKANIxMQtBCHjhBF1RF9r41PMCs9/DhqjGkwSlxc+sxBlRt8tvRmWVka5qozFM3f00KenJGIHiiDySEo/axYIgA/Q/yJZlT85J2WTRtaW0/uXNSbZ3oNJjD7sSbDTEAnLPqYGYMFM6DBYP/aLjMAqljUyPOGjpOJtKdqnGIXEzSIE2hopUnYI8AdO7JHrfmcvZJ1CVfkY16fzhQqVEN0NWh5HYQvyT0DVxtTmp2sSx/+xJ9HYEbmLQdnH1+bdGFIkCsBOAyGYBwlHuodtqfpKbgZwujiqXayxdfkbxB8KgGaiDEJ8S4W5d99eN8WKYM25ToVge6UtiijbvDF7O8/01wfxC3RF1OYbCmrednUWnOpwdmsOZD8BUVdLz97jrwpP16tF6+Aw7RgzXbuLpW5ajc5FPKT2thUCcQXZ0MbxBFtnuMwLOfzjgJKPazdC5JQsE3IJfD5jMjxMeEOm5NhXL3UAXjLNc80Xst7PdMlF05cFdZwf1u07XMJN9CibIV1chLmxVA+oLnxB7FKe7n9NH0AhXxL8bD6wIdfL8/Q1jRNpdEAU3syPZKJpX1Qtz893putCF/bYns2L6lkDsspl0IS/OmIOw2jMFQ63rkUHxOzCkQzTHPFCuwzmB+3pxrLS2bwyJxanDnxQek8UZYovHBQolpuLJSwIMvcKIa0sJoCFb5tLV5v+klz4AsY6DFzNJgneibvKNPpH/XJDsezfHJqtjvssgt49EQ+sM7El14aGgeqW4LEDO0ARKqKLhDWK6mxzwFW9cYNwvOAdpwjpILY012PgNZRiTdM45RedLYHSP5xjkAtu1aI50EC+/aJGHSyEKNzkGr0Q6OD69EIDD303Gm4+hialxs61mXLoDAv6tF/gaR2NrXjl9u4s/9FaN+cXWxekVpZ0L1ny8ddqW0tBaihd9kdxjzGTIT6wVkJaK0WgiulSegNdn1s0s1Gl0EnTTbq0yHJFbDu2Bu8BrisEsTIdIyiFnxXa79Yl7JZe9qrqbQEhPtNqSC+8jzs0gF4Gll3sBno24kgeb/TAfLwH2UOkOrjTQHfbLZiJgd3ZFmFAbSaEpxh5WPzImxD1vdm3sut9Mxtzh99KIDgydE4HRNfF2oRcBzMoam1WOye4rF4MRUv901SRCuEAc1YL7amNAzi2owHAvoWgRkLNs48lUnT9LEDTEjA42KLaCkLr9A7ouncOdaFFKJftzLlGeKZtz8DHkzkwOtXnuqcU5b1PXcVGi/ahS0h7KCyMwOUgshktdqvyqGlh4oYjl8dz1hsevJ5Ya8jvta68XT6N3H8kXktzzqrRyhzg1nNo2vGtgMdqBijHQmrj6oI2IE/boFcO1C12QOfgPdtwbEHmCSKSHSqD4uoPhzvumaviY1fkVXBgCvbBgQ42FAV10VCvWnLW/jdw9E83t0704FFffAW8YpjZGBE8KvZBM+tpN4zT3DD4htoRjCHGEnExRSTjQRBoZrvN/4SEvsIvD0ApvE+eNbIj0W/iufmJruFEhqBWdrZg5ahrNQxPxU2uuWKfECUd6KeeJ5AtR7+4hrV9r3wF9fVuJekAGE6FTtk/zQcJ4KhSsvF1Zo9zhY+R2Ne9imVarsjcWdLUO/pesW6GJlDIJ4NGXp3NyAnP4hyCBTlRCrkyqox2faqN2LMBHkysWF3+c0lkxh3n3osn/h/9Im6m+5GfT0BQecgPRQgM09Mfb8ZmVwQOnenB0QOD3KYK+on9MqTq9TFx+kQlzWqRrEqwJupwBJmVNgEwkfKhRvQAru4Tp6zWNXmxCvWRKumeZGRKVQ5bxvOCey4XGVv7xMSMaVnxZlKj4GQZvqqelope9AnW1QYBcfKzj04o22l6PBsi7EJORK714swslaUbt6ahdxWuGqzjGI4WljLOe0PsR2d6zmxunhHq9LP84IMc+xwkjhYGj53Xa0d4ntXbmZzIMmQzOyGprwhunBlpoVDFe6ro060DfoBUCgJA2EcQCiJUBkKMsTRD1sryH4mvNOpLRnEXL8n5cZZatNFjbNF4pYFCymE8mG8FRA7IUXTMo2IVSGNOKOsa+Ua43xbJyr9xwcyGsLD3TvpCgegaopEnGEhnOD/U5BZnB1Fj/ylvD0cWMl2p6c9td4Zo2CVlI3CdSeNEkiuWXnPWPCBM9QFSgQ4NjZgmjK2qYM3X49qkhL3/axOwT5ejQekQl7OYa5W77TD/ZORfnmc1Xh8mJHRzkdcMpr1ziM9nT8GOevpxdt+VMhINYSycrdcxJkpICy9oN3+UOpkOwxYSqNDPXoj7noFolGpMoKelB5dR8mAOSsIiBMuj8J7rkJbk13V/6Yr1jcfrGQyM4r1I42Xufpum5fBp/z8etaXiXsjN0AUlD/MlMKfJM7nEtWNOWnsNkFebGePos3LPYh51xqKLQvOxD5SKLXtGBOgcK5b2Z3RE140bRi2SnaAyy/BwRSeMaQ6q0vRyYcJDDFg+Q/C2NlEiqbjb3WvfdILCTiE/ieqP+v2G8DvClENnXHCKn1bc2fI+mYGf66QI+uK6DG5MyfwN/F03/kOAmg6ICckkDmxCyGPqYIHs8lPOzPbp3LLiWM1WptLDsZpD33SIFj1n9Ph8kc8196I2WnqJWoskczmKFvXzeogsd3KM9DUDpF3OcViqR5tI1YVkOQlLKPGg3NbKpvCa1Rnh351i1Sk00f3NpPC/9HhYAWOSwrJEJ9MEr0M3vAe2RkP9YGooWp8YSG6IqglqTYoSQDtbcmfmd/L0wwqF6qpR9/AwFQtg62LRcvyLal/ERNaSeSQEl57lCsLSkwMQJXDa7q2F083L7M6SaspZIqhGbGc920fyXqShTM8PT4jSAKmnIY+anvD2tN4qAWjVHGFRJwe284vipb/2qgcf9fAVht1hkdICHpv9P87qmXjSy0qppUCLTLmZXngspc0h+jfQaMjQOXhkdA69fecscEx3LYDJw4VtUyiV3lNYwYS/hbmpQFjSVx2HQZNRYeeILB1V/BKm1sPQxuRXQLAZ+OOhPlOp1tsYKtlv+eSx1ErCr1HLXXf4ikMfbt6oGg5XY1Xumq/QDhX2fD/Nop0kqK6WbFVyc3CeH4VhLMqFbN3HTdpfLNzNXN3cNaGv3a3WITkX9LqWMwl/2UaIL9G/Ph8ZsejLL1YJ5OGblMsWMuRw6vaEOUqDaaZwL5BGqWY6NAdzvzK+46cdGWWePpDwJtTRTD7upppPb8zHhkrZnzAJRgQuCeIm7+HFIlUHbwAm1HliJ/HeWEPF6urN0oQ4eRRKjoJ5natYGw9Y+uw0EqdSm+yQRmRHydr8GcLWs+EsBzs+mBwY4VoFWDHyR+l9dWqdZoiky9mJzXo8uwJtlr+MJ6Dm8Sx8KE/tMdPlSs/tzEeX78lAvtAMLr28HBsq5uWbNCeJd4fG7+9AVbaK5r+3OJXSeei9UihNcVKxcitfR+SljpW/GI/tZZX7jVjnyAMe2LfnrpjCyl/3HaMuxpLe4o9VeUrcViwiCfS1dmbg1+ujDTN98eTr6feVrqIdA1McSqm5k8Ig2blE8I8XQyXEWFljpLEDqAnxkLRJgX8IFC8s+jV3yA2vLDWyc+iK1/ssY0nRp0mSKvot9cYu9BNpY+KbQhgLaIKIw1upRep+U/bw7NvRJWIpsEcpv7sZIvrBsPfS8METeRB7+begekawQUXcS2dh6uIiYLRUoAF2qz5Q8+DAU+RRwpd+DRm+gihcJMFzg6FvUwyXYBdMU2MFo45rKct+cJhdfBs+heCGGMU8U+kuT8Nq2wzJ6WxEPvd6tQ8Z8A8NSmYwiJ8/63nE7WgPkUsGFoJ83mtjs+bGOEYn4PD+ZRJI28yK9rUU6jAtTi64f93kQih+zlKq8TUlwXZwYFRoqJcAa95uuZ9EAWjOFA0GpvWl0AQsCdFIIyEhBGpY7QSLYh3Mp7Lsva9Yir3/FKoxCyU5eanZMn9gj5s/hMKHyHkYHVRtjhBisWt7y1fQGrI3FeP3CLniKjtWhCHHxPKQknXlxkNTS1ggHJUpMfxgLBLZsZF1xIZteRMATh40E0qa57CWBfqdKkLOW4I5aulaQ/NX2uxSt820Be6wu1Ticpl+yB3tWWzefy4ad/+BPIhAzsYtDiGwYpdT31QyBf/oeJ9nU9vLP6uiLEpN2xykoptVA0am8jMptMbhtXwyj1o+EINCjCrKbfLrvTgd8nodeQ0jCPVOZ4fRG97fQ6aTp4m1wzpSZ5x1x8wAJJJvjzNFF4VH62CQp/N2i9sRw4QjIr17/30mZrtXptTR1WFkXN0UjJK5Kv4vLkFZe/6QipVXsxY8urfVRCGn1OMSC+ygGdeIiad8dgLzlH5sBMMRe2yIayG/A5giqo0ZZNAf87R5Dpc9Y264xUp3IziCxGBpIs47x0LFepfEk2bkI/Tqu4a2jSIOvLKB/CuHb7vK07EPcQ7+Bxoy3RS7ajmiyTzj5d27MUUAFUz9KHcLPN7ZvYerkOcq7+5CgnCXfESW8MoMYEIRw=" title="Mekko Graphics Chart">
            <a:extLst>
              <a:ext uri="{FF2B5EF4-FFF2-40B4-BE49-F238E27FC236}">
                <a16:creationId xmlns:a16="http://schemas.microsoft.com/office/drawing/2014/main" id="{333F06DA-59DA-88CD-0DE3-59D48B67A0CC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6407746" y="2053136"/>
            <a:ext cx="5495526" cy="4610248"/>
          </a:xfrm>
          <a:prstGeom prst="rect">
            <a:avLst/>
          </a:prstGeom>
          <a:blipFill>
            <a:blip r:embed="rId14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2527FE06-428D-6B1B-9850-006022B29DCE}"/>
              </a:ext>
            </a:extLst>
          </p:cNvPr>
          <p:cNvSpPr/>
          <p:nvPr/>
        </p:nvSpPr>
        <p:spPr bwMode="gray">
          <a:xfrm>
            <a:off x="5089644" y="2663577"/>
            <a:ext cx="428197" cy="170121"/>
          </a:xfrm>
          <a:prstGeom prst="rect">
            <a:avLst/>
          </a:prstGeom>
          <a:solidFill>
            <a:srgbClr val="FAEEC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34" name="btfpMGChart598190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njZPmzVPPwFyUBDlDfxgncUkNpl6YIjkX7UyhOxikHnx8P/XZ4LIcekayZvKlH95iRFUhxtoqoZjAIVXAqlTLi8mDtulVZKfWFHTbWZZpCSTdLWHSV/kN16ZJVixt746mGr4JeuoOYoUTBHNqBKR1q6zqZz4yOEXm+R+TJc3MKL8lE8RcS2/CtQDnpaxxjxhHeo2WhUvwcWigOnpd+osp8PYRpaleP5J5xW6jw3OYB/8i5lf/qxvV7lWkr2g00dtQvvexG7CpiTqVgtLoNEOfQ+CVyE2huqlOWjGMqN3cdlQ9IsyOOMf7c77q14guyNE2TAzccaYRE5U8YoT8h83xAKXMLV7B5M0VXEp1W0ZNQ9lmDTWQYNoJTcWa/DJcDGYwIW1dUROj0VFhEwWzakKskCnM1xzXGwO9iaRTZ6Rgueduh6wSxI12Rdm+jH/G+4Ol75w/X3HG3waKzlo4Xjolw5YtAyI/f4M+3qrKAAHYIp6SHGMz3R5n3ctJ5pBjfIjsaNiASNMhTAXy+zKduU+E4L9dGcYbejovbDeXsj0HDOH20GubWD/EnuY3MiLkmL2zrvmOdYDoS3RsbFzXTo9vwYIySeeEnWnr8lwMZWDEDKZapYw3SrwWyCZLtbvN+ibInUW11sMv3p0Bi9iXnUCEPpsoaOQ9snPhEq7ykpb9freK3gfzwBfqQXZwkl0IX2Vqjfj254qVbWSMHegw0J20KAVG/jk7bN5oyGno+8Yqi/DmIicN556T4rjNFVK76GMfcBOKgH+CizKuJg49m8bz6CDX7J41Q54RjGO6boNEmhMtE4whO8w8fYus9HgJtIkfjzKbP3sWCnsBZ+2ufWbj2X30MOCBDD9O47adcG78RHNl3AoehOxSf2JlEJDm4Gb6VkZK4ZETsyTjvREz1B+eIAemX4yXH6xqo56XvW/qyf8uYhqKc3HCp9Vz6Tj+l9hlBvwmNqu5ThkQO+Y5h3S/eJ5BNu6szUMkyAfmGzSyvYVz6F/6UrxAgVPNstK2jVKrPoLL7WOcPgh2mwEFyMQHEy9uausem3B2PVsd42ZbjbrkZxr/XH1aUe/PyUNujLMJtR83FIqEZZusf7JsS6zc55J0Z0HsoAXfh1qe5qiHWhNGVCccfrr/xhNpG4U7cnJaN8ks+WBthZN8A7p4+5q6mRVLqvk4kYAGJEKyDK2qm1QFm8tGHkks3XSJHsl+Wa1/O/MlpG+WkdtFs8+63FYG/01dUIXyKm0bIji6nrvuFuyXRdJ+a5ZVpieNfbdpk8PhuAeGJW/9dPTIgCSk42nx3Icx2h0zTxsHtXzn4v4QRMUpqmGjZLBvJ1+wfEnyRTNO7fVktQX6hc6OpkucnBq6BMwpxMzhnh0DLrMYwPe/T+JxqaPL/cbEaO4JawGvRC3BV0Qq3P1puT8HA/B1rQ5wkvKae3nx26toHCCV2O/SOAzQvcYgQE8hVhJ0eG7gJu1kB4+DzXFz5MDsDbF46fZv07y5PTV6XZj9/T65qYsSQqGq97Ud5f+42Sb0nC7QMktMnj9t9zkdRAAQjgr1ImYteGWzoIswoy88UxX1dMDDKDMeQwhNVuMJkugSH4phJBa5sLpGqDTHtj+t0XSXSZlu2ON6XVkHyTorpscRpsZSNr4bHNO3Juo6uDdx2fxrqH4l8NabV/aKQFxGGLDaYnUNluiDkRhMikTsudUactWyUIRnTDMBAlsEWQQlJ/l9gMCoXh6xNboDA4Ib6egm7TTNsWRHqHfT25nn67AlT17PcPfqRzZdHlY2jHTd7xznO1kIa+obI4wRgizZoFRz4wpIDNfEYoaSnkgRo9oMKJVg1FRFOQpuXIy+Bk6sZ4lxKL2KSqfCrBdCXbMT0zsX5C/uv2QhfGrNBLJiPvnp10Qy28qpX5iqYbp52fXBF0z7r6ih19rTp1sfZaKzKvNYDuTHn4YBMsUeLORVEEUaeKAd4wLlGX6iGI9Mj26QEdFgT4i+KNH26QGP9Z5FqTI92rEVK21v+LfNqEI52Q5V46m6F+AR+RcNxQGRtjTiCX37SWXbI8wO1gnysEvso2aUuigAPT43pDjOumhcLuZQWoh5wwZkRs9E9rQUeMQh5AD6DGhsAUx+2UyBgbw9+2QZeMXYZ0vEQdF8+cvb94L6JkZwDg1qimUOq2of2AXjBFwFB35ftthSi6dAEIbI2MZSf0uYxN5dmAT5UzHBdtJA0n6KEVeEizKuOlKcE/5CQtj0z39n1LM3SczD92VmDywu7xYaZWt2xsoyX7FInuGpaknNhZ9ECAkWfsdSjXm784C9GjGAD9K1COX+lZyrWwCG4RObcCrGGb2YnoKYX7Y58pHUxVU7FB8EiULNVCjVAIfR4p9MqBfKNSyH+dkn2+fWMMn/zaQ43tqhtEEJ6MjCzBL7Q1AW2m7kiB+eQtDtDcW7zAmA4xQ+F/REUvigspgddLL/onQVyeyBc9UTag3axAB4WYsMuPrMbd/eyTEblVRlt53rqelIPyFxlXwexgPzGY7I2eqJUqVq0weX9/5Kw0qCa5o/2Bir3vlYNpv4XxWrMdE7v3YbHiNkasvK/cFqC8dQX+Zd8YGhX9yESMoIVCORlXR0Kh3fexTh619RBFYYE6Zv4SVgemutEO0/VDwhRrLQWvdOgejWvq0R2Ri73NSZ6mYiPPbPgAYlv4HyQjg/N1ac52oFVu8bmUy3lDcBUH1RikDvNxj3fAsNehtf52KJAfdgNcwI61QEiCUs7+qaHdURsbyUeY4HqH/JXBi89nrLsrNNXq8vnSrKwegfM+UfcDEROaP8/V4uZTGsZxRtqCmjH7XbKEkUm0dykA+OWoIj+upMSd6xVcL94bVp9sxjw1euP2SVWK1C+YCjWJbuoTfdDwSD+6ti6ThJA7IHRxcNxL3Pwqt+wdgrPFMU4wudvfn6Dv8tlAWF08FGNof7XW0LSpy6pSeCdb76g07+HmfDk4V3gTaLk+6MByMYo+CnplfsI1C7OCUuIXqP4LuGxKbuIKsIFIRH/udi0O4FvCPShQknUe7YGDtNGIL22aGSl8q5HSZDfk3CVWrzj3GuL0zLKNIPSca3KainpWaJcI3fCElEVTpTOIcIqF2t/M23JTGTPZxSJ8j8AwlFGSAHEUE0bxQ9CTh1BebnLcZ3XogZVtX2HONSUpmS26JmzOlJeQkoqUbVuekd1x5zUTcrkDuA0CeKQu7j6/osPSdCTuknmt24pz62fsxA+0qh2+jfBApYn2JmhocgMhXhXJplIarvh9y9ZzBRr/7Yf7po52NHZtsP1ZOosZjFFGwb83q9TZ/x5Bpvj5Hqhoqf+is6NXWh3WD+BIaLbrZD3Y74g0WkGlp1DA03QZSwHgiWQMwYZbo7a+FwRtTgRN08UcAtSdhVJm7PFz7OOPBFqU4ErNwpwAWuqYFOzkfClQD40K/3/Ldn6B6//1ohubewxLW51jtbEffdnI5i8Z9Lo/aSJJLugf6Y9SHd8ktxfbsSRAPM6zCs4ekn9gwohFFchHUhHogPPtwoFyHIfAPbivG/ooUNNP2vx/xOfRLDGnLJ7oSPMPA04t+xSBbeGH/85gPMQToxahuijXiABuVYeZ0zEwA6ZYPNAmdRJPySrQA8R281r7VoNe8ZXQfktt1cywd8J2emdRCvWEPLM7VrWTWejL8fU5OQxuPkZ+MmBg2wfE5PycKaufUh6vkTsF/Nu8BTdcVfjjzRoGLmmGV+yVY8j68GNHh4Xmyq9AMQPr1F29AVqAmd840Tff0/i6lCVevhcQTSWv2H9Byse3GgytedB4wK8dFdb5Yzy3wjo5PetQxxCct7bL+/ykksN2FEjn++zLaEv3xOtPN94HtdZhMvt1xSsmSsAAwV6TbebDGDLidxfZ8jLAV7G2ESfPQCTIJ1OduqqC/yw4WdUGLhhg3UkuptSWrE6jsduUXy55MajqjVS5cc/4H3EJ1s8mpZ0xiNdrEfv30K/56++eLFa5sczs+hYFYOgegSlMZHacfXK3HOpZyWVFq3s5vDlqd4MGnHoozMR12G5r/Eu8Pw7QRCUkOeENAUdZpYRHBc9bFdkFx3voosQRj+t9wEfjsqS6q6oH5NZQDSV4mVHoEE1s0uMNN98HUK08xKhPEQg3ixCjPFAI2Yfpuc/5EJWRwHdhI2zaY8SuW2sQuczYuvtQQRcBsor20Kqsw6eD353PrxO0xaje+KEMdVx8nDHJzuZWmRHUeMB4IKJgY1E9O/jHkEAm611Ek8RhJOdYEYZDpq+j+1DhLEbsRyI1BxoCZRzF55L7w9QwDmIJmz7lFzFkwsmQipnyGEUYQyF17QDA6D4200Q4Wv/a1EnilaUMMjjIR/qkf9yQIyi+H+9wSPHSdoSwD3HBGx4oWVh/UkA8bwH5V/1ajB86Aa/VBSur+8OmaXbGNwpVG/GXDEcmnlASo/E7cB5E7scnZ/txcH1g7WJKxhly6932WwN0DJefjoewkcgJ4Zz4LAaLJzM9eOdOR+UcGnMdumcoh3RH3bm7SCX8C4DLakDXBj0MYpESLBA2xnl6oDjxsgi8u4I22Xhf6BiVis6pqlFN375pXaCnyE4ILUKnZoDTmeQ6RUzkTv4fgfYrJfTA2Gc1uZxoUFW6cNSMxWHfDFaei0URc3xJx/0Ku/MI6gYjNc7oR1lTH907NcpYMvu9SYPtW3r7bhbFbPRLUDf+vYNp6rhUnu1Ps82lD2mDh6TbvabhM4oSB+7ERsYuaqdh6ts9X7hmpGaDKOkdgzyWxw+yXWBt1VCSIWMv+/V0uVaOGpaQZWvtrTWcmPvKRSvGKlVhror8xNvFLsr+orINEmRsWhmp0s+QeFsgWyeh3KMWQQyfwo85knBD1mlLPBbTa0rLITcb1uKn0YoZXG9JFstRNVIBwCXV3kCMwV9U5AT9E5YoSFJM+C2/SA/dM5TRjJf1Mtsz2VCcEwA932yKSv29MKZp8SXSOfxMZ+Ptd1azFmU+g2EeT8kn8uJQDtfeubxA4bTJLKEHW+fTk4AsvM5OGlxNrFkRi3LquR9kcGRbDKfH8muES82sQYDjUZv0pcrMmY5O4Oq0FN3ckeELWtmC+9KNeRASx47t2molaGQutYfQXss9wwAkwSbdahvs3XYsfPyDKAj0Ild7qE1CY5ZRfyF02s8GPE8c/6PxpRO/en8nMg+jOok5cZ94dYCc5bWhjdecFSKBSqnwRqHYKstmiMer238jU/KGBbaDQfPpWn4CT1b86WGT+cs80L1b4fQ/qnRjtX172XojFcg4+AKi4oVLHmN5ypuzB4uwYjrCI8wXBqqDLy+bixqvj0KhmIsScC1tTnmK1fqS5SvYVVSm14djXXFb9T8KtmcWUm2wiggufO1WemcHUNPAxy0erqmCX8u24NrwFCV2go5Hv6+Q7P8NF9XZdhJapm+noSRQzor9QtSfRxF1iVPM2q+unrY1rohHv1cUklJXoaGy3aWqemVr3cjzpUoOBe0aG5DlMSaHjyGr0aq7ZPBpAML9m0uEm5fyQLNabngb/J3MdfN6kL43qk/CbjHbENTy8BUjhdrpTqF9fcvGWj6teCdpawMtXx7GGZHEdxqdpptFY4JQTGDywFSoWr20WCI3CbLCKY0xlwAq63fkLmk/nRQbwsGhwAw1FztFNhiLOzp+XiV/TySARKymwXwZaOSP5s2Mu7j/6YAQUlROwJioHxqGYJG+dTAKqharx9HJd6deJmKEEEBFf4hui8ym2g6gfZ4mBrblEAtSjboB1EzN5dyuVt1+sN32rqOHhYUpGrO+PiEpdbNj+H+GpvmhXmmWRV9HRp+63M+NODb0551KC+10WopWyeXQ69hkM5KKUKNRi/8oHpYxWtfkE5zT8SyY/LG9vndeCa9f91ReWzQbbjT4ZAuKzfNMFb7nAcsaiRooPgSFCsnjaIBqRUJNWva2O79Krqzlcae0A/dO/qlOnc7PSo+4r0AQ4CZK2DE6MmHfWuptF5LI96iPmrSmDdaWBG1/PoQwOgMmzDPGY4rXin8pgnwMV6UPQtWhN/AdnMJvTCoYw3C2tQy3/Fa5CatXQk3+dR6ZEuX0P+YUEld97UUYEQS66ibjjUd1iFjk/wpdfH+hGCIJK2v9jVhAcp/y4fNT6qXG/iKexSrYK17tUyE4Y5Kh0b7aYt5ceois3sHn3BgOAiMe72bVGuQnwKJmGvFYNCG5PWPQlkeM4T3fZmbiJin+W9t7QhXOekj+SmCCJUrhxvoDrT0CnsaAlVuTaZDGmTeNsxt4D1ayIngbZNRoTRIYjNgEiloVcGcsTUygsk7oPIf6WrrFvfvOpnFyacN8meXG/RR7Np+lbwBoGlGzxyI87WEFtOk10/s0MM0Dq+EKSjjnDwHmCutolBEjMrRKw1QBz1OOio12EMPZ5Ei+URkeCaA8BsHVRaoKBjsYkBnTc9A4os8750wh0XRKw+ueLbtzUDMGhrR2JmfAKj5R8o7rId6CAsK06iDKCTgiMW65QTbG0/W7l4gvMNz1pWVTz3Gk+p4QxfHtntmgJfj24JITexUnXCvSimPQkfKD9FxnnoPoBvkehDziNC9n5vLDdwHFq2lY/MA3DnPAYfJ2ZNEXlOLhJxXnztSokHX+RhGHCfUtiNl27YleA+bSBCHyOozFSYKPb0FMeYrL73JEFpfY7xgJc9URMpjUFy1TBHOmv0aweRM1F7DJjpDkSwY5/Tt64SLttqIT5NEZ1htSHcwvcfYvj0CCp3/HGq4xivc3TH+V0QdWuaZ4BIDT4FzK1l8sBoM5yDrzHmnaWbdWJrNBSwLVZM/OSn3j63bwErTnG4dYunBMUq14N4Ixqw6D3RODD5KGYvwhNDM67O5GyYywHygEOrgM+acQit8e/xGLnEzHb3o5nS8MlskZWRrEuHV2iWprJqA8edUbeboldTMedAI35Ik4idxXCvJIaXzuZAnnTjYPhnfCyYG+LwV5/Y6eyaqlNv/WHmHsn6eklfBuqCqtfZLyerJwtpHqGNQK5r7Olxk5OrY4gugNZd4ebK6bGoC5yyRFa+BHm5mdlfjGiXS199cltxBDRL8CTECD5AXKYHxYtMCI39sBaEElXQQBLLsN8ITbFOhc03rQojdy/xSs9PJCe2T9mOBDHvfqnla9oBU6a2c+HIneRRczcv+yH++oEneex1ImVsJQDtj8Nzo1YTjZUW7UcGnAfb3zBjYCkd8J40pK/w1mDaXwk2cAS+4oaOzlNaiCKeWoQUtUw998HnFnhxV4DskftHfGnm+fgUCggQlWcwhop/5Wtz8GmiB3wPixq5ATKptaC3Qg46P28AOI3gltSEqzb0B++Njyh02O79I2AOl/V1o0RlbFrWeovmtgmhgRGCmco4hMFekUIUxRtC9wBhUJx9mqrSa6t5Uw238iB7YIQlH40eAZHu92kOHStEtBSFWq1yHxZUCiM2dSvFuLZMbDXz3TCZ/ncfpeGRTEdpNp3wuIw3XSESQBA4/FFR8wXC/N34dvMY+LSivPJxB7rtNOOGPcANUQU8hwYLLEBSVUCCgUIBhcJHRPg1ZLfdwViObQ1s2R40ATRBPAYS22hqmUQha0Qb/jwdZ/lZ/qupLpKo+viZvQ+k51vyXtgDxSF3AMYcfDzCvaqSVhdsfV6oHhdHgjg931RO4OaTKhysLPNtrKvJQZ7r4WN+zoyDVQUYCd0Asm4yuw5vmMVt9Fv9xsSyLF335oxh97PbdCrf6f/MekHNd+B3f/obk8vAwlEWtpiNgG+WIXtrSSA5e0hAfm+S0IzSl76xB4ftbRjj3g17MZRpsYyVuBGMoeX6yw27jT+KHds3eLQLIiPDruLiwRyaAJ2NEsYCivTWUgvmBAwB7r92QvEs1DFq5nq5D/HL0qpJtEVi7xo4ZfXTvVCTAHyVi8Ndk4jLeItdCii/Y8A7+Ybx/ak5c+wLNElPl0PRlMXNjOeSxzp+3DN22SXnRR1v4EB5crWak1a1KiM5eBr8hA6sx/wjIRKToAKcPa+GqngDj+z9q/JKHRUhxRpXkpNPlkUVYChEdyoFDPOsCV4LG9YhHj2PAg2e3zBt4YGI17AGJYIFkdDhWonBpWtr9I0Pv2BEdf/xHy915soel8wUxs/TPUn/pCsJd1RH42UbnX2M050Icw/BPYxqLNQexuu81AEmT8qkLxMhElNY+dPtbJnjo4sCdbV6VWJUuGYIhfiCTg7ihxrQITeEgrFaZ4orTINX3oS9QnLOR2m1vgXhE2VGqunoOjZ7zMlFuS+mg/ZrxfVG1IdXcFItUE+3pBLPD7EG8JhOz1vzpeCh2UBiDSjvk3NTBomIporRcaZnu9g+iC1wCBsp/546mdkgz3A3yDzh59IL6Y4WRnsbQQaWgRVdj3eJ0GaoLcw+4s4Jm/DdGV4+aFSzazso4RUHFEMXRU3u0IlGT7lEKJOOjpcLmhW/kES+Vlj8L6VCsIyV3rkpafu283q0A+uVKJBXrLJM9wtCpK4Uvufngg/wb0E350KTX9TfVpiX0rybBDuRXovTnun/vnhDEC7XsiFyu9fmh4wwi9pZPLMRnGG79L+sU5JmExfMMhwJl3cqrCmbSuy3Mqx2vjYb74uPiYpo79F6h/FOggjdyh2sSvLrN2epIn66xMd0/8j3Ng+ofVknI2VXDqQkn/8B8z6PcxssZw6QOZt3PtWuUPe0uX/KdmEP5uPKWpFcXY3c4w8w31DXrZyZWdVT1lO0O7dyZxHtnMYU3CLUb9UZdTEfkKxrCVDywgXYxYPmLlpGIFyyMY02TwK5fFB+nWgMDIcip4Wq8to/joCQjsbCN2FvQxGevm6RJxXe+cdxaCx7oX5cxRpes5aBLImA7Mekr4x3iO75DvgDQndZobR0c/5f43RjQC2jcaEp1non9z/uNn9OW+ZYwXYbS3FQAbJXnp1bpJryOO3K0oSB5znyW4fwgAt94tLXKKhdD9WbkQBLjwGLByx1PuCcHK5tkHGnLRqwVQSs12fjhrms75Eqvd4tWvgOFvC+6ifhphmp3tT9Vy40XntPvkkM5Ji6Q1Sfvg62XUM2CChecXkAzYAikXg4EsT0z+kZYHWDWuei0vxfyrAXC62urra30AjRip7JNI9uuRZ1cnQnIos1RT9c20y6iFiJaiZh9DwnhEAosO92RPFw0Ra+wcNkHnQaMGtXKn9U9t6zAeSi45xvo51kexX6m6j2hc/t04eMz41cSQ4XyE/Ul2yKyY0UaRiJFeTJOfMkR4W08VmovjXuxGO7rLukHnYCZTVrPw3SJaaHWHWHVozlmXGIyQbCViws6c2I2cgBwnf0oeQe7mflJQSL+91aXrqMf2+UEWrh65uVdvAcCYoTRVjAHKNMyJ+6h7Wn9CJ/GQ0S3ia9bdp5pK2pCdA4I5/OhoASztkeAQAz05A7aIVjO30bzMvZ8OV3/IiPj2udgV7k3oV+d4s1hR5/5SiDJ+jC/ZN6SeWKAM0tkuwaligHaKuJcomEsDWucVk4Gv+LW7uDt3SNmVonioYJri2Vb2fyb8FGui6mN0f/XV28hmauphu3teAkGJBzrP3b1CXgI9th70F3TFFgmSboq32u4/OkgS03Fv+2SAPQVexeH6iZqQ5vy9k1FNVCyK924QhEHueVEO3sVyY/KvdJRVR7wTmGG582jgRjP4P5w1LTdFCn9V+wUyLhmuwbJR4c1uwLKfLRaGHoKiM1bwqzjiWDzXailpka8PweWW0ytTBYvZiw/rrGJejqO6xbS2VNttDVyocg4sf5oWFffs9ITGmdsji4CCjyMT/sZ99oJVSfKelpmSKbMdFKf/DgXw9r7h1RoQIoZZsXSqQnUp1ZCrMDsdgLVg4vS0Ggxi+F+oAmQhGKW4EyhYRQb0TOcS6atFUqlQeGXVnOlcKCDI5o35HBmioadlaF0+swsKOCVS+LcblJ9UN+gSrizkftA/OV7RGetN5dzPobpxc1JxNkow9Z76J/b4NYs9Codpg4wY8ym7Un/hBG/bJVO6ThTcKTfZeRhHcl7i3aldlHf9RC5mPzx4uR9EQYU7+UyAdQqBsSTBKHPOqhRmesK1i3m2erISF6VwMfYfwG/SGUjaEJ4DzNM0dX7jIqDJbFGwik4O3fyYZkQeqXyIC6H1xG2V0Zb4WGG6WclKSO7EytXhIQwJdSxRon16Tu1cu8nY0GBCaMbvLW3xre6YhKDv4lTjAHDfYudVHiLySUXGdnmx5nfr3K+Q9oKc+vIdl6DKJ90ZUUn1OqZcb1VDDlWUN9Gb2c9OIeIboxnGuaSzlOM/xcFQVTCYv6pGp+bkv6IWUu10ALim3mUrd4sNMUBZFZyOCWF3IYRyIHwPS8PSnmoKHhu19ZBH21BPq4Ss8HjeEUqw6M0hB20RGYPgspJixuMt48aeR5XWZHncHKKc5/BCB0pVv4enD8lNrhvPsbKU4tp+AorrAkr5lqDu8IbDawInUlx5irLcL31M1tylitW5pKoZthd7VXUZ0wrDYb/J+f8MzI3DXN2EKnldpRPn/p4YhqPH3l3hzdlo3bPn7EIwGjPgAReFc6v4xTUXJ1zFf4Y9dHXIS47EimLr7hoz1CGYnqeyW34UvUts0wUW9P+GjG26g43r8tz7rkt/20e4temHSUI99AJt4X2J4frN3yHm9bRRd9sa360msh8ZaTOw/ytIIgrLsyCAdrlBllar6iw1Zjc11G55qh1oz0MoXh6RrEZZrB4i7uQABIbUAnY15MhJ6pv3keXGjbli/Ie8u2/RJIHPzw83+pEPDi65nJ8cpqD8RBtUke9YDdwA37s/JE6kOk8pUfIiU7BUCJ0SiuX4tVPmAbohKseiR3/iDw7X51aQDq5+zqamlrSx0Mgwu2aNjD8BLpUGbpamxnuIqXbaJ1zAD345rOkh6tzFppxs9n8VkoWTGPtfOej+SaHsuHduaer0DXNjbG2IZonWe/Bv0jgLVnvI8cZa0X7wnasHaJnmuXIqCTloKzqET2rbFnBODEAj9/NSk4UFtw3F/eEzOLa69pykHsPGsXg+InAIckj6Jz+tylKgC9AFpsBfyNHPgcSuoq/o3hF4cOIzyJtaUWZOTGXDLNhgJ5QMSjdW5nyg8yPRFDPSqmACpyejo7H2qz3rC68f3DNsYn5bxeTRMPoUcHkymIoZqKklZdcKpC93PPbdYYMWUKOVAnEthqZZyy99xU5HKB3O6Ld4yRG+sD8PTrG5heyJB0IOujXaUDmygZ2AF3Rwj+KxCIrV/DOM4rq4ddRmt5BXl+0b00+qIgdIVMbxEPPIcu2TunwOOcsHds9ipwYY6HVTTkoEQ97uyKryNvkPwtrttMgs+j4iXLenDWQKt0DyxsLS8oU7hm7ObNNV6seIf2am4OXUcqRqPMpesSJisZvCfDwi+pRtJ3tt61lgNKj1YYB8FVac/JZjBGBCSFB6QeZnxZ33RaWqU8tUcwZj9S8I9y/ZIK9UQNmN9D0dq24CTyS2bXgBdEUEHrLnvmfWAipbG7XTJUaGS2mPh3iylZShpAmhMGmh72vhAGHxg9xIdv3G6cm9vMn6tFyzfwlsGSeXVFbWSIqmx+ZqUvsYjmo9SijHVrVoQm8vzob7QnEohkogj6ni7O1ZySaWBcozc2rtc7v5NhgGJUm5hHMiP9vnt3l2S2bg6+W+nKZE2wjSF4zJCnR7HkeKZuHNFQWPy83GNiK11jH1s/SJ7y3UTSQNhz8HKBkCvnstXYcJTxgNrYS+fwC8+eZ2bHaQLnOLGEeN8s3Im1AI6vM+mPnhzT7D/cE3CDiH0khFJ0JJhqPY9rloKN582a8Df7+OWpQMgQ8Ip9f5/mLXfI8x3EXRG8lwkbwXV/L8MobV8LpyASJNLLh/U/8KfPEGLPLOzK/SfBlxqQ6us5sxrOoeC+rhnklhPyx8XesbdtWIk9m+aleJbhzHs98+a57xFfCBMyZidAFQdytaAG7mNb8eUQmZ9kSEcQ6TCblaOy7DUs5keBfld8a/VEbJTaVgte7YsmTBE1RQd/n9WTD5uvkEj4793xXkAXjGrNcYU7DUl2C5wG+s0CEUukkWyC2WkBgYFRi+FD7+vk1cdFE5BMtgu02B6tqmQIATAIpnGMTJEiwGSYxJF5QjUC1z8J/WqwoN2AMlYD1XnS+UA8SnfT+ToEU3a2WE3DPkSe+CPcaB/fVvVZUT9a4cA60xQ1NkRrheRUbvnylNF3DXhFuYs3nn+S92px5V+nCtmAUcFWmQCNWqxvmiXOS05wyaNhR874XUpQiHV2uRWJAoaIM3+dVAuEPe4/Qr5LUgSZo5osy+JG7STOmJouvxcbORTGAOae+JUWEiYgjIueaihIyHXMf0j0mEBSieNZa7XOLxPC0DKCQrzMkavnlBl+wEy+6HizFPqkns5sOXu4tJXCkysfDlHROMVPn5YKL7AlN8Hc+yBWyqaS8apxkFxDtBnHFvIoRuUWvVOijc5bYGQ3VunwGvwUuN+2tYRoiqcJx04vGUttEsHrvP/X6enCs7Tzp2GFd5uDr2sNtbKDFbVYHnFSMiW92wkS+H1KPYD29N7JttC27fPh1jLCHIem/sSfV/9HB8MYzN12B3DBIRKQMnKWQ+ek6mcR7tKtzECfUXPFEawJgFi3Wh5Bt40O5TB5ZjFUqz6deqTPPfxEQly1kSe/V+9MRXS5eV2xiwVDFHdUYv14GAeEPqaPzTs1Ma3Wfy/lAzLiYDNmVGlw+1vslqX9+UtDsVqEQCekAALUWluqiBEJjw3EXh2eMZtMd5nnCjMjswd8dS9fZWxAsbvP/kIjgADGcUSFuzbKTJmFmXpI0OcwX73HyHa60c/IJBnndr45ZmamTs4+umhs5ENnROcZshj9rFAaSd2ZyWbto41K+e17AyNJMJUgDkrFWQFWT9ilMTwsOH6KsvPnoDX5oaT1G3qyCJHr9AIO5JS6xgdBHPtij4Z46hKdM78zv/jpH9FuMdG7kB6xnlCzxwk1xZnDvAhyPbrRaah8zDdO8RfnH3dvcuauxBHyJIB7QUo5VnhHxqwJW2+W8BvgjQ97Sp3pu3ngzlQX+MiYaDrXpVzB2aCrdV9aEUYoWFQncZmn/GnlOxP0H60x5sk7zcdHeqtnadh4DgaHWHFyNkprLFisRfi/YWmase0ONsjwHuxZ66Y0BltXLBLESpswABhgbOEIx5D8TPHYMGMgY4LPcss5l+HymGdY3NDP+s/CxKY8uEhSzJgG8malg30F3KvNHLADXYM1bxam0r1LwO5E1+IstxTZjFS6taGzhLcJCaZvELPzaL3ATlmVqDaH/HvI9lQXLYyi/ioTZ/VLtxhzSmqntblGRqujDVXJYOyW6QxBEWIX0H+CE2YGDZ74QOmyEENjCTCBd9sQ3StdTo6tB8voiTOpywV1JVFpW3DGwrlM/3we9x+os9YqlDmUr9zPgld864weoBr+i/7YJuiCQJG09fj+udRITLyvwYKbceE5Nd9oYh7P2ZZPxkulyWLFT2PBAB9W6A0dlhfYM8ZooPHN6oNVOOQ3AYRwuQOrQ3XD1aQnITTP0/TcEl2/CxUoFCIFsh1xBUYPZqZ2G99BaJSPOKJsStmsIX//3GnjUA45KTn2JykH5JrRvowAvsC6ivMu2uUbyCBkaUm9gSfaSKq1mmBzwPV2L2B4VHJTTYcSXr8Lvzu7wUCva2MdnKHTJUZZZ3hB9E+yE6Fbv9m8ap6LGfR2O6qpqkKj1YGIjmh6wFNQKB9X/32AjTFWxJqhB7M11ghJRugvywApYJ/z63kdl6AKNwgqmiHkdykGITESOS5cBcWycD/IQSlXJd4h6o1woBVLqh6Vh2X0yVEMXJRUmHXGVpQxYnCtlfJ0sB3mB1FolvqVEO/Ls18bpM88+5+t8WRCkyCfW2WycUp6yw5t8VS3//oxcb/V2mKKnDqiDADmtdW9IoTAIH0iNCDlDgqk9doVDJU9y9KduOuAH9lH5API7XpWeXVr6BuJ+Q4pf/RDIe1XF9kaV0SndgWjsWbqFqWqel+4cB90q1ep4Zjw+IA+4vEobmTF1zNpkEsVABB9Qbb+9+pueBNKlfcBfjzAqxvIT3s1Nc68NYWQiuqWxMibeHQnDmWvaYcPFXTcnfcl+wxjETl5gcwJHTxQcOEcaSN6Nzf/ptLpYZZtwxFFzaf0YkShDY7du+NcCPEiIn7tFqAT86wmWYGxtVW73HrFED8gdxzhzqtd3mySY3dw0eXCn9eLHr2aed9+kc91MTx6qaxVxCow4QnCM2766QAKoafcPIrDQ1dqMr4l+r8QmxQU/anUKmVqBLjnaO4bkrVzzcJKGSGK6q36uNLi8yDBNsLNgt7+hiLNTFafVGRknoIO3bczuoAVoPShiyXIidQscSm21pwM1IXtlAV8/3Nb/bL57FW6zaqlln5apUmlr/cfclsRSozDypSMd8bPVDUyAtWJQ5utTAZ8Nz7EIOEcGixxbK6ug6Mf/cJyJoI+N3OjU21d5v+hL/JAyUQGkGmjDX/z3sRsLLQcrh0WHO6VszZ38JSn0Adid3CwmyigUOvZjw/HzBDQcTKPxLHnbgI9ZfBQ+6gKJTarS3W3SLV96hLANY8WvlffQJh2K4TC+N0tn804Sz4RiFMQMA77Po+zIrChhHinwzA7LR8TuTbeZKyUq54YrWMpZhYNwWJZ/FxrLEDzlMjkri177IarLke/19z+bdCQ0XcF/2lxBkOqMxkS7IG3co9lT9mxFjC2QLwRC9u7OFXnwrLuKSCaPLebxRkJ+NOieDTWcRIU31EoMKe2v7QrtOn5oIyfJp6Oo8VDmEPcNc1yvWpxPGCuYfSvmcoGGMpahhii8a8NPah9hn/GNqR+YgwLUBCfwgfjJBH92vpnOKgV0egDhNjSHlWDv+IbXXEsGnWMMniO4QXTeXB5wrtOELC/R95I+BS0gPQicl0RcmpApzSwUniZR3M9/cr09+e9E4M6JmS9F2BccCTl/gm9bALifSfhdn58iiv5sE12nccExFi7qK2hM7+21b/juJfUAGXIpxAzQ6xGU/GfeW7za7/LHxxMWikbnCiCNnZoSOfddDt2iSdU/vE6obwTZFcU0JkBR88cAjcJs1yDVwTP0uxha/+w1HT3wEAxrOyzlyDU480v4aJSeeUoZF4f7xdNWV6IfXS4vB1Nmy5BMNqCieMoku0GkfW2t2nt3L9gynIEYMkoMVB46MZJnQa+ASqS9y4iLt9v5x18IM7k/fvrgJi7t0pNUpxBHVvXwvkMpUfsoBhasWmfFfUr6kF/VVX1jTTdRNOpsdyDyyOtTrIXfcRV0Udef31iBBx5IYaDOomC67F+nfEg+jp4C2UZnEPjJ5U0Ukhdvh/iLhImbwQM1ArhW6O+uh6EoMlYCPf21wRT0tzBe5+78X1Uhmo9LeQKrVk/dbB1HGnndDiqnd/LssppgLn269ImEEZfH4u/+4WKdD0hfTGyhz19PKa6WFT09ldK3LT4cZIu+ABhhljuh9st/H7UnGFO8en2iCYy9TTVjhsZxOs4gfJSG3fenPv9pPYI2ERqzJTYRUhQmIZxgzuQulT1+9oCqLZQy6EvNL8vfa3pcpSN6gkL2KYK2UzPWR1UH7Gf8GjlsqABz8tKQb8cGqyoAFZ62SFNaq/Ca1y14iRHseMceIRO22we8ugAUPAed8zDZtYmPsDPQjTM99VnryKrtHNhM5hGLdEGSMOoOERWZnDZjVV7UfbVtXJvWUgXbTF7FFSL4Krek4QyrnVqWuNEprSMPeo/FXML81jtEPpYl0ouDheyuJrdpYC0DfNbDffj9/HAsl4x2EN6VcjZQUphLPvyNURLpKJ/ELS4fmZvpBEYV6RxMCannBO2IKSyOoT59z4MAtWJRbbGup33JJarFu64QGW4wyi9wfWmzmLOOx89EPTm2YHot1/nvZq8J7WEF7VmoP/v1Tk8Ts+/x8q/pqj848B47uHMCCF4dR1YXJeX/2gwTEWaFoOgthKf6MasKQCCbgajleOMAAJ744LZspNYiZr91bOUiHWInd+G9BVb8Q1DTd1l3nRXbBaB7VSRc+3faekzR6SPVMA3/8htPIYUnLnWwIdf7Z5dfRth1uFage5WHK5OUq+yp+yemIRWKa4N2jAoeCPil85hORnySok+0joDOcbJQaGXytaj8nVbWiLRCLaWLs1L5hdyKmfmYIrB25KeFihbiTZI8wHq3rhrYKTIUinIqohe3nhgi925Hf5rZRRRccr0/HFXS2KJtx8gS67qcCa8hq2e8IR75gX7xG27mwh8Iq2CeaamePG3372DLn+At8Df70EbUMk6FF4vhfpDQmrNBthCSC/VIrMByENutzXbTc/TanfVahCSgvZIfl+CiARiT+3i2ZTHSrbbfWBiWg+8sOthLpBV2QAnXsSMwq7f0rrnJv4VKCWk/ZsbcxRRQgud6dlmgxk19/jJ+fT/cHpWqIUa6mqPUxR1Q8Nhk7j98KedgwS8g5QY6GAByLbQCAfij3F/2Y01JLW4rjXzEgxyu1iIquzeh+vAwmFly3+sQzO5Ygb7iV2n54EVBrbwNCU5vkn//oxsWsBpu1+9c8Zx02jvTt03BjB+XfrPrL6YokvBI2sEJJ0noU8hKgVXfC63Uvtk327xHJM5ue1D6zFy8RGK+ytPy20pNyPX8bWdB9HNmiWCNal7tMISC9GF9GrLIswPIckHBvppz3ufQqsDJCIdHhvuP10yV7swcjufDOnVVro5D23ABwuia9WN37y6aD2oBzW6P7BMcIwKCmTJQB0QKP2faL0h5TLy+iOOZ7AGNm3QcR5OYtAsYOMfLLYiPwoorGL0gFuKFMuhHP2NNknLKUI1c6y0p7UecOw7kpduadKvc43t01OJH4URCHwLXz5l+Ye9VDC6RwoOYAAmhqMuD+Ip/mRv5w7rUKAB5orn3B05gS5KsjO1ZvQTjJY8OiDJO1xS540QtFsx3CJwZQPjyB2EzG1M5CXBECIyojD0OrBu6eBBoVlxtHdc0mlqp+zOnWYlYxJg3jqsGETVM41EAYv8GujqVihyRurO9XiFYbHAw9RzaiCLwTzdNG3ucPYj534JSx31vesAoxmy6HNI86o/Tpox1f0a4qLY8bh2W1dKuMwy/bewWUqR+rkZeauP1SvF4tmXKMAqFExk8OyZtdx95o/Ro07ilH8EXh+AxWVDA8Eb3jRcL5SE6Zw4klORjVYv1AoTqiWByVYMJwA9idxbepluPvfru/IlsCWCK16JIp3Hb+wrsNGEoGU7opK/pzOdQWL74e3eQ63E8Im5vYbUHS36Vm2+ZH+OVzHM4p52OltmhY69sgK5Jy6+/Fh8TkvwC6q3+ksEsDNOeSpVv/kgE1A5GhnvgV8+k3bHr/WclCKURJCw9xil21PERV05d4KnxVCZ7Uw5g8e+5xgY2WwBb5NY2tOZXUej2lj9oE22vA78tVlGPQhdupAj25VD8I3VLmsAO4AFuL/q/cHa9D9UwPtnMIV34i8NY8QLIFx/MG4QMxfCBln+/9vIHdVWpxK+xJpYA4MSSYlomTRt6Wfj/fXCo/50uCbphSv3XmX261kD9tY+hoxIns+qcIPxJf8+Hz8UqW7+rOyQ4Qg6SvzAViR3MBRxfVW0MBaaPSzqplA1625nvWi+ugNyO++/zRIDguiUipRMcAMjo2v1t4YLSiAaPhATxUTBoK1AlUoN6H1NMFNLXDFOrEJ7WpKBKGdMRDJC4PXZolxqLwkoDZHPiZElLYWyZrwdeeH0gIVI056c+Xkg2LTFZ4xCsWs8498oChHSloMcEpZkrYOZlV4c9K7AGBax+2tiDecKJ76MZyw5l7lmkS0e0YMdcc4jfAgd1Et92FGZar21/x5otqfsZIYE4gBwZ20y6mv3pIi9CY2w4GhkNlnE/1StBxlNO2bqNtQnbB4xDlm+oLSQt0UmdN2dOtYyiWsEICbOSWthKF6gdSC3Q3BsXfJSMAgAbukB29qiHqA32/ZOSMXKBpq5JhVGTpI8C3YPDw/WuvTMTeuuCLYAKYd7tCHkVLz3MTNn3fcpdsiVnyvxvA+dzxXxc6u4L0Yi9rM+WJgfRC4vY86ssTboQgNbq4wUUnSeewwKzAAh9U4qirbAGlNHnLOxX32vcINgyhY9R43tU+23zSu93wtm7dBJEBa5abg/aDYWgUrkAvi1X8WD480NUh6NhH3QCLy320eTy5qGMKXk/zbVI+4WgjAD10QKT8UIv6pEYhChxL8ALu17kbL0PlIyc2c6hjbNxFLqzM74oY0pVJsImMJMHfvRJbcDyH/lD9bhX0LrdEHQIvef+IEuQCFC3WiUF5Z06OOJ5VNPd69HV0a4ElyNLYLMgro2BqmZ50YwM9xFYNHMQ/GxGMMo/fOPXgxz1JhdWyMEZgLwvCWF2N0t9RdDdVfnh3xnqWsq/rulv4VhX0qYHV0pZ8MpNnFlg9nfcCm9KHymf+VzsdASzeawxv49W1cXbyxoy9t/gRT3PkHDNKKvaH6hpV1E/80FWbqQuDbmUz1aAtc+fjAQ9xhBaGgfHVubkDTHdA2OUwJNS2Y/mBoZMdktVtnPk58mAif9g+rjnuWtP7jM4urnFdWH2ljksedYSqlGjXoAUnwANLOQBzBL0rWsDR8hbPZ5LhSGoQmqj3HCEN0eTQnC6HlETdkvzhEgjN5GLP+caVTyREx1380hDG5Z9RJm2ORRBC9n193ABdxCiPOc3A0TqtEZlrjQ9ZQKAT1UTEaEL0586mOrqHxDuTUYRxoRc8QrER8rDVR1Xr7nJ2SFmdmPKD3Yd5tsjaM1Rx0FH2liT1+BKHoPXfZX8lSdY1TheSUrIEjApa2T835rOR3TFDp1DPP2MdHfKv235hLXVhJ9e34qK4DwtwzG5DarcPIwsFacgxPigGgJjQa6gvdmlIDq+pzkTVjn/a4Y1laQX9ZBLaXqILNlTWsTEdgVJzWjlESPdtCn5mxcI6tFbncy0KQmjiijA4CioI1WablMF28BJY2ZkgJ37POE6lwr1evRXE6G7yv1Xvc1IElCvH2+snUnzv8XVgQs9xQFzEu4Y5qKPu7cYUR2eMBstogw1fgUwQjiCae2haVET9A+JWAy0fDc5ssR7VAR927fRed1D8uuB5F4dSeLI0fVL9EK4JkepsU/sWI6CcvLeZ8hYhgbZLHjnJmJXJuB1P2bOHfAPc3jjaAGg++IVIwoc370u8M2GLaX2JM2+942GC4az2pW8JNajQULckvgNqg3kRIurQozgrc5KN99iNyf5tXwibZWpiRFF3fa4BAqYKpNL56lRveP5vDVK8/7LqPpED7FUGpBlbS4jezAx+IrjcD58gf1K8ll17SfSRzg+fGfOtL7T6GS2oA81NEC/BbbdU6b4ehKdAGRQo4cmmGaPFraXVX9zRAX4qIU0kqA/mvu4aF7XnIlzaAbRMoyHMpmwmgTsN/T2KWqD/g5dlbmdEWHpQthIDaGn+Okxv/Rr2qPiUIDPGQzS439JPmaXAfCZG4iT5D4CwaJNsVhv9oWa1IEZoKxpZyE3j00ZETsymYQZW3DTE0J+6Jln9XwbNmWlFL9q99mjrFUFxG5QpKDe9r2i5kxBx6lEU2RP/HuqM5UQ6A+yN+EIlHixk8mXyawg514+eRx02DVeEQuqHooQi5K7OSnBj2RfifFW/Ro9WD1Yn1tuTFCLoMRgBAeyW7UnboHB1OK3V2wGDN3ULS6R/OpF8esCh12m10fDeVPrkC+ADijLbu1h2Wdg9YLIZRWO70jO4E5RDYxcqYCUhYVxV7wICJyjRaFUYda/kWmRTASF/FAyiKHaYQcE0nvYnOs+ltqzqozMzFPWkBlIqIQYrNvp7uu7sIQ4cW0mt/EjhjVzD68JiuysodOgrgwjluVI+uYSpBl+YGDkfKFfEm2zHbolzk6EWQMLswtGU8Px99VtbhmW5/u1fPaaOKtJt6ccTUmIYf3L+rDOQmdhxIuNmmRadJkAkv3L5JTmEU5rVn5SNcCfgrugcQO3myHLkg/oT8AsA1IcTovt6+qa4g+3d9osPehrMLcHBMn2lHV4YaGz6gqfcW3XDmrfYNviYYRRRbNHb6QiczF8FioUHHiHqq6LjWR2m3SbHiHqp6B8Xs9qO2YdI+i2j8lWz0EQmyxsBGRSHcH6tUxQngAaO3p/astVzzFDghXXe5DuV0WicjlM2fTb5qmg9noJcTimWIKh+dAXjU47KSjtcL7U3mRNfAHNol+uaDw8HktyIG4KnjyKT9l4GVxC6Hla+yYdyc61toBNypNGD8v8lRtBBLuf7P3HJx7rg+8oCQl2ErB9vYdyMpdeb4LFYZzYH+m+IS5LWdexYuentuEGQTyRXxX9N0IDxNq6ShK5LVAc0cL/nQr2sURR5DmZ2IV6Ad8mCMC4b8Gzpvv33oF3JKQv2WYSpyZnWBC4uoNdx3zqmLTY7DeEmAS6lZZhe98OuG050MJx4rFRCU7sQftRWyZ5HWXDUfPol1Ok/FHfU7FSD9NDc/Kr2ML8xlgFA4XVbQjbuiNQ9MtRoM05vZvrOfdX/0j0g3PW8Tz2KZ2TJ/CA/6vU4pP8tdd9xW3PkgqTAid0uQLp117VSuHAFd5tn3yfz8N4d6voW0mm3RfmsgcxXifPWGIkAmVitiTYppGkDH2MiFcOdMbKaUuQMulNvp+I42nx42L4N980acDHeBTvZTw0Yfzp1Cf3UVNIaqK95b78jWqPsetw1eVKaPKk/2Yh1OyBsB02eRLTzelaScNEemEkfJDzoit3nbcnseWtUfuAKlu9eYIGHMyUMJ6k8luo6XI8sp0u1V6zzv7j4joIkt2Vzh1yi4SRUsPar2v3OvFJ1Z8zMUy0/e1u87ajHpyi6OEFwrh+XcRJ4bwdl8pLJZXKAhE4Rs99vcmUfaF8fNLEaVm5L1bTSVI7b9LQCBVkylo9j4T/ekV3T0Llk2iYImhLk7ADsRP3H75EHLCrcVZPE4K+1FT6qEKN7Jf8TA7nB27XFw3Y6Ov5gMOyhMMGK29nzkAZiRHOGgn3TsatVJa1nIcrqEgVsA4vEgYGZ1mXsLGd4et5yMT5ThQgX37XmD5PEw4xD7KWi0sW8dXoWNXckZyuphnh1uLecad+0vKNZrWNp41yCyYTjpbEtpVrJH7JihpLgzs+35cr4Lzds4QigfQeZqilW/sb8R1efeDBG5u19Etzd8MMQwXFRnNkgPoeRRlskAU4EB/qRFgTkt+quiKRVBSb5KGOd1PLHFahtK2nIg1TUub3/pSwcYRWIaJ8x0sP7uz0ap7/fefOdmDJS7oZ9ZIziOCEFk7zf9JKpkkmMlFVUULtYjPa3QYECJ6q89kS9oBEgNbaQSNHDFUiJs36DXNtJbu8PW5Mv+edu9/KHlcMTamWWDcdsCWi37QkMbkdyMx+ayFmkRl6QQuwT7il8dyJpQK4h/KM33EAWhWA8U0b8Fa92oR8ppUa7Q7JBFUMYOXdP4jnGc9tA2bVlLJxx2h2a0mda2kOy8Rau18i+2IEPX321aLjHQGsF8s1mpE68mFeq78U7XIlKyidimDObnaR2i/aOkDiPlX+9cZcEqDUdBSEvYISiyUceHEtVQUwATgZvdnivyDBgDnEqbIFodvdgeyus00vDqSAxoPsMKVmIMYLbDDa9p+U3RGLQMCyGdRhVQxKppZjiUKk3ZSAwQlRkgAlk4Cd291wmVZ4phuqlQ55IbLetcpmuKlBYmO0cOUWaRQKhqJ8X5Ug0rHVlONT3fe5VT48cCJ3NskZwjM3I9dFLOed1rfR01xojc0AhSDe95diFU9z5aS8DWGsrQJx07g4+ocuh7Git08/Dal/mfCeNtIEo2O9Bl/Yb8U2KHf2w6jCyxl0bY6p3WIyRZjisdxXxTJUQi6ytKh/Xapt6mT5qLgFaK+BY+H46V6Dj7bZbVXN4iyTzDpa3YomkaUC4PZpw09uVJ3W4XuLJ1qnFCm8qJUHkDaDTCjZL72TI0nM0L3ufx0Abw/q+KRyjRC8TntqHBMxxKtlaFbJky191I5bukABz8y5oT0HNlwuSVBQ/4LnTkZzwcJAij94mRCJsclLvQ/CWho1BytP7YMwTV8v4AB2JSrD0HBp5fVZhBbwuFWeujWj3r8tVmkD5cnkCn4aEMag8jQICaS2XXAkgV4/yRgLYD7ELr7+vXHHVa7X6ht6trWEKNxXSqDUURVBQC4pwNs/O+Sx8rtkBJURW1aFfSarExFcqVn8YYlAoTNsszWIffx0eQtRytqKO04iSXzhszVAN1K3Akqs8UoLzg4XZsC/zLkHYpT2Valu7taOvrenoerfU5ZHRzHPL9xdc26/rE7QItqVzFo4qmuIysu4afC+gqrdZgrNBSsVXQFr9LiMcUUhhI1hdyIWPpugYNkwOh9QY/2z68GwrnV9p2JXiOdNUIpS+Myu244EcKuCa0j465PrTsNRA6jTLrFXt/jLBk6rQcrzlIGtiil73bfkkXM0liXyxwmTiUoQPjRJu4oZslzqPb0BbFRDGPY4P6E6RpOJU+VhlWXrYMZtdGvNq+dbKnQYD5Teb8/ThceM1UXsBdKDyK6x6S+EfDSA9UX4kfgvn6RAm9sOBqtaRUIoIDdEsOoWaWR8kbk9FFV7TU/8NGe/ULH/ecHz/T5jqLkJ5+eXPXf3YnGWj78umY6MvJ8+dztnswWeymGVKj4nTp/xNJ58VGVU/X7pjo7EMDY4Fghw7S6ExPAzj04QNfU3BVkT4eiIlupH1Zu8VCOdJMa/0Ff+3B/OvHQBXgFkDF+1+mrpyUGfV+2D6ySxv9Ktvf99JlGey5neoWAP6mVuyF32NLzpI92mm1smMaXEfPQiztah+/uRDq8JCTbN2Lz+Nb7ukLFLctA3opyusq8peRlEXlPKCo6NcC9JFNdTpfMxXeeVqDjTqVurEk19xYdMj81iv1HeoaxyCmvDsf3Wy4/jT7HXu5SgH2uUtv7tUIOc9gdrihP+tVHgKboCDAyG4A8cbbqdXxXV4Ai20HfvQ1h84RAohfuXw6wjckA/C4ilT4VdNiBtlRp8pikkPAFixZKxOLSk4kZYQT+Dd8Sh/5JZlgM1pmdV+EjE2M2EAqeWvidV0JQ2nMX3dX5hwQsixqotRL+CxVPGyecxBNq13ZvBOV8zXoDFI8oTiCSwtL5pOo3hothwU7LjNyJhOKFTXoIu6rq3RMmPdulnK4MAeAukO4iyrF1l7ufmJK9OnsiNbyhx4X8idFz4W/LeWrKPwiCqyDaUb4zX6gjSbGgu7ncNn7hmuiev3CZRCpK8B0tksHQZGjdK0M3crdp5dRXSD4F9hq9yJQYuO6EborVT4x+z6aaUnCYncs8E8tXcLE1UyxsN8qojy9MgUCcuHYES/HQS0vspmS/QHTVOJjY0SNI1QrX6OtqKJzXU2OOfq523fBG7dSKdj3XfVZZBbMOkHXEHyxi3Mgo3KwPYn1qakDxGKKfH/aOONpVSOYtcmcTIQjg5rOD0GLsVUbYpNEbGvkiu9HQhWWMf/SOZrlHqphxkVb9nI+r9gbZdmrmQMEAOnB47b5sBkVM05f+PilGqpcn7GkECPPm30+H3ehL/b0rYifcRf/fgP+EWlko567aFGpQxa/7Ma3GAslQj5fR2b644bebTE8cet4bg+HZgND3x2tT4HkedXdqOQ8Yc7vZ7FtHf2TV6Ok3GPohyQLf/J+JbWCUiDe5shamCremS08Ypyeh3aQpKZsA7kCGivjY+WiQUZB7cl0kTgOj2JUqrCBv/ShlWAmfBOJ2jcK075aKy3ZLosWCiVnnHMfNZnXC4l/h5SbHX040vcJbKqIKvlkO6/DQsTX/VJMgdtT1Y36+VoqhiaPRCVZcpzRwYrT8beXTMUvZILPFMY5wu9mhdwpX+NAoJTw/0J5KlshvkIp/Q4ZzUAIzg0u6rsLtn/tKi+nWYQHEcvUJl0CgO53X81WOJy6P863bxRSx+hhBvnaPSUQvTrq9q/pgWsbCmkXqjC2LYACI8onwiIfrYf0EX+CzxjYlL7+BLjhx+NAtbMrann10a0/3kTmCns9yjQ8HiaW91Rxu+uYPVhwf1EPP81k1WJtILqQA3vQlAO/zIs1+e8bz8nA9ga+87SjWjIm1xepkTdHWjOC7pyP9X4yXVsEaF8wh2aPLdCcZ6GWLiHxx9fH4WPOVwlkfGDt1W/teuHU0nCeQXiLTVeri+QGRu2cI7Nrjq96PDQG/LUzRjYI6k8YpHyX6wHya4IyA35Lql5q8GEkG1GhGZM7r6cP3z5C2ozQ4UOTuk0Z2OHXhUk9Bl2XtGPyLF3Okf0Ui8XI6up+hPLQ2yzD/84H2NOi8rNuWs9SXwR7T7QgbQX3ibIqpFaMwKqla6mHRMSWcWsCcBPVwxCmjBOVJg1SsTm5+nH9oUywAntP38gthL/IhSAMvasB6tehnoR35nDDYkCKtQlYIagtJFFX6TmwqSUZnLkPgzIpQRa0LKZIqjpviiTeaYAujg12zjRB4H/gb21b2oUAkf5AISaR5ffiqACD01ESMPUdcLG92p7HJ2saqtZoyi9Hr3drHJqbR2nw75fTYEdaw0pEG5Nth1RGlHYGsR3ITq0kiurPA6ke1RBGOIgmsjyG/kzqFtJqqTlCL/KF9R/NKOyi3dKK+tS9SFobbHTsMEl9cIbvx2l75uEb3X8Am2lcCT1oUWuxzvjGmkw3uQbIJbc4REWssNB+dA2weN3KfUnAofoFzmAtqT7xI1pqzOVKGkEkZaRVl3vY6yVoCI/lQCnqK/UbM1Yl4akGjqxoEAvNe01M81sRMzuadqfNR9vTnI4Jt4oUuEELhF6gC/k0/e0LFm0GK9TqDq/ScTINCHIIKUvgZvOZDp9YrZibGHQ72hdQ5qjp12xgK6RtL4S+/ydeIOtn8AE/oAdnjO5Sa6h+KK3AA81lkW9K0nfqE8h2+Jxa/dPdzMqPvFLHCRY2J2R+ekCJ9BToWMQnAAF2ipCJ9uDdaI6bTt5xp7XOwg6/K/niL4l1hoifJPXqh7nMY5uMnay9sXGP9JUXmaUueTfDNLh3JYeJvRTMOyW2yKexQ6Ihx6aJE24jS/TGTtzUntl+KkJx4XIF/Vci0c2AURE3EeXYPzK4Qkd7Xd9/O6orHN/N3LtUM7DryZ2dfKTTw7QlDjbdM6X6i9yAO/NfRIWyKPuzpQJ/xu9GYQnom/3dXSUgu2/3peCB8Ksw4CCIaVfBvSI1yiDoTeA2i9E7/sy85MAtpZ0MG5O4UCsewKOEVuYtFLgIuJltpDxSYfE17nYD9Bh3ycEOh0LK8VogI4Tu2EzIWbYqOSgyeWkeCD59Fw4uYqL7Cdx4eBSkm4GdjE9zQA/EXEzuWLS5Vgewpr+3GnqtHY9Ge2y3EFfRKf++9ql6FiVb/DmteURXsQihjtafsuJIuh63Dv3QP+fcCTm6GPqy76S4uNnIMBz8XlJpscQF2G80CTywstHGRSxkgO6rUFAo6kA639gaaNBvvqi0AhYNL++/HuXFf4b6/YkQGZnWSuSLrL4UToH+Ydwrn6tlz8VmbzImiuxfV0AoVW89SMQVQbNNL9RWUPCwjQ2zw7kIWnE2F3IFDzdyph6gZLBUQsyeqYxdoki90Kt7psA38sQDzTKjd9iRiEtoNg2ANim0urgASV8FuH8ez9oVCkXgkECrC2GtVDm6A7WmYCYlsxhrOlB7wbbauKNLlZuuca0w9wPa3yhcH81+uP6Vq0+cZwBKGdVfJFZsxCAaey9irnnQ9bQ4iUV4rHQd7Ri8Ew3NKckZDh88i6UCfILFA9mRAJX9JBi5DH2SgYZwR+kM01gcS0FMwu6vXmnihpnndvSt1Hgy1v0iM0LqHhE3xQB0zUZye9ypyCwXPospKIhZDfqFFPpH8ResX10Ic8HLoUDrtqCIZeegcUrd31kQf+veIRGG+7UQKkLmXdAeWD+fDtlLaANHtCzpV8QYqqQ6oMBRZLryRc1JE04YsXHdSl94Tu9egZzp8QORmuO0yzkfXWLrmOS9SBeSh1FQQZtzVDPkwOJQ0VqBdGTH5SWCGw/j+OfVHIl3ilLwq4dz49LoZrtQiMNmWUEI2GxtPzO1P3SwMjssLiM7I4eSnC5pP18Du4DVWF0/SN2np8ONbRpMoJqt0hfK2vTZynPwv2h004Q2vqjw2W1b/pm5jSOZd3oM0ApqodWxPEiVB5Z+HzlSucVnKTDx7MMx5RTd9SXEbj7/rTs5Q6+7WLSxKYjhcFCVUJBr8pX6ZQ5kRa5Tm8VGmc0WqDLCSwpncXfIgaJEkkMX8qBbhUby3RheSZygNWigzbt/dPLtK9lv4AkXcfz5RXH4FMFBCVojKJYqtBFS3uDGkJzay4tCFUqLleT7L0MVTKF8Ey8wtuMU4yTJdT5KCA8Le1/xTjEkxYwJRv1Tm0WEEtnHODUFJGZeFXsAPCGv3TUaYlcv35FX0DtAKXr+wUh60QjHryZ2zeKE1iTGQThffpjblnseNR5geoY3NVPM/MYplPm3Bq3Qxgb1xEVEHCWjCvfMTf41pkxyaxSn9snMJpvODl+p1hko1AN0642N2685J+3wq0YM8BEoQpx18/lRMqksIZIvf6FNzeW7iLs21ZQxFNESV1NP6pTYAHKKfQdUh7xdlZM+STNaqhDvs6yTvKhnJnHf+aY/SOce8PAW47QQqreyNh5SBX4KNwMg9aen0lZYTQWiuhHQ6xFbAvEhjXIensUXoXresnbX2IyWaIqlAunpmtCY9kw5h6Z9ikmegqIUm0vLounuzdGpoO81Yp/JaXaWb5uURN1mPd7Hr/jBpcrOW2LhBqgYzcR6Anb7yfUA/8IKYbRfIJhDDSOUF7oD2iD6znRhPsKDQWPjjtFlHMIa1jOKt5MtQUA+uLX7YFxsbUYvhivUxIJvkbRaNmx+umnVP+JZE07Z+TGClyxhq3wQqrhzJ6uGh2wsU3dK6lsvxqdvBnTeoz7bs05brkjdF6iJQUjuKQ9/vudPXbzOPRz+8/fUzEmNH+A/6sZg4qaCHLUZVt7T+f7/WwndrCeS/qVK+an1H4p5XS3tt4Yr8AaQGlr8YuOrHKoqIHDePBfIsUjRE6RJ11/gbDjMQPgQ92Zz5EwVE/GuwYLWxbgc431a6AAdU7spXaMxkKA9dcRmIo8HEoLAbrpIdOqryRVp39/77Cec5OnfcOMMswB1g0rjXcBgw5EcG1ZJKVyOt28hul55Xt3ulH8EtYjbvYx5dOc99b/ipm9gWWCnCUryAe1mAWla4UEtgahtn2sfenWyzZblcdwXwh8iSPrYeX2AEFnZnVRFna+HCJ2gjUsdYZqoemQQmyQIdSIhBzFfZSJTBlxyJMLVNaP7x9LVQ/OTROo1RuHCPMe4fhUL0IPIthy9WB+cjDutZjin87uWTuxEcY01BU8FUeqm/4/PgV6I2/uZl4kVOwcjI7+K1C2i8notmZ4srj7dX09WbaUbfL+hBXs0wjZF/tHSxK1cOoQ+9ScrMyWx98fcvhlelLjBTB0hWxp53lJc3EiRvwA5dAp2l0OP7TCVvY0QlLWD/b5nvpMsWauoSqC6Q3gJXmitznLSHtWvplb5umiFw/QbIFUjDVwwBofDxUZqFxxgPA3itrc96v3O1q4mwOSqnWS6HdiFVDBu/bnDJKmGSDq9PT/4qxhahKwJJEeQk2GNFp6Rjmy82Sju5tI9JoxK0EkDyWGzu3LZ9WxpPTpPH/B85ffV4ELFeVme23ssU4eEl20kJhnz31rVi9ysdMKw67rCdjbW1Twvm4vNBOVzwZ+Gi3vLme6CEup2uxdyWUVboM6nlW7KkSdl8eXixuXC4D39sYTHNkfH36NnhtWMB/F2uauECKZC3P/NsWOMX/FpSaNyGAbKOqbCPUr8ibJyWJLaHmPY7hQYCTONoEWaLgnWVqWr9c2HDTS5YjiXMieEwizttjRielqRO7iGadyziyzPQxVcYrCYHveTg1ld4kTzYBCLNvKMqkwfgbQt4Uz7vsJh1lVvj21oyx173yfa6Te8CXYiCu9TyGwktCdww35pPAxkMR8d0BD0t0TNivuuFVq7IuX5iSNTXVNkRUwY1IZUQXMfneiduViJiYKNcPKw3+x5yOFvraNytcYGuAoTaD1z0YNuVoWzQouvHeVyx/9fGOoLvb9i4AZQVcBGooHacWVHhTd4xjS2jZZAdsfukk2BGx0O6svhTBuKab5W440Zj43kfhmRxjAWr5qHJekLFwYa5T+ul/Xlqja7g3tTzpUKLIGkQa1FG5HxmF81R2y1+5a8ysWBTTOiq5kXEt4oorapgjq4/wfAkbmAgdb5pU2dbaaRpRr0mvVkHJdIVNLjKcQqgMWjiB0elHorbKOh99Czez2n6aRs9hvx7V4qKbreOmbELn1rmDhP6yG5wxeQZl/4YuyGrPt6eqREtMLeAhvm4EW+S4+xbF6/V5GK+3r1e3DMQ42K6RkXeMWRK8GBdM6WQI1tcBkXq3j4kIRcxqxjk3m+4lySwVpb931bD2OcAhCXQbspYwG5RTTYFgeygyT3jsMrt7cCKf1JT/y3Mbwet9HFFow7Q2kT2x4k+azekNxnqOhH8+VzO7/2DTqp5+xGRpp7GuFHWW1PZ3ZyYb/BAPrT+7P7leB3AJKw1aecC/bRVwrFhu4/VOwq1rOgQK/GLHiaDXmuiLEocLgOk3nTMlCOs/svhLP9xHNaGnH4mfcq0UOqr4MUc4JzOhjQDKaOsRyz+9dv6N2JM3tTPp7/F5QJQiyXQniN/Zu/SX4XBRRILwoT6P7C7ZvzMXszgpjovxbj3Kih+SHYv4ZKM7wje99961h5PqBAJRQaf4IMfozQnIY3XQ+/hbHxvwI2GPyV1AhzCULpaLvpPUnBW1dyP1evwXsxt1Y/qdjqXHLRlSI+tDP8PAIseWHtIxYMIREkPWvaKeneDyA8cFTzgtYgTWEAhhjeS4TqXapJ+5Cueqi9FRpEmQzqiTuRWg5yz4A6Ivh5DFZeElhgdbIt0NEsLIuwinlH6Ty0RO8sgOt/QWVr0YjsuVDqwrVE/oykMh4Z9TVLRSz/dW/P3ExzNo16mY5goQeDh4bQLv7lbur7s23NJ53vDwHGnUlaEZnhYkc80pEHHSA2E7iBTf+IeMGV3oGb8SohkA8CSgF8lY43Wdv2R/B4s0Yf3h4Z+tBLHUILJVoXr9jRTrIHybhC2fbFk7FmodsPovIt2LyYRuWAOC1QOjKHcYx0mS+QV98FwHFUZ+cVNVB/DAMwK41vOm+k3fA/JBhgDBKLZuDwXuVpcPuiTJ+ACQgDoSJ3HtYu3jlsSJrgfAJ/dgyl+y3uACmLAyQh2Uv2Y9Op2bVS8honuXSlwPPxHmM3abWEfqWabOiWQ7tTn7henGjtwG6DZrS3QbktXACh+SEg1+/mljP3WLQU7oO/ir6Z+yejIB5kWK5P46Xyf58pldcelH9A45RIMwNWAt21OU22pnN6XZfYfF15HCFpcx4ivQ5+XIl1xduT8GZzEri9EK94Nf5/aDwexiQsNudNe/mABIfXa5K6q3i/0rne+DeJu3JFb44hkaf1+kUc8TOOzSjvRNbdFOCHOFId979oZjAyaiJQh45lfhV8E9V5SaAIl5pBxCvGoIDShcRj85mK8EIr5LGT7K6W4UaechZxIaunQyXsfzRXBubsrovAr74h7iifBKZQZGzXq5b3IJJG9wcHuAT1OOG6zyUwDMSqjGZYKJ8+njoI70KRnfAv+Izwx8yFEXz50f1J+O+MMYUMwM7BCyEKxlyMvLjf/6xm0YvocHzLqPIW7yi8cFmNldJGUR2A7UuYanEAiLSbcuUYMhxiki1rQyZP5y4aLV8rN6hLDFdE3mDMta37HvilIJOu08fzjrO/DIuiS+esqwVaqMztQN8c0yb43RSTvK+i+xBU+xRgT+1B1SQix0Ok7vDOpOkQEoMLbQ1MFS2mFSJMGRs9kx3Ow2AxYqAzkg0BJj+BMdOc+eg8M5SvJ0R+0yWcCaQToBombD7DAoZA2SZNcvt9DvUw2wnQyWR0cLe6DQzcBkFshy4UJoWzzEHYvq3ja//FmX4PjM2t8x83AG40+2cWH4x7cX2Aq/FydaM18XCSP5fjSToQkrmqTS18LbEqu10wJsXIZf1ZXlh9XcDstq581qlHnxSdZAx0xobOlk7TUzJLg+jxA9R/tETMC5G77oL7D+g3Fn2TcufNewDRrg1BFTKc1fGAZSO5pobv+iiB6NJSm6I85o4EqXXHkcj9vnGrto1/JfaCu068ZvDAob3nZCP8X3BOzU920Njc0hbi8VZClj6Z/9K5znIONi6AFxO4AYfUDKgxzGrMlNcUgwf3jCAkhvi/saEkBfB/B2swUN84KIvSnAWKhT3luibZK7lIf3Pb2NJF7/gSrz6ua9VEeA4OgjO8sEu3J1tywt6t0FgEAPsTML8Ppznm3/FI7vS8uPPmSRyKPu6omIeyGF5Jnz18j4+RBTvQ8e2PNl+OCd6Su4wbkenWBeeKG2cF37zEonREKriF2Y8Dys9US/S7MkEBs1rHNDD1H3PfTh4T0FyKviQWdiitBuG5xbm1ehYr8LGEQdsNoExrYOod0gRdy+HjjDIXtOP2+oI7rxtgidWevhqGdsz2eBM783e8MFUQ7cAvebjOw3FPRlFXzR087QWoHKSd/oKmjlxkAEiSl7oDdAjerewgVD1o2xXiqaReirtabvmQfJukY6lbd5CY8sv2fDOG/1sfiZQvykiGT9bU9P4Sk3UpGhrpaaFa/h71Fn5lwi6PDi24u2d0y0oT9au68qAS+qal5a68MaNauFoNRhZXSqiHugMAKIYTHbfvHOweKkLfGL3EbHoyFiQh+nm0ImUVNiy3aBWU9/f1s/xMZYISAQv8pVAkfVqTIdd/78EHzF28jioRYcVbv1FvlAJd7TSDusD7DONUBQcQJNa2ExSGArZayRmzDBj8L/mKSPqVnIQ8S2ab11VexNyCMnRWVJ1Wz/2ATZDzHZxajgto7cQ+LZT1zplsXQgaBFdYkFejfwnLtU1JRB6kgMF0Pa7MC0Zp77pJO7YfaNnBPHvDbosaD5w9mGF/j6oP7Oe2BQk3FmaUidktVZUl0bRpgCdVD3zbzCYejmvH6Q7NjFcXYPXACBMGNp/YVf2tFuBiuQblHLHQ3NyhBtuYhT0C6wJI2YQ3FY9WU+cpLbIPu5wBfBbsH0WxXRIrH0wtLrYn8APvyUhlNVxpgjnhb7eU8BpCDSbfVdm1l8WbCAWzbTWFvcoIRNOLLIv55GIsKZBoHuj41aDv855omqpiW8xNwtkQ73ySrXGDrWiQo4/ADJSSxIrUM1Z1fC1CE5DfezUoHL1i4BStwlsNQnrgc5oAlFCXdq4I4WmKRvCbe8ncEpsTz9HHDDM8hAbyORa5b7XsKnvu5R/bkMg1U5Mwmh4fGIbneQIyej7gAFr2lqFXM9l6tu5n7ePOmVRu0c3TKHq/HwbIaCgx/14l27m4fXg8TfQm0OYTfGBd6y1qkwFRe9EqX24GNzjW56UZG90160qSe9EeFh18+t4ySkxxxns5rBVv3n5ziKbHodDFdphg1alCIaabKqMAK5wCmJVpIhXuVbB6lWGyy+XfSdGkOgOPQ4q1gI8k0G17pzPefiqeS+20+O1nsJo71+fpdCJgF/tt+k4TDEp0MwCt+2vkn60jgwku0+IxM+V1ZOsIooC2a5SExHV55DfQzbSC6gRlD6uNjWM6GMiQmud+kaSzUo+uq9hmCOeGXMaNnuIl7vH5csxoYqS6ryNmzwDo/EG/ZpzxdcqrwOpL3Sn4hgI7O2rGt4kEVrA3u20vlE4PucVDv9hY1+m1Fl81nh8En45mSgPyfBrcxtTljFeCMbtQ8TG5go+yR9adYyREdKNXWSAAXsncXkHEmIkmMhW/Qvu/yCvBqZJ9mr4JgQ9BajObrXZuayLCD8Oc+8bE8A1pj4xMTB+dkrfveQoWgolhtO9Ckw1vsCNKF5cZenb4h1Ykc+eYBwl8HJC2THK/BIwe5md5bgEoO4DoqsKCEwZswBQc9tM+8NARGsd3jeUjs29v4+GmMT0HILHHINnsvYIxuR8Y8rwfkjlIxnl+LfD/FNF0RFg/CIn0A52x9PULd60IePpGUkDeGmdmcwDB+/30kuYrTUN+z+z4LSY/gXgRQN8slBJ05u7SENfRmVpW8MzE6yk8viGltKOhazlVqo/7bgm+KOpeZA1zN42UHpX3Zsg5OYB6Gz9JwbjXa6vGNkVSZi5boLEsB3LQbFG412ybMhx/ZnX/1HJHVHQFNehYr+/5d7bzDXtuuWNSL0nKxyqV3Z8vUyMFtBtNNSJE/SU/QLohbjr5798ENz2vSBl/7Fi/kaz+0MzovK6K/Vuyme7rdoYAJak309XXv4yfmzY2F9NE188NaXVoahvZjdce/H+T/IuvjNaqvQNJRDSHvPQSjdYWyiyaa5ariD+14CPVqC4J+0SmiCNedjFRjDlhFOYP5EPMr53HY1txpCgvDd8PbBnJjpG0vgPh6yQuVTkvsEY/gjA84KyifwHrBw05FhLXdgUK9dtYTLiRnPNXvzbS2MGESZ3BJ61D0BDCy9zV3sQ0kUrl4oMy+IRI1pAITvFVe8x0sInJV48aZAO+wQopPE6BvnDKtLFLqjZYEDhbGDfX/5nLxvXmL9pZchLsbTPZik3iGVR3NpoRRSH/C6uT3i5O/Hj29V4gli1GQMnZjxcXWF1/tIXr05psY7lM1e4pjWgkAuTwl1+aIlRWJCkC7A8Yci/PyI4enlkYV055UAiLMLOQXU/dwTbCHD0ROyhdQ9xL8V6ZWld1bfdQ6v3by2f2aQKjutPB88+08qM7pOqAOuTLSaWAut4fZ3lsbzuZRTAsp5QFTMvEGLGGG5haWm1znPd5b9anJfbaYO3c0NE142AjvNG6zCrZsgoBMzbU+2J3te9r8RhE6Xwvs2vPauRhb7yqLThZbuWZOFylBWLa1IlSx1x9mjOt0BTM5fFsS0+CMBsSpz2kG7EhCqLCaxaTLkoi/m9HiqfPneQr9LFHKkvKVz22+/bXOKZYpk+jLunsN4giz5I15zLrAtowh2XJoHQwhlZysFz+e0c6yBiEK0hNYJ3N+L2y0mZUNEy4W1KWJPZhGnIV1IIC8tg3wqJvvl6xp7K16tidFqKLGxS7TN9KuR7r1Y4O6y29rLeCoO1wnXWYekTOZCsdnfkimcVwn4XiN5ln8RLIDYdpL49B38YFI2QOOiINxWjut1B8f6DYyAvH92wtpxTIctACvVzs+jlGrMQCVwnQSPYDRYCGJZP8aH4m7uvUhigCl+vWO+hdA7rjB6Hab0vVd6YNuTiZ8QXYws0mG6B/oX6XkVMIVU66kjdnzGiJPkDsllAeL5em4xdNbVnEmYEYiHPzQhkPCO+qcJkxGKe/LwpvCEDMPQMOYx3V6LOL9+S4I5qV5PVdOiFzdN0rDBx1rx3RE8FnE97i9NroR/NntSqR+x2J/XJGiS6LlmBjfL4o/pX79WJBDcltHs2huh3Qfc8uVHJxZE14ak2pL8m4k8ZdImAo4JXxfYCJRvZzSWvcP1gXxACMHZAS88r/7cfYzcLLbxhiZiZkc2VLOSMwtWL426Ce73ZStHf2Oa7vwqIriQ0LPbxAqOQHBIP7Uv13JIASJIvDCX/NWFCCXpHcpz2ipRFMUvsXtRZhYGGLRJkDITCWrx+JWPB3bqOCjcaoZd0bn4Zc3W1istVNhgV0y4QBKnkxTFfrTibKPfiMYwt/Fx1oyFV1wC7doxHqZ3grmbPQVa4WXoGpjnTrwwnDSkdER+8YheQwo5Np7vGRN8mvsXo/Ox/gEO6sqH3Y/oRad1TslXdqhclOI+PVyaY01mAQkm8OOHaTYJvqhQkWo2HKpQ/hJvTR2BX6sgbhH+SKRWADBjAnqjD5YzWpes5KmNebw8jvRxdntprw/owW7zlwwwDz0/XEannKA2xcQT+VF1Y8CloDM/LUXwc7ogVa42lGeyaW1lvOtEBxb7DqZmSA+RyqrfDCOs9yCK3vS+vj20BE5nhPxFmMF/XZ2KARZdUe5QhFQnAp77ekAm9XOzYMf00Q12E4Fi3lpargJDuIBuw2sRLa2Ows4aYt+usZSO7nsAqYmXdn9SVcXA7X+bGfpWpN5Zr0XTrWaYQubr3mS1xD87w0zoGX3VJ+HgBjrhXwZo4qtEtflSchpABXtrXQ2iKsBGkzROP8v2Rgwhh9lydhpL2bN9H0Xs0+zhqXOCgFtQ/QTjHDlrDoJCOEUZE71O6KgV1Sd5lQPb4c7fbCia/pqLiOaSmehWaueCN2rXkgg2PJ0L38mEbpKB09h7hRdPfu5xJiYqOCM5ANJcBDc+RQ7RB0bECpn7qysUlk2b0wBb+FgYfdH+5YzuWZaOrr8ozoanPWEzoFoGKdkjsavsrYcoyxQseyrWF1E9Mtix/WAfyQlQz6u1TTSDBonUoL91RH9Wk8CCIzFGuXyJl1y3olO6tTymzmy/9S9CWwtoKSexFjX+yK60Bb4N8YDKPp7kWqdwR5aNZpqkXJgaY0GFjaooAH8hh3IJP0+JNdcapQ4E3WzdReEVm1nP4ExgGY31Sax2hp7Y1UryH4RZf1T/PtOglM7clwi0GIhe5hqQEBGAHVgtfwpW4ZSKViH+yKj1NeDW5+rHuGTgiLKYlqI/KXkjCahbtk2f0KTigEI7WUoD6P2l4dW/5twVQT9ANyOW2HMV6tqj/Gf+SGPiJHBSlXEIzLqHyQd+XhfCtWwzUwD3jlvw34avfm69ItdQKeYemcUjYgG2gEx8oKzZBvEkY80sjn2CUJx45z/J5/aLzL+RsnbQYZDkwxe/2qFmdXRSofclmfqGeeYbMKqgd8ihYtcP/6Fl/ejiF5oz2fK59WvcGUYYq3/YqlQJlppc5VL16qH4rfnND7lagHAmV5AHAyldtke8FsVxDsuEi5U757LCLcNFXV1+wWPSPE5Y4LY0jvvDJVxk+bx9HuDbmSVaJY5LBHqVo5/Qm2Pe0yQ3o3F4+jsoWyw7Ht9snrnjUe61OgOV4MC7lt4jawC6xJmaD2ap4vQRvlDnkrGGntWpp8o7tQkFMYxVmz4IDhokExkXeI6rSq/H4SAJ6UQsmlClkfBBGkrTzB/gE2uwJ1i5mY5dGu+xeIz0YhKcvRpq/Z8y8n06fk9zvFXn7MFZtAPr7/R34C1SCdUtBVhuNqjwodTrV77K8J2ic46EnZb/1sc5dBwxAYCqPff5agv79BYkFGFc5i33KBfRkcRXOhfgveI4LFVNyz5UqEJ5MRhTeexV5Af9Wc3hxrRlqi5DDy5K0AI9NFvCotzViDv+jBNgoXfnZ4i3HJwg6c7P38RWgYvrrqlhxNdJ/LMJiaM6eVYu99Gny1+9WQ0IRcxsYE9GGOIZ5XScndOoHd5Ie4Vc0jitcEZR1rdbCPW9xW72Z2mOib04RFJDEMI3QbiPMiNh56pMgrsy3qas3OgZh9AMwPIKUXsrgW8vJGsF60SPFQfKVCDfCIg/wlub/6JK1GctOmqE0RpfcDhCO1KKAUwzw21AFUK3VurdypM2isPJDHEnzMb5Uj5NSklRrhzesO6YRIRMU5mCWHMBkCTHnhCOEdhJx5/OErqWFPjyBLuCcAiry+DR318G3s8cGJNMHa+tSkNs9ppLhbqPV4rJUS8WL4Hhhn2kh+DpS31//VpUbbCloCmXXia9Kidm+HZE1k2j47xKQPtQW4v6Yhe9eMgGwmWJEkf6py73gs+4/9mSyJ0I+ABdGw/NphzVQWyptIv2suFfMRNlEa+e1vBa5qUWv8yPgJOPQxsHNoa777Mc5mmKes8JL/HT+bQVTnw2ICYFHgK0Ts0QilOV5e6GzQHf9dq6U1J160mcrayzpxpGuomVT9u5Ct5nOVrhZWWIk0A1Fh1EuDaPaVhOkRQFk0ZeVu7zn4euad4qvp1t722RDANalZtfRlcT2BVG65C8E8Jh5dTsNyfctP7/icnTKNt9sin+XHooVgJlQrNzSn2flYxD+q3iRCsJV8Ivhgs/Dt7blutpXZ1uJ/kWZvVvNCBfEOM/ISLUpAY66W/aTzJ6TjOLyb/CuZoYv3DEcHGOg185HAxFojHaxTncN6cMZoKHEzBFIsHV49LgrKBMt3/VxxjqHy7QqvtLr97lnBGoCPvRnKk7y1bfNT89LUKMZHCqIrqpbmPJ/qH1yQiYjbQPTE0qv5gNtx9nHVAi2TTO12rYPswgYENH54kYx4iX+pdTck6JvH+cR3BaYdFlmdLFluEepmhIfS98h7e5dGXX9Mw13SgD9DDCNb+HLMZFqN+4Go9kBNcqZ95FPYsiEmhJRo/gGUcp75z6r0NAYAm6hxU2OJ3F9MkoYm9/0yngU/n15qaKUxExUKjmAq9zZFUyOFi9uXSUxUJJFoqv9rPRBqMSulby4esSgADQU9VeaCSbNaWXDaprAGJg2nWPPS0ttFS8KfYTtOOgq2Jcq7vYWdooxNx2VOLmbg/dhORS2ZRMkRX4HDOQtUBe/+BTwZL6Fovzxc0sR5zC+90OdJy/1GCCky7qFLtXcrLn8LjrUuGrU5VZDNLWfBpKNUqzRgXYG4GPlcJc8jPOF/8an9g9rYc3woYA9pcZUsMFhyD8/CDvDBzKV0owhRyZ8lXYEDS4ARsRl1kjAOEeJ0zpmpN3RvZAYA7TxuPw+GnhO3bLqPvrJLITWgrCk/JsDcAsuV5v5l6idCv/aTWZgfNIW3o1t4W9eDV9bErJD64d+PGkDVO5MKLRV63oTsiraxKHcgCoX2aAEAH89aZnAuGbtjnfo1d7pPzbQKFJS1IFL9SjlYfdNNSIaOzXBz0QwOOSaOcPG4koG56Z8Cl8TPDpFELsuw/2BMIAv6QMJ+lxrfAjLPK3vvfyE9z1xPUSMTj00tHrUiTK5mELgokZ5EE243gCgkL+XFCoF3m2Wnm5nPCg00g+hrm3Dr9R/4t+EczSTMX3RZNlVAKujhoK19H/hmxUK9Acx4ro9sbzyMW9pwvzL7eojzWyk2ZWkVr1+uINf8lkDJT49L58d9XuovvypRTimy9qOCHdaC4zdhYEM8p+SbFI19BvE6v+6UuIyqjZma4iV7i+NH54OLUHokJNad4b0P4be+fGBoiY2IJJHHeFwpequT4Hfkb3SV4lBH+3CDlfaN5uQZU8Z/5aC+4+EPe3aG7lAYHt+JSelwrNBrOJIDHbL0oCf+HEM0AlBaFpd+G0r1+wWfJI1qSKcPqU7J4bJ+GSQKPskQYDLhh4AH5JyZK+3xzgDgjlyBflNGX+P4CH+qw1YcgpK+lI7I7m9O/3S+oPByzjyAEiDtsBMJH65aIGaUupsEguqd12LzNMDpt5gIisZLl7B9TXpsrtfW0B3a5jdeSrHWgjsFZMChGOR8NwqoS2n5x0JJDGrBQZ2wFwY/7noTGGcj+nZNjUMlHYxoscLEKMT9tHlAbaE/bMqyOFi08UbiB0Snw937ZXNuo5Ngc1o/52HF0sv2GB4de8OJr2Of5sYpTXWihOrhS4xvrW+avtqzTgXR9rGD9UZF7VW1R8nlbGhqOgco9bRELWhbSLWQI3jsgeEFPXSMHSTOZBvdtIf36zgx6r4z8U7VC4DjM1CqOAADUiVhnHJOyLA4ctUL4E20o5oVDzIhCY7+6XKTNicKYEZO38r9oFnQj8onAkDlFi+nWlPlmqlWOG+9JrKeUrxget9J1uMiJaUPHzIUzWJvC6K/Ln055dxm9Ec3R43/pDpfKVUOFojUsGOU076ufQr+9bHTp9Asd7Zc6OOj/RfdR52sLHv+Saj48h9eARlVj1gqAkkyS0MpNARnZdv2bGS8LiVPk/4KhlM9QWTeM3yI5Ju3F7M2WnW6oAh3z8rx9UVHn8YtuhmzNsuokH3Djhjpm3c2YvVonQFPVeWebEwzgxhadaXQKx8nYJKqGYuh1WdxNtPDKc4gUKKkYfFtwFDauq4jisnFwcevXISsTa58Rt9qO30VCmJ4ZrOciIBxR2744P/Nbi835WmurK78/aldjrQGhBGeFhVErUit6nZgSCcH4J6R1GUAMPIZ97UiMrbDc58B0NrHownNYmK+WXOU1XbrFKp0RFxKdFkQkZsULZBbediyUNlmO7wKP0eqEsKkhoW3HZrWsmPII67ow3ieBQG/Lf22FeRZvn6IHU9YP4agQVi2g10BM4WlalNG0tT/TgIHQEzGOykRqAEi1Ky7m9ZHjyiob0WtskwoQ3mDqFBf1EKDVMtSq8jqeQ7afSEw43kq6PqCgMuT2CONYrF7RyyQS6YTUKgYtew+P7HLnuvknxbIUM8qpUxzVt050earZ+W86ZGewJA0Os/ruBrSjOzGLryYrhOBCZ45kXIKhSxAa/Vb5vF8FkWVOGTVTAHGLMkQFNNfZ/AjaEkW8saKNUbj0LZCRZC6gkeQloiMmtHU+MnPsDVY0csInc0Wt8rMW9DZo5MVQb97GVmLx1SLDl2mukKLItwOFc7rq7Z7rtQzlOHUqblYCect7ogEPfbwU/8luCUgsK7390tdCJXPlODaTrLLIiiikMIDvjn5Nk9Esg3eeFiFIB84yB65eUy8Sb8FFSX8EyuMcZ5ObJ6TeQxm646wp0lokqsVh7CTSxE+4vZpVRNRCwiVBGmoxDPD1sraAmWn3id/7+mvsF6+A9dsQ/4Dxa5qSygMCN1vs4fPaRtlszLOmaioltror9PmB7aSqtgkUBstWfgY6pP21DEOjgDAHq35LeF66jRgaWnSsVCw7s05VwQ5G+eyB8XBwSeLnF80A4X0Pcljk2Ef8r67/uP1JW7uppKVYJmMbDgohplAOvw8RK1XoZPMaH/Z6s4u5mqTJLfT9EJzV9J9PJ7/1A4618okGXCufQDrKCHQ9XLYOm98MhA/mwP0C8a9pdJtm+zGrAlyL4FD/qrMkq0eKUSzuvvn6bBzsr32Hfbg98q+LtCNc3EbAgJps6VZOGMnIc79Wd29JgYeOYkR2IrjnPyTXBmJpyLwuPKVluKd72BDmUDk3E32elpyAam5z+tq6f3gSjwxNWcOJzUBLd9bw8QePp8QNxJgtchkKhFKisTTtItBq7XgGzP7WByXV6YxtMj5MSoFouVeYz/QiN/i1npoU1B+Heqk1yor5OjhgtjqbO8PxdnCUlJIfvbbWTGt8Voe9jJ9i37OE0p3e8tIvhMDu4KsHmyw6yc9X9hBmcHLOOgHSNX6PpWbSp5u/E2ad6UenZswG/fbKZBr6X2Gkv/2XmDzbOEMPw3XnLphLyGWANjzvEgk/g8PGS6Skw/NJbRxGjCY+25pgaf5t0kLNrKDsoyrfu0tjQw2anh1ZCdJEQf/xSdgyncSVYlRCxlqljCQSD2yKeV77TBuCg6xZ/U9dhXOXsRNP3OkodUnfB7YXVinzQi8MYHcBU/ex0Ntz3VTXEKoKGz8fZNB3pjpGNYFO/h9PsSroDCm0xCkI5LDHG7NwAaXe24b5k7jZLhUGLZiRps91Z130047BDF2TDPUQ7rg0o/z1duy7gTj3Rx5Cj9PTB8TfPvx27dVzUi3Eou0KMBrHhOdMoL+hTVgwEG9ObcLHYBniwopwZoT51gfx3HNvoKlPy0c//2bjBlZH5auJbySI9CBnSfozVt9Vzl5wHyt/nqX1w8vyQUwmbVi8DKMo507JVwNN28wqzL0TobMDmnB22L3MZAFcNVb+sVKRDxnKPn5G1/iC4VClvzpWCvtKIXqQeZ1LvNqzbEFRC/SXzi18dtmKLPaJwk2TANV9kEObTRH4cxtnNJ8Ya8ZEa7NSn+sEXOP4h/5/5oDwPCM8C3z0Pt767dwI+R79yqhlZ/rLXu9KlCwCLIwWOfr2ta1f4Fnt2QoKkCH5LnK/TTV7qYFwXOWGEc1UWvWH7Bbq9UUmA/2iqg0S2AG0gDG84m+cC/fPzFap8tkws0ivXK/ivUyWI1HHvPEQ1xFJRsHa4llaMtd025jKsYGYCnuRmfcojBcpEQgOhTAlVvbW9BPuqdsQQy0RZH0hLyyidRkvFjw6WpsdOsxwvXJFwXDp9Wf0JF4eO4Hzr5gaDlZSFVGFBHs9aSZXS5My6K7sfXiPXMNJRBrQKu+Jj7RbRo/boiMUUlWEPcm86h2v3Qo4LZ6vqadDYuAcUeDGvHuIZaC8hlY0tr0GigEO/bLU7UgWQ601bHTX8hzD+D3KANPYQkhhYE4Zm1U/Pnd9oFjgnjxdr6LDFP4nqR+woMWoQy1MEx/HUep9W+3gNw4Oxet3norMVdaDgImTcAo/Loj5ieJjy4N4/Tv0I3DHVDpapXudCPvFTgXjKwlEv4fDASRx6wmgP/kkOJDrCEqCTf/G+8UKveqrHuA8AwTJ+iI1NxsOydLaWptL3Df/kke7L1ip4lADqBJoo4SQOqxVUbtJHFC5nmOnnAbVlmmGgN3ATvzjYy9UWs4Ien5bGD4swr22nwOKQuVOfW4U00jw1ab0OWBtzW5gZ0E6h22SPcwnpWN+3o/DNpf2GZ4IjmmCiROpKEvldGh3paMDaQRjpy8RkugdEI+p3prC1p2etAdWcbpto8tXpGAyG5zrZVxIdGzNgsGAUMm1RYMT0bxcEwVimMkjW1eLx4LVxSK2sIVvjp4pABpAojjqx61bAWVpOUzTUMPwUTWnRx5XkfBjVuj59mJFCtb0VaHI7eauGqwCZAcOd80ZJ9VSz7DrW5XU13HhWv9FSXWYCQIouDoEoi9c96wGM0N4tFeVfbdzYejuV9vJqoN5rWkdVKQ69uObB8MCH0sZWlXFY31DAhuZG1UIcnLXeT5ZZ8TNOVKAt78bBbrghI1BZDlHXhS2FE7RuXUlQvqUMKHIGoaGB/hOethKQTSgsmk/9NhtO+Cw9XC9Tsy3hLmtTzI6rQLp6sdgXcjA9mBPvUw5VLHrEoso6L3qy2OFHPXhOalSCs+Ja89nAeZJ7pmJhuobSUuHHBN4lzyAgFBPmkrd7gf4AL1q3KUqr3d0a/8P9h2WA5x4JCtwxaCUlLNXgOTskD4X9N5ZsPowzyzbz4A9oZPP2ik+ZcSO9+mkz7OHH/o1WmDq7S+cVBz8jG5QY1qxDFr6Fs81l1IMmC4dMqLZFJEw1kv3XE/aAd3kGE6S2rA6eUf0xd8P4ByLPBOBDQdGLObNNgrifdYrBY7El872RKET/olr5Kr6pHTi1j5RVS1b85eRPdviuebWT7IoSwDZz7Q0Rjg8tc5MHosmX6kcUOgvgLTp7ApgybnCsehA/XkmavMPbBHwdl+B/QjDC2vZjCAV90E3bpvPXati9CeFjf5cns4PeUztp5rMsIC2a6zcJFBPMYgoExmAy0GKqDFE47vUEX52v+EI6TJUhykyooSGNs5FKRCXPMa4WB2Xkz8+40IRutyljXtvxy8h++PGlaU+JVRxTzKbWmQ3VyUF+zGpoLk7h50gDKm4OzxcHXRSlvPa+SEcj0OL2WsmbZ9gac+WtFcY5zmKidqLhVe7SJ+iihTiORsaUBcN7qajQWEqgWAn4/EnAJ6DeWVBg0pWMuR3vGzg8k+p6tgmcmnNHVGc1K7Z2Lih5Xp7WllBJ9lU3bxygtQssJ4yBwspZta1T0DJP+bOXwBABiKjCYvGsMjwr799BGZhKaeMusflu9CW/5Ugo7VskLuZGz2MAmyL5rzcG08or/mKEiA+Fishk4HebDcxoVUQHxhRGkHCpnERdz0Y+adpyDqvgm1kRyzIY56d/REUGExXrA2pw3Vc3tChTTxGH+HRfbVBAsnO1/fDoU/JRX9gGa/GT2nwTtToOL8FdlcTmo5L9dx7CYCvGIDv+p6zIwkzNVlIN72pDOY7eJAY/t50+XvPvsxWegXv3c513gnpns2Ag98Ry61q7jJA42jPVrZimfEiXGY0d3/j3VypjaKRMuaojchsAyg5xhk+wFJ3SzBZ10pgLqLxspHL7Wplsk6uoMKaxwMPvGtoVQctsDFfG0P6sm51xudKmb7V/qYUf9CcCUbaOqwTj1wqMGaGgkWUl3UfdHsAEDCzM/Lo1kVFkQLaC/u++wDJgNCV+xfGw+c3VrLUGtdtXvwHqeoAq97VjrgyjQgCa6k8Pk91ilbQqAjqi8YCbBgkJJ3rzY23uDG92F2dqeyyhbQ3ZQcQvgqtfnh99Bw/YE+qvg2U2YWyfU39oikOs8Cmp0i9sxWkOLwrLM5TmRXfP078Eun56y/A09j0w6t0QfibaZuJMhHlQWOq51HH83Pq45j/SxCc0SFfCHMnXqTkBYqFmTmol6w8vG6+G2OblsBgC+qnB/fYZNGhWZGl4amoL20wu0/YQsgev0ZS5H5D0R5LpkpOsNUmEugW/AxP4l5n+esTS4etvZTW3ndd29tWd+2RHnYhNCIH2uv2jfJP311W3TUjhLyAOwua3/0tjGdGP9s/bdm98SoUmNhQH0dn3XGYJ9I2CLzyl+tePYEK6LlfqC+pABOcEgn1K67KfuUqW43F8sA8n6xTK/tLKytX9Lm2XhUnijRMtsF8aQN9HJhcdOon3ifoiu8Esh7IRhPr0bcI+trZkm8gQVhKcFV5d8q5Z4XK+nL5RBcNqvLWjskdTt8xj6c6EuE3Ak6uZ6UFGyJX/KzGOnSm5rTlW8fNm4x66rbdJpENsyJEbEvFREcBSP2kBu1aWStM4dFg+rYeXXllB+JB+CiMhUrfVL74FEOmxSkReTI2baiGX5No8FhOgyhl8X1tNEZdGzDDnJKuLIb1JrCVgbn3DSFRrMEMIhLTVthGPJdZZ/8rzIRITWt47dWzo7enlrQfGEypWhqPHC33Ku7FaDu7zkaTD45rZAQBMYGh8//ws+GVZmGCfEKP7JRckDYMQoT9xT5S1ji1TNWuqfEqkKA8xHaEarUSAiRIZjXnx5tmTBBO7Ar8uVv7Pd/vpsZR4DdxLvFFMQmaxwDGEhNLh9YQt/Ea5YiQY+PbZppIS9bX9C5bN6vp2gLmVqLBvtxHQeMByNSqSy7h0nVfg0we/YnklhZS1tZs3y3TdbOMqOyVIH0ZnDLBPRKvG5Mm/PmWgboZlYrThHaWzs9FgG3N61DinhES1bBw1i+N/a6THDSPllUMXsawaWV5zvwrh+RFHwLXYBQoEQ52gzmZ5vO9olQWOJcdp8rL0Tsc2BlMX7OOv9MvePvNFNp77+tAPfwiO1+IiR9kjI1uZ6K11ip2eTkyVBW1RFgv0l301c7TpLnaJDVqB2AMG/wDObJQGGnkd2lJyB3GZNBHs4PQn4FCear96W1AgdAxeOtI7eWYR3pnkvFcIhYO5ET/PwjBULmuPu8lQmBORVOYoYIKygbxQCSjA1MjX0TBu2GWEnc0xRmHxz5Biyrcv7fov0az57cI0NnRa4OIEfcUkgrKsMnPi2EAseNKMbkiWKGHUGCyJEDdzTgCg3r0gy8YBmRlxT/zu0Nk3dN4h96+IEKjF9Rq0u7kczl+ZWc7SEpuqVt77QTwqu25G1FVOaqhG4SShzH9Md4pizn+PbclUziw0JfjOpghOLfDncAOOefpuVnWlwZ9kdZmukLfClRyaP7tyBvnI8Xym/SWKEn4L9PHHxgfpZlCcvgFSDuiTv1RA6sNtt56l6Ebf8euGz04oOgQl+TnEfD3m36E8262g418qUMrd6/NyZXsFnQa2Y5d4MFF92lTeMiA6/mnqISu8Kr4OPrJgZU6h1u5dWfnPXwb+3WODuzeE37doQLk6U+dwzQ14eg+/B5OI8aMNLs78X0VRLde+fjvrAO29+HmJI/rSXS9GWLTmKq/9BsQjYkQVbmNnHBvvJjgslaW+gzk7rqxs3jV/IM3K40huzw0NGGdwdMniM4B19axNxEDXKAIRfVtb1znVPRHIez5hbFOq+GrN6WC4RdiHHm6wvZwvh+FWTVBAhMDFfi16RBf/7StyaAkXVzEu9qMfFrqK3RRTCPrkVq+u3osC1Qoa0hMg7E00DcAcucj/L9u66/W6ypgXGOr3D8ZsWi6ak4ZAnznH2Any1kbZ5xovM1/C6SgYQpXvDpHbdQ6bBDcbcgsgxyLWCdc5q/VF2AiM33JE+DW/4cE5w/nmSvkJji31MhC93Le9u/DIu9ebQKNQFFWEccZYQaUiln3TZVFg3U8S2LluqKmYqqCofR6m+b0xKpzN6SfLN5I+P2xP6SljlhvX8YtM0bQBPtugatWMJiGVoUPE2EitpSBGdC5HuBCrR8GqmkQ32AkmfGkTHz823PjypJzDfOUcjTgrGjq5TENqmB1Z/zFCLiVgFS4jbAe/Gy0QVkSNjQ98oMe5g7JXxb4O5pRSaQKu6NdT4u73HY+nUv+4WSBUG5c/vodStaAiiS6KBUQPN08ebuumHiz6jQbzz0xHRu5TKHbfq/W+nvbQe5qo9jDHgS86AuOQuq45/BK7emFGv6uQoFio26kvCUlxDyo3v6ewYtl4cVE+W/GzwZh3lMKPwxl8JAQhAJhsckJka4/k/5ko2lwfjJ7v3BBqWIY5XvSRY9UHFLfEWVpKhZQDIzcwxf9ZPf49qlWB6BTyBvHtndyzAENXr0x2TjUOLob/rG79juXZgcHH3tbCgALP9X9mWVnorX9g/P4ClLbBjRe4qT/npqAPTPucxmVDp/aKfekJ8D2Fll/SK6en0dkyFZU0PmPGvp8FpUXcaJu1OZGFMupI1y7odIQTI4YkKkFR4cxdrFSPjirVtGeK7We0kRv4P/tuXj4kqA28xxi8IHUNwxHLeYdfpwCIxtKs9cI7toNgh1QYa+8IbRQ1gGSTJ43T68XC0TFXGY3YS13mofmntd1nZogGaNfQldApQj7bvuu6Cq7hjxyzXn3qCVgjc5NhJ1AMucZ9ae+/zP+BKcu6TqCqWi59r/d9/Ra2+Jrx8ihW4RRylW+PvZqc+U1AUV1TSuvMpgtmJoPB7Qx8anTCbTUNUILexn0ZsXusgYakh/SP3ik1n3R2Oe5HeJeI5km7AvrkQQsLMmqzedBKzw0lHhdDjEOJr/hCSYE0NikIOdi0/D0SKXncbxKOPkcDkC0NPHTyVk8ggwyals2ofs9J1lMOnD10z6gDD6FVHQfh2K0NR7LubRy2zUqQrGFBaH0j6YsRD6eVR2vVBgtNXCxRpoJGquH27HJZi38Bfsls25kMY3RAmkz6C4qjDk1nPJuaKl/OvYA6OAYaXccd4u0GI+O9RV1cGdigodCcnJ0hHraTSsN5FatDq0uMG2AL650ri9c1I/PNIHDBoofHqMS0KcT5pWVDNyByCW1/1lQZXBsND7WK6lboPCfo70jVS5y5JOywuvbgLzXJHWH+ufDHs6RBApxYqm5+6WHULKqpMtMTr6mYeYyDeOQjBjHCWqb4kK/kXBf2xq+38lyC1GrppdoHY/sIlB3vdFUayUquOGNszojK6PKOEosYMyl3ITyCyU31q0Pb9+rTz69ZpFb/BlD6x0lTWyJZnQFnpSZL2UZoqECjprUhaNGQsp8T01vy78eNjN3npMpNmzoWyW7VDXU7gpUjTCkdXe2FJk0KmvbFgJ+Hdiv8CdDvMR168OGtwEoEfbGXb/iSWf5X9nfq0l7TVAc637QepKKs3SU8ShQIlKjNu6/Gav6KTu/2uP6dXyc4zlbwpdhvOLf3R/8pJckvoxJ4LJk2RWLjD2VCgHEb7XDO7yxFMzgoss43hf2cGuYW3jEdG7d8tFagmLRbNHwBR4jbPXe4qd0r55k8n81VRNtkq2Bx+0wFKIzPSoTgdpf6Ti3I287aWsfbfWAQ/8ZB3anq2mddP2pF76WWkPI9/G4TQ3yboneC71j7wI882pcd+LfWKeznb+q2EqDGsIjjQxsuRv3UWdJxkyHaeLjeZuS9XftYgH9ph2iIVhyNdBopi/r7Xpk7x1uHOyILmr558TgiBHnmOCMPvRyXdRSOMtRbw8lMFD4MBHS8NrV3nwLOwqwdzH0CLg8JW/n5AdCg7bF4Ja07KEiOoYIj3zz13JcfZHpVqa/3peo8c5FOdTlaSGO6NA4jo9ZuFbfRAg3pTYSLtamhCFAiKCZ8Txo7RvWkpGPmqsvZgitCRam9vN/Y7Q8QmZ8cHIfvwFI6qdibuHOmacI27SJfkxM4ZEqBbIksltcujFFR2LkIzeUWVvvXiwblSi8FsvT0LNlpXrOfI0ANSxGQrgn4T51u1xYjlOttJ2jl/5HxKJSmT7MALDjDy0uzbQikN/mhs/UlXxE3x4ybkGIAs23qmQUElM+mLNa7pLVAzcsF4u+wtJdDKsW/6HojOfZov24WbJlWX0hCPo4Q/TI598GZp/BrOV/zdNPgqEiphK5i28pF8CwRUwWLicvfKjXm1HNb74kQpn+wmraNVgGnsmsdib5TspsMdBeHVnSyqYL7lsOogVWLlzyq/dPHdexX119zs3M6uPkyly9fj09Bk51+cFNHvJQISgaXwAJnUEdI9dsaurqtBsEUDi3j3sAoAw1DJyA7SZ1qIhyCfr/fLFnCSpSwVc/Mz5EJqnqIw6kVBxwTKIQBjnO/sfPrAZO8SQUSCg84t96Us8hVjzIgMXeHhiZMDB009lqUisHjgPQC3dtp8wTx1gxwDusfy0n6UjGjrDBB8/ylCbI+QKzhxOwNfZgOO7e1Q5/ULGv+KRIJrVSW5nERUY59V6WQLqUauC0GikytNbU8VZQ2nJOrK7ifmxQyUeW8ZBUQ6BqABvNvPlMuS2VjgWMTC4GYu3da65tH5GJkoGbOhZ9C1Harg+SEqADCz8jstur3mbaqSj38OOKboEsBsvvRUPPzgY2SRhNWz4l9mEOrdlsFXCXNniQAAMKDWCPSbIP63dTxabrMwddxd51eBoROq96g7P0P7lXACgGuzbCr3fk8qxQRqENL06chAR0c3wihDx9NH2tBSoogdAoGSdYsI2iPRd0FsO1zvNbN+c0xyQInMRMVS+4pCsORtAlxxQHpaqUL0zOgYGMV4iuNlkJd360DNt1ELAp9MmR9vNr4ctjxoa94PQmCRi+mjLfDW4iySvw5JoXVXvY7QDirsT5CQbpgxUyCrHH6lQyhvVhn9x8158FSJf5Zft28rK/STX6NaWNtPpcJqrc5ly0K8SSjrke4HpMn1QOFFM06dXXkSJl9MkvyOUw4AYWjpNqLj54vzlh84QvB57NLfAVpphu7Id/MgHq3hz7qbTDoAXianzxiXLjCyxeS9n29GPb7VXZNsHDutL7KJhWeqUFBP++mWZ0Arco+QW167VjbnGcTXiolgWaDYzVepXGRWVseQzNZNqm7MoSMrsxbfh2TLqWZQX+1qs6cjH5Y2u8mUsJomUOQyIsHAaSD7ssMobFqnBjlz5qbUjU0b+ZBNCaEquWHjONGlUKR4fbRXRN7KN3S9AzTan8uSeiAqR0QMjXpVCkHEEVIrVYqLEzIR+75cQbcHHFBh2dF+JnmejQRA/5oD0/xWPezXF4CSI4aFkWQ8R018TtxLvZVgEAsu8FJDCIsvLyWh8ZGQOQwmdhU4YGT5n3hi+qELbzzcttO28hneFPT9u3yX1E+DgBdfl02JCLuu7W3XtDfvZExHoVq6985IhZmuSzA2hh2iFP+HDOhciL3x6Xp9Wt1UIykKubRKvVDybNJOifDOrSr97webeEHCdJD68RJ+YgrM0T2OGd31jE6jmPpcb2YOmQ04aO10cDkxinjPQjnbL4V0/k9cWzUCf5LrSr/2vPz2QW6rperjtFz2rwSdXsaKJU3Z36HdYfsZAG9WkDC2UmeAE4zCA7nFc/suJez/AMoyP3AhVGyGngu4ltaRm60pfbh8LEKerZLl2JR8S1LHw4qLpoVDJBYFvQr7nqp2I+NMaLvBr2uACaWfwmiNyJ13KFhr/Cwx8wMx3JtsiWY5LL0YhsSx1k6q+GNQMrBz2qQgeSiWpTSwMWNUNSMVhmDlmmbiTgNhwrI7xwFCtwDZJMZdQv2NvY6qVV/zw+5otMLifSyaa65Kb1an3xkJeKTM3Zo64xuIOsQNiDv/9BcyJ7KLGvAu0CR1OQtNmBCNrw78PebqFb8n67OAPC67Lzfx6QBnDgyO7L+LG9/jKZ2MyGDTa1s2r4nTUmarWCMa5Z6JdtC0dOKwGbklZfp86yxhnBT6TQKrEWFxvz6keeSpYZOkyBSKQRhl8Ln93gpx25PmvaRuBKoFBYcOQpEhilgCs1Z0yMjHYpcaLiHdvB1kyhG5orLE+9PyIHhF/X0zWTuJCoknDv6mEpIaSPRjYgohCjaXdZXdcVHTIYGAgR6MuxQ82ZplL2emFtQ3xIvGN7a7A+dlxcfHfByigHFN6J52ZJQVl/0mhIiMrusbGA+OaykWg85AQBvqNbjxmy3vM14P6AXq6YqQJvlHrHKPpTnwZ55g23bKB8BFgLB3vYwKrKDPBSihqWcAHQ9IfyMVvdDedGl2rdwPeIdKAN2GJqgUs1Jd9udAM6tkGpAmQrIcBoDrxRLN8rIM1ZfohZ192btP+yVo9XHm9i3Be85ozMEG7Q/RF9MusLEDxW1x0i0N/mfQNtmyneNFmyWSOdXorSR+FzuQxN8gc/yODLlxUHOZvUjunKfERZB8fOxzQxtjX5Do3C24gieA1CpeNmfQ/lccXykY0dy2dUWFeFjDOnSpNekDHJW27H8WRlNGHcDveP9D7X7cT3qc0VFbFhrwPbRJmwVCcf20PjqSUa+dbW+PTUOfJ5cUAg3TBSErA1M0J3FHUI6UzJsbq5tSjX6F628SumyVWeDCbyWy2SUqbpkUBjeA6zNkxrFI8cJuwNiiGLyajFDjnzOg2Mx4zgfCAcIIfE9tdKI+hLmsNzo9Wa7Ehn1GpASPB6vVBj778+Kza1BSXdr+puxbI+xcPJLJ9A8sNM6fVlnqNGPIcJ0m0MmTDZDskdujVbPEVd+hJklaQx1XDhdVvgmQVS/tmuoUXT6rd92DuubKgkGXGWVS1x5lc2iWy7wFt4k5xCgoT4gdpraTR15+6YMui28ajAvRf0gMHSuXtQCnqWaPHfL+1u6Eh0rcGQ2HEkIG2ZS3dNUlqmPkiJ0LAqL0NW58D36uRp3S9L1+hVDgi/+dZPQUSr30I4XRwAZfZSy1gLPtbdShrdgN+9Mv9nWTzZ2r3Udlvk4L+pEIqfQ94m1IxnPivAitcLp/ACPVa6m8wmysN4XGrbO559D+TbncfOrSfnivAzYk3pTErQKyqxw/OwQiDYsnsCgrrWJe/v/ElPaaRoDZE62rahwVnhNY1dI9Y6Zf9/FN2vPO7XPylRARDBnwsexV4h/QRrKAgCkAxnsheZ7iQv5SRXdNubNenv/6wg1lPLboyI+QjkxEj8gGrlQqA0s9SaM1uc2KPTynM0/G7FVIYvzOBYxSgGaZji7RUtBL905tcKi2SDHm1Y5sWnCklWYF9Bi/6E7rWeVcIK0KtWtnjpMztYUa1YPhYqGQ78+iu3tL4tIMsev9f2fu58tIl/X8zKNYDlfxZRkl6xnsKmZ88gCzHrzb7Bqbi7Qp2cZ/q6dH98wPlloee+soQdwwtmdd/jdCD6Qi9Jf3g6ASd4/xub20NPxl31VaKH0sMVyefpfY+H0UgggVRxdxD3t5Dr1X9Nb5jaFoEGD2CdSq3+uz6HjSEG0PbqsrBhsZs0ABRe4Kkefo02I71ngDTlY1K7lx5/maC5YMTc0+UtwI5qGUtpfXgLPdf5hg5Y9qxgddgON8583LbDPj+LTMEhzfpgF2rOpZIgM7Hu98UmUlGBxNjDDSCXQITYk5Nw/vLdNBq78LJCuVbMTAI01hkgmRZVz+3TgNL099EEeeb9uSVjAQZktGnlaiL7NmelPy8a1t+KPN7uxP2+LLDzRy/zcJI/R8XvEgaYQ2GDiJNuELfRLQ01M/c0kRTqxHFJ/QbTHCbfjosf+9bvtZ5HXMHkE59UuzkRK1xYu/tjIPWGRtYCwDF2BOaD14I5VD5ULf/9zQVRhF8i/GQOcDxlDf7Xs2pRAjZh+S8NVsRRMOVNEjMma7CRv4gSlMSPB82R+uSrKGYknExD6vCCdtkVaOZbx0TNz7F6jTFKkDC+6LuuixD0sehWuJaRuQ4AurlX3kUNhADAIiKjV62rHcfANCOm3Gl9xT8pX3NZM407QcglYFNoix3WUMAkkpZfn+eyG8vEKNI3CkR6exl1BafXefdjrncmGyg4aaPP6r7jSUTVNbxVadXMEU8tih1xGKAnHWUKi576YPMjvQ88yWgfRtroAuAQUccwWQEG/xDYsfCgeFoZkKsv0Ycy+g0SGygCoN5GFWrWPHP5GTojBBhLCtNiYt6OhfvWi2VnnBL28U2WK9aJ8Ue+PzIk1mFbokKslh9MjLjP8QSzUOargphVsnfU/ybcodJsKBz4/azwrrsRvdrT6hQVRTnb9hZ3KmkCNZ0VDSt9dhk8R0CYQapO6x63Ma7p1GOlrhy73jX87MRtLeHMv9z+oVFiF9Xu7ZBdLcDeUg4HjgUMmC+WhrPnQosYheBjbLDuw99EGfDI4aF9eRMrdf806aXdNa9Y/VyCeC95l//8vtJHMTBPOpi87WPp0mCgg0xMqlWNdnaSDYaeq3EXkOMCnbUGblzRzM+TTK7/hVNzE5Ecr0QevOvSeLAAtSERTdr35s7DH+a2oAG8k9bGzIX2p5FhvASzLUstTik7v3Q/JrR7yNemKUG3NKQqeQli5x61rm/YCz3T0+YqD70uYdTVjqU63ruccoQcyRLq48J5/ilxhxniTEG9zoeEqq4YvqGZVYlI7oQ2yDlggpMpIJWksuWbhDSx3Ckkds8Yjz8bErmqXDxH+TI8o8AD9GU8oHcK3LLDFE5iJlIQZZe7Re3agwc0HJ3gW3mKnHdNwLSC2BvfP5y1CsvkVtSamu9zncqHDtOPOoT6tLYgzNJrk8YN6ZEVgTsuGLycENtWne80G/6VYwE+JfHe+pGZTRgndAw7lFXvCHNfZgTFb0B/f8XiLdM8hJ9PMhPybj9Wg1hJ7GEDOHkaLcDefBrY4VGTruRtG+cyHjzKaZzoMjWu+eYJThMmu5tvnbb6W4SIyAC8FFwbXKOudL/QqoFlanJKJvhgfn5Aae/34FDlHOmZD6uRCNKFkhI5Gh6WIDV/eNbI3Tp3ci2IiNHRS6HOeMvsHLVRpAwfZgHe2tQ1ufrblaGUEyxJtrveHQGXO2Z/hcJJZBxsGCHDnIMsltDCgq8LualfGYnj6lnGeDEUC/QroJGWpCBoVOd6cMeGzL/OvgqG7SPXDHSwFD85sCDmdE0DQCVMboZKeepC8lmGFPDLlolT8So+IGcTDN2E9WDpm2xnzUko0CNwfPLEar+p3cJvtZnklsejaKV8YV1mm6912jOZjG1qh0YvlMktE+S44AShHueO2EByWvPaHvjXhRz9NM45gJsNlFcJlz4JxBbUojGAbXU2+uMHms3GOvPGm3RFwDo2Oo6xn/OYDjoAWchtJQRp68YZd6b/tBvGPfeUei3BeglysTAqFy2UoHTPUowFZoZVRmhMfxrkOWcUCWVlN8P5IgFo/e51il6oB3FMjscW9bU/8RcMZc+ZyoLYh2VByXMlK6avMF5/olp0eZCxKjiE+5CtKOe8I4qlmTI9XwrekT+DfFx305sTFbcNh6wfshfsy/RxVaxNiIzG4zoYA72emNdGwu4b+5uG/T8bizKO5KBA8XJ5xKMogTJHCKxtYk7YMcUO+wH+4LGOXUaXDOJZ8AQClbqLyNcIi0zphHmv3CF7P5oHrCc4w5ue4h7p51+G8GywdTUGwbHTLmFqli80sZgSUuvRp3lDyltZTiRk5qnXcTR6QjLJmlFsk6Z0H4JneEaHA6c8Zyk6T9+HB7toldjfArHq3z754go2e01J55gTqpM+Qunt/4nahgNTotHauWmbD1o05lGgjFQV27B+NoilrsCEC62X1g3y3EMhEBy76iMWOBpyjxbyrc+3RtqzW+4lYDwf2Z/rcml/Omi7DYy/l4Ghb8kRF1fs1T+ivCUbGlS3bEgm4XRLVn/Arxv1vY70L1vDMHBXdc4Iq6vhrRDyh0/BBtJfE1C2AuJkAuoKjOs2/cZoRcxy7Qp/LAiXpoWgn/WMNo4ggOaPWruxmqvLgpb0x/k9TdbcwQmzOG9g2L4GvQZSI7eaZbByBDDOX1PkEGF+BEvNASYcvhhwOP3mx4OPjwfscf9hQ2sbBma3Y+azQ36hsg82S91+K3kGEfVOESRmb0GRijBreJdZj1Uc4ExZaKGRt58l0LnLKMSz7d8EZwjGKOy94x1XRdZAO1eKhRhD6Po9ZrlbA8qnDY/NzDP8wLOx6XopC3mjT0p6W04nSxEyJFHdtta6MdlonDet86DtOnGuntR49gY/seoEwW7x/rxT4XkAJ7NKGGiYoAo39kDOTfET2XBcop2JWdY9c+pbchkMKI43745m5KInqvVf1a5l5I/Jx2ClldeRUR7dvwVP5fT0vMinV03oxaLhV0L11cMU2uAr7ne8y5/LqfnEo4FGRz13OwPjvJEuoxV1pZz/tHT+SRkk6qW3/FP/fiUgIdyrCLevpt+/b5mV2rnSywWl3wvcrltMEbW+476sg1sHhJE1bBBer3f6SRGjwQmP6Z7j6nRvzJAO3l1GaiQeWMqN9oKmTIP6t50s3Pj35jSxAXfHMfcuZj0Ws/jfM36pX74u1scBzVNGlGHWBo3JqNvL21HdfmdVvkfZ8dQFYu+EK/fG9p05iYhE0Hv3FlF8kGF72R78YT0s7dc2xVw5k8D2mRKdz5dUSsEg1Gx/g6lM1Cd1U9fJ6ExzNuHCX21QYdZlQMV7ymjJquUsxyEpnXrikK0eBtiN9nL5uEiKn3wJ2wvqAvd3N4Sruk3TG++ZzAmgahnZ8wi/0z1iAAEZuiw5myh3EsYUNenw2RSLNrBtQ9x7G3yjwrFzcneSIdVIR06AdoqkhE98g+eVaemjI28BxKJyFWmNK+aY7VYg1b2f2j9aw3yRc5j2cTVTFH7XU4pKLkQN0GtxxWOTsKkOIeL9eZPcDBvX3tieFA4ZCGDLlNfX0wVBgBdp0J8xpOJAXTpnpqtawINPW6vWIxppGy9VFWbW9Z9X3YVcmAHQ602RCkWPFsKauuWVBZJnUokg0hOkdbuHHjk/cS6ti/yIotaigW50A6S4GnXFQXjsNXmeCQ4dT3amoL0gZL/gjemdfIVmRjBKz8+jhLZ8r3tMRZvoTDRqXIs1RFTdNqka28W8iamv899haEz7No0pB/BVEEMQYybuu1wkY+/Tz9ccA2nym1IqaUyeBJ6xGJm1RKgUQyfm0I5iBfRuyqy89suU1wb8w2EDf95Xb8mBaXk1xiuRni00mDPDpCZkTElZFKEv5UoOUfO5Swza4Rk8WLLm3+03nZvGjq1tXrHY/ilC/kaEqPdkL5BCTJy+d1HYyOp9b/CVqeajcskPvNFFy2P4WreeGFDXcLBbvhrrIGKUljMr64hAW6izLTWiF4EhR5egca5H5GffJwWPPn38722H2aFFlJrPqWsYiKUP+kCD4eOjD90NJIz3BkmmMs7g4yhAHenQdrhiAIgPFkgOJlaHMs5lzJAPwAyklQ+BNTVMF1zJYinTyHyyo4rAmJeh8ULE8co9VBGRsktXuEcLnj0JTnHcXwGtdP54xVy/KBhM3llycxpDOZeWRhWuaAaRb3nRfAZamSt+nE8OdOEMKysX9UfYX3/byAUJsQI9nDXdzt09T9/iYvGc99ibZb3hgZK0Mq7Y6YC8Wjhsy9OhCt5XufQ/86HgBBZ1SzR104YfOZ8vTb2YUdCe4U85cVrseo9grCre+wRKuUq6ahh4hFGmPm//ob2dePxtpJY5uZHtTTDCGlhA5c/qv5vXPx23qsJ7qkDYBvzquTMOlnrD5IT9G/vyKmO5kXgCEZydBq4fwyjfL/nNQTHeVNp0FfCYQvFIPF9Dd1zgbDDA/KzcleBFtNlva9cpr3bUCjcxwXJpKsdoSaPCEDhPXLQC6tq07sQF+b7k4IvYxUYDqZGQ9P8juKtga1v/c0+FPwBmUnI6SpVzkHPt5ZnhYOt1iyPplVlfwhL1nGnQhc82MrFD16XOxIPQajTt02paeAlWoA6jkrDDTEYjqnnXltsCbbPCkaMW8PGPEKBvZxgHJJPonqnaTjIwi5IL/upjg9RJJBLOGKqwm8lNxBlSS1uo7xubD5OBqNzt1p8Gb6H4iF2oYVTm9ZrBMz0yVbq/3GJ7ROOGe9zIvIQGtoMhEF9jPCH03nYNaPttClIwUphsey9AfQvKe+do39N8D+3cdu26kRHcOFNfxugvxlk57eQ73bYjs2sf+BPsMcqM0KqMuJklqs1Vp7dC7go9T8oSG9pppYXD5lnylGTcZD38tM967h2GqwATGrnTLTS0+F8XNL3qZ2JLkYkeOy+KReo1C2dqPjNhSjHYYpAuwrb8pSR63jpwgvaPGi/JCj04RaP1FQutniTT8OkOJVS2pGLMTLyH4uITBCtPZ4CMfTlHEhbA/bQPW0te0vTIZBE/RaEqQEOju3+6//0sHrW7JMDEkuXQ+25sCsSolsX+jDxSMx5hZfakU5Rcw316RylXUgSXW6HiSb1RnzfqMQah0QJ6O0zxg4QkYipWPBpNJrVXYfqapM7ZfFyOyNGOJqXb5V6EQYGmR3KlomdRB9XjFQmUKT5TLPQlCkFS4xDlxMsAgOiGSGY8s+yUT6x2fCjVIDHR05FTC8fKH1FT96zF33EhlP25x0HcONhmQX/eJYJrows/lvrTbyD8uLFcmkG69JUPfIccUwt6ptpuqY4ho5AQJP0L+E95VktsmRCvaQzxCjUvAar37D7LjAnWnZC3MBhXh7Pv5RjEzZF6S2iRZkMjnQsEJf7xBddSqo/dQXqPoJ6lB5pzYh7LJTn/c33Kaze4VjQ3wwjwSkbEKkcLSnX5j+uovoOhmdnRFvwZUWd6RmKomuf3PKCo0mkIjhi9a+CgRGc18uDx7RGbbjltlvYlfMLNnHk2dswMDh+hVAXnByJ/bDz7GhOcvOiH4cIfq+kBm0CruMhykjrXu80VH5/6/avNBl9VZfBeGh+PmP/3DvV578Ery63qtOLE1Rb/MqQgZJm1expKVo4WsZWQ8Mt5MMwVAt7IEaJ2+UpL6oWGbcaYePtvnc2CT668CZHY/PSJBg4oTJcjA+SMzosIkq/ifyTRVGiVjHfge4FS0r3LKxip5JNFU6mi4xiFcNfIPD47yUoIeqjEfGsgLzL678IOVGBWNI4CnJuqhDC6UBYvBS7F4uoFrfa+TMbEY6iCKanXV9Sl4qmZ/0HyzTdf0ZkBdiL9UXRS9zXKl426q3XPSHPBtt2kvyyF/BZxV3r8ua6jsL38XHxLonq9QB1sOmJDDsEFqfwWL3GK1GBmzDOWcz3On9R12rVQKtYRUfhtq3Scq6vTaeu9p4S/wQtMMmpraLTkYMgsDYxkXXvvfEcfw6DeyVDbOnW5ret53az4sURUXdEGR3x72XV5W5uMgSWGk2xSpr3yCgPsEuS5sAKFKOUBt/rwsfslwjjpwEtIPKqKO/tUukqxmcNZ82DegorMYBW6/fjX/o1znvejb1wPpja6Guj3PiAMh3A2KO3m52iP+zCWOjWUh2WJWKXyyRIv61Pg5TJcGbNwREnyur/rAGgdCseEulLp7zoRaWsWvt2acMUXvWFgBqnptrrTEjH3fFVs7HlJkq4MwaqirBOMRamxndCDbPhFGoqdlknyRqcmRbdbNtYVqU/APrC/JTIwZ1I8JE2XdMLqsnxIrZpQFOcIUNCbhMfiy/6OCtaSJpT5r6IzpQto926XtKqzsJlxyC1zQer0erR396OhQuwcV+muIMMSbq7D4Mj+ROma8nWRL29WNkarXDuqjEQMEkG00jEfBA2GH4b2AF00WXKNljuQeJyJenj2M74F7JWH2ertabxLqehAlwXSb4BGSazj+tSKjirGSdFq33klKYutTKcrv3vTnwd2DUFpSpn975grk11+h5VAf2e9aj46KbBAdvy4auhR4+1KzimCIDAJ2j84QmJtqHcQqyWurVrrvsQRbJ1OpXbn+0deJuEW7NhpiwrQs6NebmSODYo92QLS4OvLnydNuzPeJB9hQWRL3xOwKuCIYRkPUfxIv01gLTKdENuzNp57cto4/9LYQ6ReqVT4MmD9M87MP0e1sPknt82t64Yypue8oPbrUXsoldWA0pPrSvoccwPERf1ADK9frN1ejDxDx17hsPfxHnzW+gUd/uoGSWRtX3AH3btQ7+FNuEJqcAg4Z3J6bwMSO8vYDNwZsVvsRa0Gw5axUFDrS5ZyZgx9yUslYtf00GXVhDG7S/j4f1IKpyavnEn0uTXF//jZiESG+q0cGHEaRGmyLrVR6E/Sk5RXGP2KZGtjVf2KcU1VX8lJJD+2WQomE2Y8uxzrq9iiKlBLScHn6VGxUEszTv9399sObyypwiRQXUfuo8Xsx0cheT7QVQRJzmZttU4W3z+7olOAJPn+Q1MM+4wKY/qlvpkCC0KceZ3CeeDA0yzDyroov2+PyKMpTgzGO3IQhM8ZE/rHGY04srZxVpPaydpxFzd5n1cUSlK1lOGBXZQ6FdaXgEj2NKVAWzyL36rYp4jmtJQ0Ft/i3NMfddUQ+UnXQRGm2K/DVEkwfml568UQJbWF2x1SiA5OZloN17NTOVGEzplxf6ntgbDi1QjxVrsk2+AWWt8RWaZVfMEJtfFGBle7zVjCVARE2ViesDEmCile/CfvlVWAnq78zlmObLSpDojLKZIaX2qHKuSHrIErUWVaa73vR0W3aOiIIgyvyinPdwcIfc2E4sr3nlx+KknU+qECct72MNTMKnaCNdqXg7Gz3ctC5ONNjPyPigt9/sv8L8nucjnYCictniSNo4ITxQ7eCIU7wh/4Er+bk6mQdTE+9q50MqC8tktzrMub0K7nepMr/mj83ttgxU4gg+nAs04ZlWsmUnGJfPwKPfkLOYNu73ke+gV+G1gc87QnvoiK6FHT+us5AlJMNH2dk7iN0qvobqtHcmZkedrdIE/UsQOf1fo8g8B9BsHCkjha9r5MqNbkJJBKNB4rtizUGAHOyQYDQTGtB60L64np5BuXzo5+0npbxujrgw70kyrc+KxrCuRI/WElPRBiOCl5WYzSWbB7l+tpDDXhVwAoevmEv/HbtfC93CrzzD9Ndi4/ZG9Wml5xhHEQcdKYfONN1ijMe0IKeTYjI30ncNmwY1+UcjCv/6CsTivG0JCIFT+dQ1OGi2uXpPdZeW5wERoLtM5DwHupyyvkqZv42wOPrPk4hFUWSiSpaj28Kzv2mardsa0wCNqfaQWBicHKsg5sQFzT/RwmRJpuFYehhiV/dcqPqUskwLpAjw/CcV/994r8IkPTdOQ9BlCQUnZjU/wwRsFf1/jpVJmZBdltPSthQ67/O6qNeDeVYRTKMVq9mvgrd99aBFRVVR4U1BbvC2j3JXaHOGjhZ+72ZHrFGSTCZqy+F3tjcfo3UFV7mjvqNm11g4UF7oBf2+ZnPIol8jq83I+60e1V5ZSCMX6i+CRoDx+7ltpvMi78dY5IFSQZ66WrmnxMRJ58o36pZT78DETxaJ1n+HlHL26cPBClOpJwfiDZLeAZxaLorzbBN4bmkB9zTIqMuZEVYqL2oMc+CSoGl8ngY+hd5d4AUe7uHwWP/EBcTgBloHqTO41YUVA7sR/1pHU8K+X0yJAfI1zwu3njSQOVvNis6Fddu/LgEkaBw627I2jO+1eZPkopXfITVU0Xx12S1a1sZ7V58w5aJhwRf2gvF++X5B+F739xI4rHRaaG2sUo7IWAufZdh1k2w20l0sAG6omIjT1nOC4X3hu7XwzQATzktYAfRWrqwtYN3Lie49+seZMC73LnAyVD5hk4M/7tlRJZVJuerltDlk7N7gAPH8a9/78MzYh1K02hFmEjtmNeMCt3tK2/tR1/ZKmDSMeIRgy6oxV0EFtwdQvU+6DjRXTAaTCqUgY1Rd33kkD9N591POd55/cq/SXp/lhvwvvtp+5mWUSVoULMqAp69R+Wm68awiTrhJOuITfRLpWrRWlqN3U8nwirErfgfPg8ZgigdWG+A9SkUVcAp735qEOZS41FIbSv+Z8wwQbE5GVsEp+SZaX3baVmFZ8bj2Im2E+9VkO5y/zjh+HqCevb3nFhmLlWjTjZwCD8xR8KPjlUo3yS12u0Uqr+/ioWJBaosmSlEv43FNmJTe66XNPXD9MnSV8vkdBTr7MfGSS9o2ShlMcUEER1AWKfLtO6Fp9sa+Pt4kzn8qdUcCZ4/b2cdtDqQLYS+aizXkwQmAM3E5ptzTQ00Vr8NoJLBxD62RZqcRvALAp/eLrPLEKUraBeqaNOnQwaiBhCu4ZVkKxuonrY/zmEKtL3mKb43gVq7w+FMFw5FUlgGgEF6nGln2kcF56kDxjwqd6YbH/3Zp78OWliXHqjGVWEpIrS7YD8vlpv9qzWt66pxmuKgTfKRjtH1jqIXx2XuT/n+tF0PGJtbQKnBZ2lWiu/9IShpgyhDUrP25ZUNpnFZpVwF6pwyVwfzloMGqeqNJRMh7xI3CGDhYWFmYxJTyzEyjcgmV9sHZYIb5b3/95OL53hQmqzLEW0m/HWOExV/ejJpKXOS670X/67aVrvhbRhQxImPv5aX+X3sPYEscPtqkX1++4eYtER9pWJqpKkCQfUXozarlTDOMPYjjexis8X3JQqZrrlSK/wZyaIS52/2RAzaZmGrWFTAXHIa1R4fFPtWfw9elw4WuMDQQMZsSvGBoOhpvBDs4V/NmijRPkkM17mNiTuSaf5jg+/lY8sqTcvVEihFuqVc/EWKUJ/TFNFTuO7lcfwQ9dnlW6xtVwsbT0LGy3KBPkzZzerNnlSx8RYzmvDuHDzuGyM4lD/WEne3yfpEpQ3ELVg7sLj9XTnmct88hdw4mTUqPVr2RrYiv2enHti8KglYMdh9an0TX9futAnETcnfT48dHJqkFxWf4BobSrnA13u5plqhwpU/3JeVqs596XnKB3k6lkhNlFGCPBEwMIUkkN6BBgsgkiDf1TGe+kwtawOd0aRcDoPty6h2FfkoWwQmNWVjJNXFwgHIZZqksdLLxx11MtQxGSBuuAzg+ujtIsigCzovJ/xaoZ8oISg2/9kJ0LgKT45joDVuxe52o4fV1TqUWRjL6K+A1XK7Z0qGMsBBWocLDHLcYxEDqs08/yD5xsa6AVSGbLKemOzTgaGY3Bi7swBsGTU/AWJjtSv+hRiM/wvgUtGhl+/S2Cebgv5ougapnqK1X7Gev64H3cRhXOm2CagnHJPlaOWUQOzBj++3Ub8Z4Qx+fvP/P4Wj/2gQWIKGXJNm7xPMCkma1OZI/ZqJTclSby2/SFbzVvQKMKhKbR/yhdBP3PoA0bAjohPa+ijWjc819Ax1dRHm64d8uhhCH4i119HVP8t7kHxnojPqyBGXSq8sACrMfTxUEzOc8ZDA3kHsxItrtyMNus24SGS4qdau0JfmyazwDa9vMicEP0OEpK/q7YYd+2+yuHJaguM7uOy1O7+HeVYb/0SW/fm2NE+XFUuf3sY26FXBXYXD8tKHAU+gxpZA/aSfYs4vBN91A2Ht9vdSZDxnIseM7KeAMpCxA7+RmoyqXPJuNVv3TznrYbhXRABoqXhvLs6/tLbCS5Jf0y9EtrfZLePM35UVeGHzITIUP/ln9t1Fk+McXOVBHCCZscdbk6zeClxfP73heF2YR0GaDElftjbmi3OTTZAf2qTbzW0LeI6Ev0AseylfsviRAJB8Rw7am4Qaf3n00QNQbzLXTotOpz2Z8035flazzu06tMCQ7/r3BYAd3VOBKvSJTLjOb271UlDA6gFKRRbZm99NJl6fqNeQ5q/Mt0XvBwNiHt0kpfZcOX2WhfxAUoaQcd2tZB2+9Z6HdfpoR+/3xzN93YsYVDb/Rk7ibQibqTYMkTQdL19J9UnexiehezPRdTJ8wVpBktyTI/v7RtGo9uu2bNBIVkf+0+1V7AktAG0BqWHDtfLa+pfRW8OGOe7gWZZz/dmSFix9b6eIG3gUt5L0V5U1VqDTKN5lZ1K+JKTllX2z4GnYlJ8q1jUc4WBg4tb64NukYiAlR8eSJ4gvs717R/HLtpTw8Lm4n2F1S6oe3HF+qmv3NPbZTZROiOC+jzj+wUpbFUID+07GIc6sKKWD6sZy6Sq9yvfG1EbAn26y1qz6+yqRkbK2eRPdaggNNQiI7o6ECTQkJ+QDRoLSB2g0wAO/NMcet+NshAQnC6endsrV2qrDxrfk1Hk6JipSH7Uzvjsfdhn6l2S7lITL0fzUJze7PQhL5rrwhNdaVt+QqMQ9qNSFl8QTljKwpq6xLPRTZhZMNnxdTl9cl33YG227MRBzpilr5V04O4xx0ADYsTHm+a89wvjxhP+0mO2vFwQ3dgvEJtwxvoGwJ5+LK7mdtBfNFv7bBFApYI556czvjFrxf1BSGOV6UTtpGUYJBq7vaKu5vLD3H+qotrDwhkxiwNK1Hx9NptD183UFaJiOHZK/YHjWxwyg+aZ46Cznblk/XH3bBaUfL1875SUeUk1cUz/G0QMB4IILAyidbVQCnMfr6rBVkBvFMwXmxtvfkZRIzA06Lg+yBMS3h0TvI54eGFremszvCH+gSHUDppJpnuZFtIFknhMrKBp8QIv5dgFwtcDNdSR1dv7rDmZrc0lsFMWT7oQMSN7/ImUI/6jVHsoZGyqEmi9yKwZWspI5WBa9mewkdyaWSNx+JCdiJT4ay7lir6DwCQJCAzrhtiYVj1Cw5//F0FUWKP/9JB3BBvl5WdQma/KzyK+dMDuV133Tt6nTPYt3/UqtewCxrvpb0VA2ROAl+t5ezZl73OeoR4abI6EWvQTvmUyhrEbukYQk93hHubYeA46qGl/svd+2ZsxkeNLHKh9lI1aw0t6rbUdu/qwh073zjCUqyy5HPZQjiC1WjPMcxrkoB/0Qur/RhBPr5J1HAUCTuWz5WaCzZEq63XL/W6kZZW5h6JFVrixZgTAuYMvk+rOb2IMWQaEbO6Kl5GJ6DdoCB/ahLY72jdhOOLblwurlNdekCT3NcUNGMtykgFHkpw+FndNM2KKeP1BmOnZZRFcfX9ooNlg1aywCuWBXkTZtSX9ZkMLD3LBGjWTE+Vj4cv62k5/xX3eFa/DeWOHrTmep8Sbgz/9W/J+UlurRDpGescmP8zGZ3WbxYlF9MZiwrLsJcsVuM17Ify0NO/28Kq00Hn3RZKMB3jJSb9zjm4eYUASgWMOiDJnZCXXZeO+pwbEHJJ9HP/VpNVSnmAxjL72OEkTZHLUOmEFlO1xT4lMeWyaJlZZMLo9ZW4UXrGbfjGaImETSTiCed+UXTQ2iyFT6tbHtBLufZ4zthfW30RoE8Uz0mapY9zxCNjl4LRo8+VRG6mg29Ga8u+QkMOgnxU3/CfYqAl0Nv2DSWOHvW5Pl4obT77OCqTipYG/eZ6N4vSOGgBR6e+ygCSTp+4Nvrs2P3GOI5+GJkq4tz8L+v0QCBvJmXlhkYz2RLnYo1JRDeHIaGau9+sG4yFM6jVJhbg9vg7IcNLIClQ79G5HjDuCFWcPiANYrnnPx7ZJhhpyRhtzxkpZD5VyTstnI9K3WnT0C7mI3XQEuryheHXp+2ViABjYQZQzrrQIvtjYShH3Uig1WWd2ZQ2TWCPrI5siRzFokbiEUaLb9uNOJbCi1zzFmjzc/en8yoFeuG9Hg7ZPGpYwXwShbDJIUaLaDFLrpVaLKq63Dy+/TnfuePyofvslKDsJ6gB2rJgbjD2SStUC39lGt3MqlRlneYequBdIbT+1WoVpQ0LsN1jxiu3VtrYsucX3z6ToYydZBNkliY71EuG5JdJ0g6QWnpQYbNmjvkkds5BUveEzIMu27bv/ZRhH79gt+XjHgL6zeKMfx3LpApfYanidMj7EDwGQI/IjJMSsLqFhLkU4sZ4r8KtecRXCxvF8Zbrl64TBYnUSOxIxve2q0gFflCRW7I42LTEfRO+PE1VgQaQ3TwUVqT97+/vsSFon/JZu4TA8yHUpcjAfmabaMm0+SZBq7s4sFpMOnHRXt2i+vmpFWcjz2lCfJAbvfeCPcYT/q7eYRdHEtdL2Ts6j9HH+xhrNweS8+ehUV7V4S4siNDCuHA1UhIDTf/3up/sG6UhaiccWfN3zQNZo0j20y+RsqiTNggVWDbQfxo52PArXVOeNOlF7hi9MFJJMRshhpyxMdhSXixGeH1YNMEm6E9hWlGNCTOCn8VJCmL+67ntPHZBRRrG9OB1JLKc2S6+2SNK+M7niLxeYiXhi0ZJY9ydN2RZUhoQWjOOVAPR4YWRIJkaPgtynzSiISaRwlB4D7mzxieNnJ7DDvoB77tmTz4lXWR3gEIO/vgbRmvfs6aroNBq2n8mZTzWSJhwSTBZD6vUwo0iP6G1WBM0zWdTLbN7Pmbl59/iQJdqXHCCAYUKAcZukzkyPe5wUGWYFMROH5p+67vZfmBQUIkN+XvfbRwJjc+2HkBA/8hGXa8NXUSCILRWPTkHalgkKTy5bybFafawQwsddLMmFQD0b9tkGWiZ0d8Cr25UfLiEdF4accjhofJo5KUcjfcyHyujjGKD8OMJjH8WUbz8YKkRfKIKFfZuOfQSR7J8m6iCczXieleFbHMM+yUxqlr3bGenzPfLAo5RB/Tkw6tMmzD9lngiiFHjVlWnqyEoIbkgswWNIp4xyrS88I0817DwijSKALnERtydxVnmTMuHCqe6nfezwr8wiacv+aQldz01kYTcWRECDw3n0xL48oZLVcbskYWYQRr8KfDyTSaBZewYWSBZFyzU6Iv6b0c7VNVHL4CpfdWDYB+ZBH/Yyk/2ml0YEYxCB9pZXRKyp0AvxJPBZaH+9OzgGwsaahH6wX1w4lMhhGO+HTNkqItFEDW58wpxogMDADI33alHetqJvlc0ySmN0xRDjTQK9hTBM27QkNsoXVeEOPF5a7KoJlEuuR8Tpbz5BRew5NUJRBnUZrBLBVz1KkC1qPcear1Zpcud+jaljArnjwbLedhUPlku5BuaB+1krFPtb1eFNqn1XOtgpXZqAptkPHFOlizuMX3X1pJIE96dU4v0lXub1eUcVfZYY2DxFIUkjx1Q6VgdssgO2PVr2fS1+BDvl4I/b7ZTdXDoyMwYAAJErLoXUh6Aj5tediHeBeIqUhQGViBqkjMRkyWTXMYJ4itVJ3M1xoZM7LoKn0qpjmFuroJU0jh8SjGPGjPaUMk1c9wPz/zV0EJcUtZPahxHe/2YZteN7ZUgViFlWZmBLU4dij920l2iZAxQuzW4VDyPHsgP/xRoG8CgTIe6zoHWINGsS68NO609sTwzGhWC9M6to77THci/uy9h9Tl+Ye019EI3IzYQ/k0vu1Gqa0l4rVQTCYlOxM+AsOAe3cUDklkZpmOMLem8tjj8shEGthON26/p3HisN0q0tDmZhgEPHR5y3RNfh6IKLh43COUMlJPJomsrQo7bJ/WR2wyxfSdCoIefq30IvZzqVRxDo2MlDXtHje6byhOCgKcGHCNXW5XkoVirAZFqEN7nMHWAC+tsHFXWTq0rugtuoZ9akrDJIEfYWq5SzHQ/KAUyLUre2VqZytn/y+L2jeoRx+pwSp41Gj+lT8q4Ks3+IcSwFKPrQ42MgfF+PBIQDZqyutk29I0lsNWGIG2LAgcnE84KKM/KvnTa4Ut+cF712Ih0tYzZFqkXDbEv2kx1JgpPmkS158zSaekLFBI4y42gQQB4DpzraE1iA89pwydjKLbVqZAybahoCd0k98vCXzsGz2b6q+gOuBlP+uyEz3OlDr4krdyZGhGRrneHio1qaP3H4QOxHLpq7+IscexHeD0C/jHgmlKOlHhsjZv2HECudZh8bljJugAO2+/D6GBQ1zVUQa39ZeXNRy1DLem7Wm+QoUlzeI9CZg3EIJbn1ytef8C5uH8m5ae0Ua0ZgdIPQnX6iXA7/4UG2JYeBlnlbiy9N4zQwE3bjUrSzKxOOgmwgTR3VM4jwGZvCaPVjqNoPEB3BhI/iemiCRWT6JlWBdLgC3RHDl494Jtk8MoTq1OYzDBfd7X8aThlE+N3vwxBURrWm/+IYxQMx3eLW39BMofEny88xVhFZErUVdLX2Zke/sPY5lAt0fLc9aWKU4yLoHhio4NPWD2tzi0Am74M18+EmFYFXRPXgU8EvlWfrgpZ59ccbunqAPSkLBbshW71k9DTexJLxZPEdYlh7GQQIwofKeD5L4jTdp3dQyVL2lO5qm8h+NR5R8wBQxshxqjCaZBEzXEGbR+YuVIsaig8Izrqbfr45IDW67vMQjK/JocofWb9wX2M35Aro/OYS4Vqg1XANckdUCH3H3CbgSXtDzGVMGIdjJwqCqizklbT3nX2dH+SuY/s49AOjlg7iLHES25e6hniBgVE7i3Axw7wW2A7MiX6vvwmxq/mMd2ykqZreD6Dt51NwlsEZNhflvXOIGpySR/3sK2jpSKTSVg7lM0u0A3THn337GW6cgBM4SS7gmtGGRbNPz4tV/3OPqumOcGhl/UxXfd8Qyc0/Sc4OxKTsCG4HGCdEx1tOsBFTbRsmGmbzT/+kP9SerEl7Sb/Xf1UeOXbdnMZwZ8QhAhc5vvgapsujdJthEYR7/svhUQGMiQlVu5GsL4MRXMTEuw2XsIli/BOGbuAkOw7gswMFGA6qn0BJ0iRNbZ8OSN693zHg1JgBk7G5cD1j7BBNNaoQRMbI3lcRxbjfadJrxklHyLKYD/XpfY6nMiLQ9AmW4m5PuHXb8v0vKUHcYGWTBIa8DBjL8zsPlqiBAUYyR0aZaIKPtUxq1N7bf4O8Dpmm1sJbJBwewQ57nk0t5JM4nqeFBQft7EuN++aAB0zcXPNtKOK/mmlBgcIOeK3R32R9cFmByyj9na6ye1DHdlXSYaOAm61ZW6Q8wk/9/lusBqmvVaGLf0Hgwy7mAtC7Di6XsOVU3ybQI4KzXi3hWH/Zo2UClC/1CnWyy6IRcMgCNxi1uiBj3U6XTH2BnQZpQiWJuEYjSW8K8QHlVBNzO+3I3fveYeItzlzZQrLQgjO8rr/c1xMDiWae78lFT6lTh7LFRMQkc0B6d4teDIARgozENmKyvByZtusa9j/1Or46uKHwc3GrRlASJ2K+5SwTI0Czgv4t9CggJZCQK4ZgJzlPfALB1aIR7NzuhCv9wHzhqNaImScy/asH0WfOwZbTc462DtFwtFIzYI96mVGn1jf+vvs9Env1W3/MWSk9GnxzuyI7f81/LxXyKbOd3vDAn/Z+L9KliKLWn0zFWrI5SRbKvA3N4t+aARIbvSeBqOBHxBsd5StZpI66qP2Nize40+1q3MtNcuwh1XXiV1CM/mGJelhZ/K2MHBXPa02noQ8FI6afTkShUGJlXzClhOe2AAAvq1BpRqTeNLDgFPY6nyxQkihNnq8eJBe5t2+CVW6xvTT6LkV4ItZs6/5BKNprqwOVcDOGvH71bhQDopXudeVRuRMiDKXXJVmdq/i4/nP/BgFZk+anjGP3xd3Nk/jUWX7RmXEJ2rJat9AbMR76ex6NmbmCrT7e6W0tgAoOOPvpgWhBxygl8vS+oRwAMMivMIUOMlU/TYeu5Ar2PXnlI+Hr2ciRnNghI5fJTdPcuvDPZj8k8MMEwgtfeihI8ESiCRCYi4ePkgqiLWv7dc65KpsGDsHzEk7ucMmLos8Sq4mgjNWJ8UP9Uq9kRpjAXthsd8GA92HZFbkt9P5Q5FdpIecnUVpCw8EBZV2zyAqCGaeakRKu1uu+KSnr3or2BV/FkQS+6cYmrdgBBYEXtlfdoUNLTtwWK3SrZwPSFB8sP9R80s3g0QR701pBs/e00GaMm9py06QNeBXI7BognBbknAcAS5HBJD3hQ99ArQ+zQ7R4dFvudGJRhAS6FSLv5ilwjiCaVr2FI6se+zjazQWq3SxTDFDo9iwSMea36hDY6XDM014gVYcqUlR0cnc+SIjDc5tvG4RoRJE5ln87T1UXDdLArcviF7tbJYQWzrNgHgqWtIj856wrWl8QAAs/KlW9qhP7BwR+WEBaN2tFSryCthcfwwnxEPUCkNIweL7dgayAoRWPyrKm+p9pBcvmCmXK+sF98W3A0HCZrX/Iz8n33DPMIqQBo62F7N2515sVB1Lhz2FmcgrPgaGY98CYnEYfVoOLMvzjsERtUhaIZjtFPd9LA7XUEnwsuiCy7jTLV6J90GPYoDQrI+ZdH/6T3UfLwZvSjlan7yRfccnQVUr2QjuTDOXXBPaaemVRhG29iJYE2y6CY9MqWanETiohCwgG5eGG+0K9O3wW5yAodzFI0q/KyNEWVBtF8KAI9rdiTkvEyplV7tjAnMGFjl57BU3O78andMuTY7zL/9y0PIhr6myrNW+90WF64iXBQ3nPwIDguswfB0Cu/yq3VifLgc5t0lkIQ9yuLTThaWnN0HqL43cH24INRFXzSwBWxxNwWpoUuAxakWYgZ9U3uDJDQdGOoEXjnQtO2NVwa2qOFUNeEIX691tkBGtkNUYe8wlCaf66hZJORQE0sYlcoJMY4yQhz4wSKLdHpoYkA+TM4nYQJ3sH0bI2zOqEXowKp/3KMP+cZwO2J1OjMFY4/bzWziEvd5Os/OZjmpa+N3pmbO/Bq/V9frQx2tSdMDyN9V54ELNE4E12Wc5ixUNPGa/eaB7+ntadWUUPlicepJh68FP2lvEdC2k8NjOGBULFdCd6tl6AwbQEE4rfAws5QkpwvViDxdykWjacLS/QtwLucznHEdSqpTQ/wW/ETzllXLRtZIaMQYh0oy1YxbieDZWz5kFT2T8tAyJWP987/Upvr9uL+KHh0baqC5pmoMW8Bv3RXvDbZsPWNw04qY/MHOxVG0SE9i4B9QMCvLshO+HvJxc9Ph4o0efVNCvL47ZIWno6kFXqKtbil3qNTEa9RyyzElw/PJyrVJpgfdndvvSx9iy1qWvAS1T2YrefQkX4KuUy1XshdAv/8UtecVaXvARjVTJ6R4xykqs6+9SzaJUPuT+Ne/Ij3/8Qqy55ZQ0jBTpYtzMXvMDCdztVHXzZWOeskHn+PVSsu3CtP6ZSxxeqsUFuJRLLDkajDJTJOU/l8Ma3NahFTY69JRiLaFyEtl3Tby81FNNSfV3W1P5VjAwqCKKJcrIvmA1pY8gOe6xw8qDdNOWVgKrJ9Oc/vLLl6KwJRBjYw/2WICtxSFz9WaXxZzYkg8pPWKfjPjvrPhVhwz0/miE6OeOjaYPq74ki8ZKvaVNxXfTQEWGF8oqWz7T5hBz/4/PmEWD6DI80k3Zj4/WqOpG4vm54Id85tuUI5z83hIT9MkC5jhY29e+2nC/OxIoVNlFzlbVYtSGF9vr5ncNeSS+QTEUis4eR6vcpiyqUvqOg1rkqFwnBMRYpMlNpca4l/uuaFAIhPTd6fBA0y0ffxXicJdcgMB4OQpQV9p85YrfP7iE+jaqnxYJ0Nmz5g+jD6AAUcCVRWyCb4cdhhnm6F/u+FwjAgWPNk8XVBsXLFzl6sdykbNyTS6NgHzm2JVxxjjVfXHdVsCO3fInrtHmZWtUbDrdutLRoCLDlaIfiR2VE1gkEzxKruVThdKLtUUN/4CqLUD/CCHjallWak7onOumMoOYev5rDLyW0rvBH5/scNYJRZH7O+OZVUZ+tZzVUz+ZTnH0fHYAPYtNCU3X/Qz/NiMsHbCShSeyuuXJXS5dxPV0Hd44uNTRolClA/s1m72YPq2ImdE/QkK7v0rqfnIglj8vzrhvFj3gKuqZaKKBM3L/ZodHzILUSfxVQh/n3r+nQQ+87jMgt7APG9EGU8P6GNE3NKnqY6xhQqf9Pb1YdYSkxSK5mjWPfbDhkk0jq55oZm22vu5e9YiyLMrbKMO653TrICjWt4toU2wdGPUQ9sMopYiJXgmGCA6n/Km+8G7edk+o26SJLuW6J4uzpnJWSvvs6gJ2tCcbmblRw+RwQvUh7v2023Y71oKAuKYjphxI+teZgYF3EPB7VlUvjk7Tcs+wgADi49+xGzw+1jdkE7amevXcnoTQQkoA5EaYj+cLIunxva4YZVgnlDe+npuJcFQ63p9SoDzuoYdhaf/Y7R4rCaJ/o4js2zJytgE/w6JU9AaP4nKEr7LEawb40NVvfZSxg1onhQDkuVVb8+T+AE2nblJSHlSh0hRKU6TDML/8W322UkgEocBzMzf3XKRvOQ+LJ+WCHLXCjEU16+UnFLh3MGOv2JUQ9lnU3zxUfVmeuLh31AQpovTfI9qRbpShStZLSUfxoxGb9Qf6E7a4EuWtm8i50d0pZjhcNhdJHde5YkwVhktyjg5GalfwUPEDcW7zzu7cr8UzZcTCEVgEL+L0gNbkau7pGWcPZWkMn1uuiXVXyufKOpoV5sGnG1i8OE3daG+fwAnWfyVZ1Fegwy2yuhOuWBoyVn8fZ1cq5SkFUFYAK2O84a3pw1PTO+WPtIbqQDeZ5jfuXMbnda32+zmojVsZBJ4gA5m2QRYBXomW5F0X/Lq4Gl4DlMYVyOR6euoVVPWp5Jsa4sTioDofF8+inOfY1fOWYqzh/ZH1Bll9IT24Xd+92jGIvUBUgVdZ4NAb7YDQq8HVPCnkZpDd15cyeemy8smoh24+mRiBy7XSyblxgaOOijqrDbAn+SpdbkO+Hy/7rD9M6Cv1gPmXDBJVVd8c0pI6bL54OFmTUC2CexX93NNl38Dyn3GNUuAoTiBWvwSyEmqHKAPKETSKnW6/KF1DL/yVBIXFSk5PI/WFGq2AaTbmo7pTwZEc9zrQjehsaZgaApNCIGJkcJci4VfrYCskAYwX502Pq0SdqCsXKnU9c9kHqJA4vhcfX1CRBBIwD5fvuKS00s5zU7Ax4MenbFn1ZaIqfP2z7IUKsT8RmhrQyW/sIl6iCbHGfTSh6AYyoSUeOEqK6coRBmxDutLOonDl2fvlj4bYoRVpFwh1c53gbRSxwwXEXLPEz8/hoSeQjJaX62qofTerCghdxn/1shOhx7NCEt9B40fUywJFEdIyDrUYgtcPuZwbL8Q1wS3RQw9Cg4AzWS/icQV00V+r/KHi0fxTgncsfNRSZMsML4FrZTjzSbSbk2e4sb6dNVhM0Mg3XHy7nY7GwN8fU8a1dxE1DMyyD2HLtgvpB123Y4AHZnm4f9vLyVvR2vTtj921CiCdwAGLTNvAJNs1AY5Cfdc8uOlGHFeuQb32ctO2VLbIUzeWS5o1KtAjmgYsFmUDBRoV6Cs51bP431Hkj8MgDH9PbORdSm+VHqSnoL1w9qWO2wVzBZ52u9QApjTQM7ZomvARD067Blcgh7F6fWrTaQCeZ2QcZm+cs/gowPejI4FSdtehw2behHiME/h41DeVp4pDEATu0H1YSwrLoIWFIasXgIgzU7KBbBlKobitRLBYp/vhZFCtlnylo5sbL23KnqLiihHMbTt/z/6X0an3Jqb6xUOtI79eXA8QwrArOEvQoVJlFwgwjtFySKg9wtAvj5x6v6Brnk+b5DR10ywMbghdvZfQO6KaYt6/Xe5VLTTspJgAUiJORBUym7mK74Oo6RyaIz9a9I8cPGlv/nqhNAu4cEp4MSXquJClmSYevIq9gR+OeXSKrhkkE9gjI8eHjo3rBOC19p7DiKnw6L1CzS8jEZ7+vcZDR97PSy6j67eZXACP/Tv+Xl1mqdnRbbLRjhaAg3A4QEGqkDVACoWesH3z7K3rIJF0TDn0HgQQ4aI3QyXFY4T/bTtXqfpGJdXN0+HRyg0T8ONuDZb3SPibDtpTkvFd+1en8GpqY/1drgjcnka/k6pri9ptl5SxTqD9pwld/2xC934GLI0f5/crNI2wQCAdMhsRESfzcvYsfvxGX1VAaevFPAqSdEW8/OJ0CKNMSP0Siv5T51TVlydEiKMahXCVznklXahPKMG9evFvjm1r3RkTUIH2CelqljARnlsw/e1avG+/WgUDu9wx5Kbt5Kvnm8VuFxjlHg5/0nXdIO7hQfgbfQPYc737C3YVE7twhDP5ndvTSrQEksJhl+igJv2fN/1ybi1Pg6Ew37o06PknnMONDKk2rbqMnOxKhiWjz+MczpBU5LNHfH29LdEiAJQi07X6eh3wcpGin7RWaVRfoH2OA99L/lx7GdVrjXHQto59lvLsUvPERlq4d40+HHZVRfKN2CIvxjTU5i7JRJYEmNMWoI6vq7D/oP0n5oSUZI5V3qAY/9AQznZaefA+XJ9e8GScRaMEMy1z3PvBQXb3na2w8Nk7fQCh/yHBIolKbi7T3vzHulkEVhoy2ZZEFcD+D5Z7nz37w9WzfnUD8KZ0qxh5TIFGhl7gpH46BfVCLqSPz0LnRqKY/tfs5dPq4t1z1/55eqhBKOk9fsGMvGa5jTOSIqpXPakmp7wqCOXVB8bzscAunky5Lttnoy1sF+TmDjTS54/4zlvX3+Ts9pdGRj6HZN+0293VQq1rqdrgnGDKQuNHC1VcGYQNP3upNLIVLQeV27TFcm8aeAwv9sMyh8tKKiBQCKzVdVlZDhoDUH5d6uqwHdeUY5XFI7u9HJLkbPclulvlL9Ula6Mkr/0oNA3eiRs96FitKr4FGuu8J9wpwOE2tEv67GoojMLg/8IqzSeX4m0pVkeGMpwjNumFp49JNkBhGn1J4CeCutIWFR/WVoGPE4Wxls4jlnieJeyNMCPO83y1oVWdrLtRgxr/46ENVO8eIbu/3MR7Y52EgAsaJ++WkYXoq8TpU5AXN0pCjIQU501dAefwENDfRDaSOpVilXvAp3qS1nFE70JyxVOGcm/qQo7tG05yl7N2PGYJLLXKMVKHIJsn//0Nt4utHp6bsG/PNUQqatqkCqNUEEKKmBI8SW9HK7DfoZ90ag/u96eGaInz1bnboNOUrjJgD79D5ZFVVcymfGzAA1fe+qxeE8U29k7zEdob8k+7YwNwM0miqaTRX8Ui5pS5yCW1axYX3m31Kqc8FsZIV2XtODrapL9xh0QJWgdR42W86+VGEbVO6n0ibR80Ox6MPmppp8ipDoANmkq89SBM18EPIu8S6uIiXpTC5Po2lOQVjoqEK89Sx2YDiBDvojXXfUWAosqueNSVeD7fw9A2A/aJOeUR0Vmc+rr/LnJoBt6jZ3bAWEZtTyTnIOdC4axoex+9NzAz7T/l4Ne6kRzc0ovhAJ7oTFDzawZHZRV6E9wT1Ex6P/ChQMx9BIWh/3OwgCVYoUxF3f7QEbm58yTW4dydtikyw2FphcLHE4GAjtvfkGE0E2RngFHeVj5ElwOGxOMI42P39u4LjILahPKPuWsk8kQWf1qjOUB/LfkrV3y62l/H883TM2aBnXjz5YX+BmfPC/D4AQiDkSsc7S9xHBV/PXcYA7uD174Rrv156Zvts3Q5PWFUYbfo49TlsDQ2Yi4mn7EW7LYDUy3snekpmpeB9vjW2VqZC0rywJJap9GWidO1dLYRRpTx07t4GGq3ttcBjySiHqUKYMQLfJEIFfVhj57DrfhxKauMYu64eBIjs+qBgl+xpXM027eleAC5+tJEFBwYZDbJHyt29CiBfq+FfXo0pWnzoGwOkHF+KTNJsQ49lUKdePtae+1NjvDYQIwmIpe5xeayLoyO2cbo/+Zcya/rXsrwu7TtSPvjvbtIu3OaGlaxrADgxUznnn7/LMv5ezV13iitONJjcPZRN82cQe5Rvv4lLmE7eU5zUNj6ocTMGkWpSufjc1OHrPH+CsUC5u8Cu/twVoDmTswBehK7jq/YRAtJMIYUMcYFMo+2RTAMnjLcPk7dTd66M0UQbbgSwie0fPy4Qn4j9nFOLEs4GOoBVn+axFxe+tlVaiytoMd7XNz0+qTEUxqswcKHAJeU8mt9/T7UUXvZvVBAmGI5luzvcYHJ2GEiGfSjt7Dar2k66UFEBlnPAz6zlQfAGpQ/6Y8vPs4/laFAs7U9/VVZRfzQRo5GoJNZNAuJCkA58+9gbVS5cWwKXAOS26dmD01biDjNHfO3pF9f2nikWJKvpurMWENfZICECh5EDBHoloV77b8bUL5bLfVOe9yOknsobE0Y/rVW4l16hZon7JL1+J6Uk998SP7tL/Tk2vKFSgxuFjexDbxE97UQ6P6TxdhaxEeqVV9OPr6DCcDopp52rN4tTamreqY/6b7LA7GlXLEuCqNGicIgi6u/yGl4Y66KMjQGyqNngwyqg+cLhoxWMsaH08pcvCnyhAsi11fK7IGVlQfshIOR86K+wiWugG2YrJ38M+NILnimiIVzNhNlQsPll+3Uub4yUqtBY8UnBv607GljzR24S9o8hQwjqJNa3HsEWkj+SmtPNUeWNWCPFHs4myh0gFT/M06A6rE1TPAaFITz85w+Iby4Wmy2v40KomR2SiwPsghQF7KxzCVhu5AjbOsn2LUBNo4XNvyS+3TsmtwJgXMNoqrxsIDnwJ8A33Bnr/Zo+SxkuSzpMSEW1KBq0pxT7178RTbeP7NU87XLJZ2H2alzGfDjF9K+PKaa8eHg1iyTaz24eqidSgkooJC7YydfMBsCxSR3g07BJH7YSiSQ9pEoRWDPYQpLfVYa8f3Beaq5Age91p0HSUSj3ewTv1lpZXWMPO0u1GUGztujoWgAjqh8U+N3RTbTz2uRS7Zi/NbhEbfR9+uoUJaq70iGZC1FwsQEeIOPLTYW+4XerMNMzsMa+kymc5OAO+CPZ/V3ycnOXzGaXeFOndxmwmUt1MQz5io1bcjoBgZo7gR77OcYggHChI0YWJW/jYeW2Kw+KPVKOVuq02cY+WXCCF5yI7gLCbg30QqU1b7Y6OrGclL3Nvq64IGd8lYniIZseZdYN125XKPC3cJrun7amc85cK4B2/A2/3iBed9JYHYcLt0GY5IybEKwaGkJ9hWt6o8m7pUr/JWGg1x2+XaPMUkXbEJCUunTBkj9j2wdr+pYC06uFBhQ4uO/ocbL7M11d6D4vXn58YdCQLybhNZxESeKaWPtqtLmg4MyZLZZ/TM+DqUXJvBY2Tp72ttZB3uGtyVB6XEUeu/R/NdLNt49VWomHf18I8tfwXmTd0/B5kw0JN89rCeANSJyrQLpvNKo9CFAU6s0gJU0IVfpvBmcVCDYUTwLyYmgAZX4iK1IhKJxUUcBa1LC8yVkkB2yhlerbNKQI9OJzV8p2vKLf+MFf5D5GNSSHoMzBgiQq+GZZFagnPp6RuF0pn0fB6TSkIBSowAdXo2bUxOeUW5cXY8jdcos2TBK/XmrjR7f+Y7xQBAifZw4w356ZUx6IPhs3AxYIvPuT6QZ8esU3fjZauBEoPNNpjbMrHdVlj4oG9OBczK1cxbm/HV0zSa3mmSTuZtc4tbO05EFczujMOIgPPAIjgu4Nss3EbHETM7zqFPP0vkJqrIqn6uyBP5lv8cerbz7sHq59ixGErElqm7gG05fp8QM/vqZzcaONG/z+RU+efYyB75dsJd03daTHnGfzXQbjcGkxiWI8IBezau95J0/IbEPoz92XimmeA3ZoLc4fkvXvOlD+4HWdBLnl5nqcbG8mw8Sl31iXN4gEJSSVoCJ99dQ9sOd5nn2XYw2YGV9ADBLl+xDfbkKludDam+OvuuoHbVsDfK4n7notreernf65YyeS9CuHBUVEndKKEPAj6diX5aRYgCw/0x6EBXxLASpd7aN874sIUteSiRGmNS8EIC5Bv0t8cueFhdhwyT8ebJHhStivHua48fODtBF5neNm5qvCOeVP4y8//B7weXx3FSaiiDkDOCVMUOWKvCehGg6m6vruo0ssX0/8b7f1NcK0JiFfxjqSEYIwzNNcUhAovroqBvPgTngQMKPVQSshmPqNNyxe+cO721MKWqfy3XnIr5/70Y26SkDKS21/8E8zlIiAWyNiM8ZRHdQcVBeSWAYkzN5NXAhgbG2EFmEDHNFXgAi7qXkYObHQlAif5xQ6S3VRDakMO6kSYHr17l/yea+0MwQmRHC3FT4bzE+nmQ5H8ZdoZR31wDQxXet/BdU27WZU0A9IcEhq0iu3geMCq/xr0M0XpcTDiIrn9fpbYgUUjcUWK8X7llLpystnwS1BVyINggEb4aAkZQA1o77cBTJeWMKvbY5TGFa1h75VsEtlfBTc7w+x7TFqg25l4zGmTwNc4ly01nXPotIdkFEiDxrSx8DaVmc+p4FAIGSFvzO0MS2ILnmqqMQIOKQwmKr9heBnGHxRzIaOIc11YOv+ALE/cdgoz/qqpi3T4XkyzDiAA5ncH8H6nKL8Q2/gzsYaDeVfe5iG9HzOJBPyN0Q4UcNQrpqyWZxFUmdPuo9x1sFkbOXPYn86mJxOq6Jf+dEwSde1n8Q3q1iqw02kgzINqGQE6Gxf76J6Cbfkr+58voQd+4f7YZl8QbYvKPq1fOnBvceAik+380TAPt5nARx+dDmnfI4BQqxWQjgOsCohZEviNIsjbEavUKiPYlvGpqG/UEyf+KML9bWRrl2vHhxIIz3ubMnWq9Ub3govUfNoWy+Id7QCSnKqkUQly/3rxbrjl5QD6Dqck7bVWuGlJxxlCkYll0wBddAiDXXKLAXqwY9sGnKfBdu95sNmSNqgLdPwFc6z8GfYHAdd+KErxfHaH0j8J4Py5MGabMayjB/XB2kCif94EdO6RX9jVzyS4ZwxEly+FTOiRib9t6X3sf/AXsUeFMBBUm4YQT74KgaFWxyU5p86vO4HrGDNYiHQlMkIPju1gOpbjXJJlUt0SDfqThM1R/9kEbTsjC6CbSefNxAPC4xSpoII3NL98BnZvztvU30cGDxbYDjv4aK/woV17tNGhUg7aOZfkS/LPsLwo5ZyRgMqqsi8kZiLW508HHgMi14aedt8JwS+ubL+aw8c20nSdoNbDVa+wyGQN0dAd6s7V9JVRn+czf1yphciYScdo8i9lKoCwanbEnr2W6wLi7rnGBJSMleyxGMrCI6mqZhyi/cxMhURY3ZcBihOfvSQJumxn7E3CN2VXlXYL/0YNQ+/tONr5jkHXY9IKaUVaCtUh6PWjOpjB3TZ4DNTF8fxAJzE9rTPVMY7yKsYWTd5RA2I4U+NDveMyL7b7IV0yEjKH7AFUtFBzu0HxPdjNymByy3Ap0rUxr9C75zyr4k04wuMZ+1XvBx1ty+Tn15PfpYfCUQUYdZ6gewCkkHoMxspUnVy29OIBar0B+seDcRN2Sl0ztolBAK91f4SZb9iFa4ImxrXL4Pfzr5Guu845nRPQ9smoqFo7tPuvisXbMxD++4cxLYKBEfpWHdDmSoESqgFpFi6Gb15bGNmjt/YBFih5O60lPrqJb0QydVFZyxwa7KdqriNHtj7rV4nRdNZlC5La2IwAaKvR/jPKeljV9Ybg16xgwBplXHBkqCJrxQ2KD327iRUtc4PsWVEXY8nB+p/rYk5NxcQK5k0Rxgi43wrrQKkbqlOTEvRmoj+aaDJHcViIiG7VGUbHQ4dJAeXMwwWutFgfPYoMocBHKFxesOolNr3N2Y4DD0zutFIA134Xz8+Qo2X5lMckDphVlGRdtjlbww5o3XBkL26rKrJqir5CnFC+riRU8bAMfTGICaFUEbHzYq7cZAY+aHDdN+vbz7YiH4zeFGRJyRblkuO0q4l/cafw1iC4HIuLAzL1HwItqKMstptH6sK+J/iM4I5/QNGW/eF8uhNihyqvr30UALlPXFNiPSaiNl9XgLdqEoC2TkHIQrefPPyJOlJMj0ZqQWRdp1L89A+tdZDok6YJn35khP3wb8GfC4JemnTtSoauykDys0fqlvfiN0fVZFcqJ8uPVzyiK1d9CV+lOxV5BmFqNqAL594Pd/y8slu+Bqvw6aYVXSy7ZIaV9EoRUK/qj7f+n3Zgbg9PzbV2HCoduICg5+2BP7SDu18jWOvk0oOiZCkx/WZeG8RwrXTHYQRBH3sQp/TWqhAnSyqD6ma0+GIrKwInS7yiLAdYuQsj6seadNliTnr71xghMsl3dWNstXYkuEy7cA+geLngU8nsha4iXWg8AS9X2KcSOipzHJiurilj8AwvoTmY1noGB5STksWuwK3pSApmYFByS+/UATkMiu2nPlN4rPDriPAovBWg6N+HJV75WLr9x0WEYZ1wLTNsQuiMjS3X1JjFYUxbmPJxwDxYORICAt5GFGXeID9T0BHTq0EpCnPfHYhmIJPljY9nUxrYMJ9GInMX7e0Gd2lqReeScwBRZJMVOPx8+aAOh2x0OxNhFsSM6eyJzKyhfVvA/ic7J+f7ONASCyvvUp9sMF0Ra3TiADMEWhFhXUuURRkG94qIfXgJ1ZNGmIkg3q6iaUdC3OLonGGOrZNvZETVEtiTk0GK1JJjHUSdY2Kw8Rt5LLM00b+7a0M++FWl8o+SVt73pfrWRiTUep9JzfKCvUxNvBvvJ3XjKgNiYZwnwreyKwgopASgDTYn4MHcsj9IUOs6d3T91OW/w+WYIP1peBTSoYQ8LwCXnsedBPn+XbiUZJWi523/jRzaFMJWPK4w0fqlgdfWJWv1QAPrG3vc6Mkdnjan3wC56FgtlOVMaxBIUIZNPofxmlm7sWtxZNQcWTKMjbFagd5Krqj4jycR/qChw3bzE+oaC4qiFyaMEaqfoq71buh3mtIHocw9zxuJsABjEqyZkVd1zP1tjMxl0KKUoIGfLJ+EQFV/5FteMPldOmCbKBL22Uhzgphbn93Hlv0RvYZDzaj/azif+J4i0MAV/bcisguS27TgbeW3+TMGnLXJjK6VHcNN3UHOovvFub67/mr02PzNOjiMOjcPwu9dHN3GpcJEPUiisMYBaEEiH16A0Y1mUS2Mr6Qq7ZZTqz2qVW2FS4l2XDsy5tZT7OiH6dtH3Qg5oVviPJBEz1EOzbypP2/2qJioY17e9AlK+HlsAm5kl9zsP5OE9gYj0j0bAHjJbx0766lj4uzPyFMSDku7nI71hMc2I6b+sO9uCkpSYULCwH0HYiDF/DuylGHdJtUhnKZxqmJ5uCG6gWjNTQo0xmM2OITMRC0JpZNOzfJTTYIY40yury9sklZk+vFeCNkzMh4CrM9a8wF6mxiHRRKLWl00VqeMBwrGcSvnEH+durgXb+s2B0QTxRZj9MllQZQso881lc94UHKfdB6g4798JHG9hUMcDCJXAABIGdEYgq32UyCukiwCKj1ShdDStlEpN7hGEYksYkzjdrw1l/LopqotSYhYwGrV0imWoriHg3c9/Kir1/KwXty/z9C2XopqKmJQr4HqYJWhkc+1cET2DX2rrTXEwFqh85ebQvJSA4t5R3IFyNunbiiXFsncPfLY7SSRF/pyCAKQz3aSsxeuH/nelV+f7WfzXyeQmcgvQSUxevvDP4u/1RORK6v7EtJ17auhZ4GyhoJSncXhXM871czqlZK8HrOFG4H5rCQlF01521cYBCV+EgSXHqVHPmLR/4mB46K0unPubE9drTxGfVoilZt0KZem5o2lNDisupr33j8cRVBwB/1fzXCSEei6p8GYoSehXVNnOujD3cfVwsbVNKxtytS0Mnpiu54MwoACySE0fo0SLaJm50UiQnAnQgi7hG9dkjCtQUZGCsfJCNtXkHkMwtZkYiWfVrciOaUoGLXvhZNICFqGI30dhglF6R+HipIsxXBx2WBa5INcXaceb97KPKV3xoYTtxB12Gvw9djIURWAQ+87mKvr8JaMADzM4CqIRU2arTUBlqbJAl3u1wNQBW5soJ6SHTWnSm8RaWrr7kGzaZfw6jo1xloG7WEENyfLq2oxVqh3mgE3hnM0gRe/fI+mKcngltBChmOn676In677IRmg47CMI+Md9r2b1IKYcWU+2lakFedEhRhgj/j9wzHGYGMb5G5d2mqVfd6fODxGh1P2Kua1oQT+TzYQYcXfZ4WacV5f408hjNf+OQEjwukasHqu6BMGGkl4RINcbY8y5oHFKXEzLwNmngJ39LQKeWK8U7sRWRz5DYve7bGtEv5hPT8063NZHUnNksjC9UfWwf+5EIjwD4hFrsJqFA42Tbw6V8j/lI+HPhSp6Vy4py2g/tC60pDvBTdTvsFx3GlDO/6L0WFkafZkB7xHdXUFkfJLhLCf3l5Qn6RX2w7yHA3HoYYOjoCYlgKSVvZNWRmxfGsE0WeToTYfmj727aaSL/MP5rvA2bcVXViVV1MBNYuiZerZOtZaa/k/abVbiKqQkutBfqsLfpzUmyFQcFcXtuHD2wCWxvUSEpomRmueiRwferkdioOiR3joKpwCzogEZzvTLHFQ2c31rUK3zJBRYaEab6enwYE8tFSmdDnyF02/wAu8Gm38kXi2gvxSnagMFaACokk22rGdnXIX9zLAt9ehX/M9yt/q8ZisNlI7+el8K+UegULK3t95RQsvuh6gv1El32kqpz8bRrd/jewCi6Lar8BdQZrxO90cPTGdqkBml82eqE6nCLvP+NplacVOTQtmyjUqnuVpK2SEbVZfn37NLgRVAv60+5pUh5GAwxfbaLo9d+rCcclpqgFqoFHf0EV4RlnYJcfs1YdxMQErE4dFJ7ZGDZKC6L0sR8LVouezyPlqvabTNKoqssMv3WlA5E7A/uuckZiCbn5agpWSuNPAwEZp1X4CfQqLJsgxU8Ki6vYvIfX8KPGBQlmg8jRP3nQ91puGUC9Gp4vKElOE7N8CLK0FuYZCaPyhyt78ob0wa9ch8TQKHeQJXKtb2RI1SU046w9QxZi2uYvCnRQehEdye2sit5NXYeggCUCp8cnSU1Bwv8fVyoIt9JPg6o1SNQ16/ByBKBo/+OBl3yYETO0iatg8nIU1En5qiAwJTclEv5B6G6lC4dNjctgH2ITaVUDH3SIdU0nW/JivZF9qLRGmbZMw/ExcKfqrkos9E9ygu2qDCU2tH6nT2pFxhyJIYg8hQZ4uew3iETqXWyLKBrZUKIbQMC9jQsHepjb4OwFO8qkv7SOn6eWe4fpBPEZeXqtswh9ixO7fkiG6/M1e7xRX9Wtaq16rdzXUYebDIjGaTsDnt1FfJ5MbfpI4cBtz46BMuAJh94oj8GQ6MfxQt7VZ2rp4KX/aUyfboSQfAVqNDIq59j3/27EMGuAPKuB0H/SYw3BPNaFT6UMlRRfW5WHTp1sQRfdddp0AI1IOloLdDXpb01HVaJhr8Lo5RQ0UyfT/cZGVCr5KgUSWlpdO1QxaDrm8xP8IoFgpe/lcmrTyOxTfla1u9sYmjpazKcHP7G5c32wtQMyBXSP01uRyEDZtzY6SomlvbGuu+fE7epFYHPXZLu1+os1Kl3E+pTP3Lfc7aMxII9sx3BXdQoBgOxaoWnvwJU6LVp30k7HfP55+n7QyEU0GrXd1RRJ8ZhdCHt7Ly7XYbP6hRe+TKw94nh42t/U3TFK7xeGtLxpYs4mAWnieA48elFvD9yAV2asuDzarSGnvAJ2HeyTgJx3tOpNyAg/Ji7DAA9Y7vklO4efycAHfXAgkStl8ItVIfIsb+0vdEZ823NzQ1F527bd+DxMljCGUv5DKPU6m9aULnCdLMG8/WTMp/tEpGKwg3aZ9Gspxy9JwlptEeXICuzH0cXQtFdx5G7eMFpEyMzHTWEIb2+Jwc2J4mdX751sAEVXEd85ISusaWQPAcQXeF5xA53W7RJn5Vt0gS1H2wF9qmPiKDo9uwBw4vyUPDhOfF241wJImHZo9Grp08WvsaK/ifFgyWxYxF0oqOLjMvStS+1NVttvyGFIF/JGXxT5nczbrImviaVmqYXYEmQnD/jWpg59+SSnRpyIsiBG0wlA2aRQ+kC9PI7aG0CjXP3yS3DoP8YrOiKnm5SFUN/DkJEcoTGOGNmhCRbLUGmBFX9wobcr0QENmBz2cZePYXK+Hl3XCBOfT28NXhd5zzqiz9GVdrezQoutK6pcCwZFtHqq5eNTVHlQAFpa+zGVy2bsn96W/17Zp2RLCnK+x4tHOlpJmKICXXLl5CP6b2GKxxHHM8bRn9sfl94Akrw4xAeeFIK1k0j819G8MObmBYbe+q8jP+nA3fg4YHPWYJO/qNV8++n3vvKEj4VjLLUpFGsP6vjYu2jBtEWeu868fYXk/vOdpG9XovIEjPAq5/9/g6raLJT5uMbDDgAvvy3MxOUiDhaIE+N++/pM/OgFaCJ9lcDWAgdt+nzlEHlicI6a0a2vexlJUiRwk8tmOgTUtfpLFoq2HIOHadsMln+OLS2IQqDhspisAB/FjONDjIXEbGSuJ0QLTEOlC7aMOubnLfkjj3I1fKx8rfnVbkrCBYckFUgu44LxntvMTHD0MJ8uS3fU2HDtYfcgB7kX5xQat+eUmB1AihRyr9+hg0njJoIIUQwmy+w+ZuYfZ4zJHsI/xhzkRg3f4afMkZONu17rUnzkEveXkrywfn60g9m/Ga4usLxUz9yFDQN2Dnulq5gwL0BJqUSXA2mb/2q7t2BLrMY+SBibmUiq6NCtOYKB4u/dM/sCttcREI3e8QcQrC6y8XK+pNEFDFKQXKNuOlua+HF5FBF+Z7kClKo2XhOCl5+sg0zgrEdK3CNck/ljypyjhRPfbqcNJCYKNODhmkcDONnndklNOnEzwsCxNVO+7TjT2pG/M7U+oAOBNZ6z29Mc0Tdf5hZA+KHRu36PakSTvkUAe0IPMfUrKY77qqtaV8AJQA2HqkeGt9y04AWakGvGCPKNANUEMh7OE6+Jk061ZAW5rbhGF7iLaRdRcKdwH1Zr5M7PYnfOzKsXmxMJ768P9tGQL780YCscx6EdcXpGjjwLwlB133+EYhZ/ArUmFwpl5eMyrh5CS4M13Nafw0Zsy2dv1Su1cl39JHdzxSemBROJ3roo5e6gOI/evjgvDqgBs/gFW7/gDoAVdQvYesKhi48hGSn/MerSZh93ikspswYk/R/EHO6LxKqMsvDWQQQqWqPot1Y+sEHsBvmXhtpP574Ip3AxZuVSjbUdZA/zF0h/Wl0tZfzW/eWg/rLRclW8e3WVNQy4JBt+5GW/Xuhyx2BkOyg30EbdnXvVNSlDf6CTTXyVxsZg4aRb2Sf44/zYyZJkEGFnQPV+31PZauV4z3afs9awa5gMqRHeGA5JAxeL0oeKvGbJ3Rzc3WGxTiNG0FrNCKXvagq+4sHcBfsM7yURartfjj8EMhfUAEa1k1jKMEnWpRf+2gye+VEVRmrMEnq1EpIvYjl9jL6PBXrVF6NPPMxYYRZC6se3W1Td+/UkaAT0luTZIeaj5sT8jz+dDv8RgB5BE2Y5lBWTZTAImDNthQL6XROhheyHDKlm0bKlQeWdwwIql7unTBeIMhVg5MkmkVQGQIfYqgFtBjTsVCnvURD/zk2BjHjT7aQDmplN/7XwMciiya2BbMAjvVGFeqJY2LZNTXQ6HrQWM+K/ko3D1mZDW4+EcAy+SF/H8+ffyE5mSCG6T7c/XT7CROAMjpRxMEFrcgvt9+IAFlNn8C1IAp96fSva22S1TmgUBXw8rrL8DmqVbszjFJmfcTZuAGqJIfxdaW5X3G9vdjbcCp6EpoW1FVCgkpVYbmezi3ae8FfhSca2CLh3WpALPA+xbct8G8dA+PYLtUehHlqThhhTkLDD5aGbfa/8IfViwUR5I7RmcoVuWlgNeJ/o1PC6mo9LbnbZpemClZIkLcsyR9SZoOEWX69yfiWV1LqoaeLhut61+3FGM6lyF7YID5ijD19Aqn3yWks/YClbwf6QOY4EHE8iUcqHM2jYKhybk6bP7PVC9aF6cZnoOyQMf0WBoO7NLqU5kxUxy3Q8FKgo953cP3h7DFsStJ9FbDCemLlnzrHqarmkHM9WKO33TgjXLyuJxjmepM0Pf2oZyndlbGfgM6D18d2hzsfmDlhAy4xStWt2Se/h6AxHXX2hZh21dO9NgxUDw7TUQW5zHG1t44aft/8Sppcz9hfonPYe0+VxrEwmBrd6BcKpHONS/ilsgJ+FqJIirggQqHBzklFNZ/nveRkd06eTOyczIGz8bJ89DcOiJ96Q9aF7alD7K7njMKugVJEpCfT+k5jkzrDjV7Chya/DlDBJTM3W3J5Pii21PSDiKw17vtco79YjmphLkdFNZnZ2fdYkE+ofNRXiRmSZELyuyv0BOihaLENLiSEYyEJ3slv/lKpNZBb5naj7gkh+sWRy3g6sxsqhaQwSoP6J1eCJlO/WIt/1Ttrd5amEpD+ApTjXmZ06nogoe5nrRIeL14ZG9ytMtuq9PFAjwKy+yST6UPUqfLyAJEvABq2bfkdkLjBPZJazUaqyCjZB5KyYmmQgVp2IiWoFlFqkgkML/7dUTzfiIntATvsARDC9Qhft6F9yoWt9pgv4FpHmrzAEMrJiRAZ/Ky8fRChh9jB9EXwVpt8X48GVMkE6bOn0YcJiIFc1Nm+Jv4cL8OIdU4HRuzU+g6FjUWNU20uLx1Jw3ZRGxppVKZgBmdt6iW1WbyqEqDSnHlweg82RiyDGQREPbBnNk5oCuBRST2unED8HB0PG7DW48Ve7LCIqYH6NoDU8vMoE07hwCMmm73/pX6Lxy39PpuQExXZPTGXyJnB/fXCWlNB6JPGR6VnOaADJ3U0DAtODC1zZwjE+dh8TFZt+WbPOGkDX1aAhxTg91N/esDxyKCc58yzOMgF1UFkDaBUowQp9qaNQAltfUrrT/TfqBCRaVmHg9mlWYIV8AJD9mmUkL4AXVOnAuBteYjcefn25gUfmO0yXlWTkdGGeKr/8IgULtVaDsAbYUr20T7RcqcnZeeHUU/Bu+/JLAa1neFx4XiO7mAXi/zbPB3YZpOklxhmAWq+xDDFEMQmngunwvY2n3vm7/QxR5TRErQIxARniIPcU1gE8aGIMaoahq6ZrDNbXqPpz9h6d5+o/dLHH4PptjHDLZYml3JaC7yIjPmsTlwNoRKMalIJTelkIJb5B2ilWtlRD7Ix44c0VF05ntO7xh+O3jgP93dMgQPPJanw8X+V5cosDbJC+DYVKL/fjUztLqJ7WYoip7Usm6BkVIwmRFVt4SRrd+O8GhJyhYJ04getcaI9xlcq7IFBx6pXWwovz4m+1wUROtrgRBUGW+0cYcOw1iPizL7L0xmsg86aCRz+H7pnR8dhJJt0010d4XseAe1gddOyDJQuNJkDn2VU6uKWRp7gvaZyPrhrr1yf3IMnaVejIzEgX0GgX0tLWHKG1NwDGkpu7ftuT/0MoDxF+OaIiZw6R7jJz9DfNn1rWp/U6DAkTxuLfF6bpmA9s+7WDZqPj3UYUuPYteVMWjUniZFVpZrFIU9aH66FfCShj7mzTjTpMkUFhvDlaBaRLVqvtiQtIz+mKCJz6pNinIl1lVMYJgsgubHzCnf4sSEJuU63uNHG/cAkonMcpWciO+adctCgIHkfjWAnMDmVlSzFjpZ7P0JVEaDd0y3UFQHgi1Vt/9nmL0FDwlpwtpreJkQiqFgrzDT1UgPbwhbn2k63hQHYD/FotebtLouchSdUHMaloQmtTRRfMDeiENo8yaK+oT6qZvnSitFvZ39DnYh4WFEcx5zZnTBA9clZtK056Bni6hjFAl+bLq+o6EO7sbOy1zkyIm1h2vT3mfkAhkMdUb/T+czeU0A2mUykRQrsLikZF94sBkut3mQgTbKnoiYh02EASHMxbbQ4oYKF+fh3kvNaLRHHsIq0yMaPc2y6ZiEV68SuD/t49dQrAe7mS2o3LtuvLZzhbCtJS7H/LEo22U647rixJpUbTJYyaJo9LUeFni1P9lR5OY76YXdytryDCdumdzJV8eZ1297fMYieK2yS4iBumI6XJkoFKybzjXYVw+iKu1OXCEHIeQxJb9Ep2zJ6jrGcEDTAWChaE4iPwxGbXmiZjzoSIdArHU6vz6xFSHe4bzxYlLNZbeMUlroE0WyH5UXd9oCY6xfwDob1salYH1E7BwzxihHSw4DySYvnHbywqTdRzGP5vanAkcYkWhi3mHKyNzGR7dQRCqJ/Sya5A9mAU4IYUjoK5uSUx5tvKkTkAOkN8bdZ2+ZZL6QQU16aQ2CNFwHHNcXB/URSicGpOkiW0qNrtFXej6if2huNM79Z+ZbML3af3y121Gx2lyTZW+luxn7riYFb48NtAmaU7zWjlkmU5SbjpUvHeuiWz40NoObxJNdjZ00RkKsq6laiPOn8tdD7Gh6jqn3FHd150ALGxPRcPlcEWYNH/jwJHFsjOwJki7FYs5mfZ0QyG6ilIDGcsEsgqwE68tzM6WC7gwNiqJdoRo2EAUi0WcSVGHyXEdV/kE73lbxK5jSk/cDGR2/KN+OpWEGOhqXcOGvb209bAmYxbDlUFSknAds8DCdzWJyYUS39MKrNjE+AHduQVCpGX7WsfP/GkPkMhf+V+oken7MOm2B0qERFsWJmM4NzQa2mNohyhYqenRiryFA/yYhVWlUhWaz+ZBY6vzR2CbEZhefsDG1R42Nh/8y48bHoRTMt1d67gdXbrYbhcuNjsS8u7YwEN204Mbg5A8X9ge/s4PAf7wOpbqPrhrUAucnAblkD5aA0I3pmkyRDSSMNFfQRiWwSlnhWoNKTvWExKJ5vIJ3uZZeRBnFuye0Xdbbt8YMGswTO/drxFehzDZb+phmJ6t3XgPCIVLtQfCIF4r9Q/5bYw+lSpMrO8Uyvp7Xe2aAmAvQ3afD4HmbF1UQDWMkf4UTw2dwAAuz90BzrlCeYuRuH1GkYye8vKKlAivN2Vj0IfHJw405I/Ro0GrR4dfoGSJHq7KkEEIZHjeURQtWwldBXZhOfpg4Rt8gJh1G6F0REjzWHd25sxBCesbVSCIx8AP4nv7Xfw2uop7EmWC/tpVgfYzVFMGa2hpafgRYF/2qGqflxZV0O24EYTwchH7yTBYCrrPyh9PimNeapgfqFk2Zju45jOtWhEH0p7qPE2VBbXIq+cKSm1M7YaFVzgXCrtBRESEDirRk23j1/zijgc2k6NriedsZBNjZ+IDfEPp7QSBp+faDEVwwUrQy7qQOWR0EdsPL9JWi//0UHqtpRXK9RH8qw7Hw2JahLru8M1Cu7na0mWAJgRGKEZvJGJY4gjIcoUFGjaxygHQBY8/AVO8PbubV2zjGtcf3rrAmGb+9CSv4Ujnf6KJdyC2nt4Z4avReRCi8mo4FOJZHn/GJb24NMi8G1PpCdgmmOXL2dUzdmPidlbINxObDJxlZFUM6owfsVo6hDLfO1LQQfZa5Wj5yNpe+JO2wTh1veDyyDepIbENmfhEUSeemHAAdeedJE9MeVpwqzVwUYGMt51+8waIpfLuHrCOzkXlrx+/sGBV1prBDWINPnRDlppFCAksIXZW1P31mItNrhrGGVN7SdsTyKKPqQGOQCLn19Pp6cs6zoGc8ZSOXpImYdj4x39tJjdk+Y0Kp1YXpSySQK/bnOBK1QJgwokj5oow3v0mks0l5ZurEGaWRvKzvsnf0gGpGtLi56JPNS22pb7oHw/su29wK/FkhlhwtTeJeVNk/EEie5eOX0Rv34eylvW0oOcfgw/qjpyvRY3IjK7FJpWPmf6SC/n5tPMZV3xnmDj4m7Mrxk6LVkA5WMaYbwwwT2mXVLEbB3eT01K1aJfkPdD4H8oioz0yOUwmWonoJGgiuct/rKdRNQvxB0kZgVFBOocKrCzdfZqfb4Iu4uefmU/jDgbf3OUuYvbzL0KaDkql0XQYeag0rhjaLhqlpJx8+dkQ2r/uUx6SEmtoHs3lghbp7ZeE97a11bIHNVkJRe5oRaMKGeP8PdWzECrj3kesHvPYt10pU9sob8/5OokHW3ahuOrNjX6iraakCBloZCfZcq+I5SiAcYXynvZlu7fQrtPeQOaDRvxg5B/Z8e70/p/2hUH3ykVnw7/0PtL8b5CYqTpIwFk5CL2S7xxKqPSCGssMiSOBrW3se0PVheFFlvRspRgw2gY1oE6CUPsgCCG/yjNaQa5DoExcvTFxhUf26hSknZUfMs4hnERuLQDBpmQjCDZc0eJxH5NtC2lXDpCbrkWsJOZPW6KEGYtvGXlnq5pUF2yj4faO70Fs2WTOKScxVBnaUcLqI3t1yGcHCiiG5CgBITP0TVlaJE96Gt3Uulv9rCuNUpEyw/dprHgQKFZ5AD9i+kY2skY1M1fL0UFNKsyLSAzqv+68ZuzDIzDFBpuve/Rc9b56O/3rS+RpOw3XGW9rPrd7/bVdb9CUO3vv1sQQ2SsaHq4qNu8iOz3Ropl1B+Pv8vCbbDpqIQGUTD+xJpl/NWUXPa8B7KM/keGtOHDLPrHUpgXL9JJ2E2CwUwYT1aDTO4ZdxWuWnpREXFDLAR9b0DAEpDEDpT8dD2ltreDgbLdOvPxZQeos5YxVWOYIVJXBABsLrk9+4e6HowdLDp2V2pFLDZGbgo5QnFnHpdAOjkJV5lnVMyXV5BVkJmNOWBOiZr7O29of3A9S9ihTZi52AElPUjIvBPftx/VZJd5y3SYHsrWJZrjPqHjd+NItL4pfyuMcBmgwrIdlqKjM0G+NdyyjyyZx7k0dfOQBwS76wagHhvUste6rqU0+KyuiXZ/Kgct8H3e2J0TzSZP37NKM0RNfk0z06SzGFCKXrI01sJu1m94qT4bgXAYe8RLOyFVM8PZnVDxBGxofLUI+z08wwovOH5mu6MBWASdRF5LlRSBhEYzJlpxqa5a/eHbQrLAwlmE2q7uhSvwTEWyZLOvqVpNW0OGTCcKHeiDrWUlzhXRQjMufYnBJ224AwCQx6+EEdld6iArNjessHV2evhh/uzenARa6m/9o9iCuWRJB9f60y011PpWcLBCKepQz6Te08stSuqFESQiSSN/9rstLkAip4xjLtBTnYU/HyF93Vmcfba4NdN3+jiHRa5Nq/kRRsi33ORpXZnMADJF1IeNKEtNqT5yCtQYnkH0CPJYxAOT+4uuut0X85zFQ12cTaGA5Ipqll0sMg8ciVpYzm5ZMhHN2orp8GAnJj8xkE9geBbI7DsBl2JVqAxk4yXz6UGK9AGVBhx6w30PwhzWB+FRjWQJVEBugps5g+ZX1KK1AEo+y4q2h9+6Vpqvx2sNUhSp4Ee4VGZXclhPu/isleGyB0RmttRL7xAkcMUdJ333kz9gA/p660+cZAHPr52uo9SiDuYMtJlJpJwk/zKSk0tqZWB/8hrminPfpRz1KUi8eWlwKHAPHz7XQ05YM7fOvcdZnaESuSsX7REmaepqbInttCkD08JS/sODwbfvSmxzhT4HkVxmp5BjJzNdlZEUq9swpL9a6pSIKfcDXkfnkJjrxnKtsF/fqufyozrZvCz6Z/3gk7dS+as9LWkE++52PjdqFuM84dPWHrdJc4M4BMWNxTi/eO2uU2fpS6xTIQ/EKhorpsM9tliY2sHBdvNbAgKi1kvbA/CzONBfamKZYKbOny5SpMvcIb2G5/yIn8n0JfPTue2cJvGa+mcv5Yq4KivIBkAYCROmGYbG1EddKfpPFdOwYacQCyTajQNNQqedFZld7yymueMVR+E6ZoGluPEm53Hwc2/lfabxJrzrMPTzm5Up59lGs8iKs4STeXip+iJ6BiuF8ZU+V1Y/aMVqr9mBmzaEtQ4d1mNF+E4XGguKCY0EWkJ/CojvxiEoEGg5uetvsdFXWqTDkJv2vxgmf67wu0t8KJlpWQrzsAfRAR9vFhkH1Fsp2G4dD1QLf57bcLJOQa6RnznE7KzUaYVohOmertK4FuhK2jLd+mIE3uuHDKwDOA0hcQkPX1Xp+++ZCcvXjruO3xqNAXDuZodI4LHuXnwehkX5FQeYF3uM82RR10CK1NfE39ZS4cl7e71TQwLOh29HHOBNxaktKZwaMcaBQdkPUZtnwygIYtj0zZAHLLyfryV1t7mPNqB9nJhltRtZmN0NYONbfBeZBcI3anaz+uNoANhzq5nWeFk82ybRZN0ZGRONgv2+55Lski6DdZudZJkU3D/foEdWhfaRGaavnjYONRkiG0yPM4udsFmM6luh6kqboZ0YT86Amv5Z/lto1oO3kGu9ilE+AZvs8UdDvx1oEag94TY6/fklbxfa9QaBHPMFPE30PgtN9XHgRp80rvZf4gfKUQOTP4mK/WJ4wMRf6nZZdXOKgWBkt22Z5FeFRPZasxxVRD5bYB+I/5OyG+TO+0J8wZnW68Ccod7zHc1iZRntAl/Oyt43swjMFOuW6/lkygs51y6Yr2boy7uhmUszhFWdA2tXGqaDnU41EjuO+U50Sh8nRsWPc0gjMY+1TRiM0QI9Ew3ITu4hIFyIqTeoL85Ky7tHFFoO0Wc9wmi00ioPk0iiKkhnArZeo+ua77TRluz2PF00eiiJkwD7nY2eM8MWn6SJKpcHi9FlixcMKNhBc6Xp/2rxTJYrESt8smU92DxUNVyUBXnXL349KJe3m+AJ0SJR7EHExoqVZwj1AkwHUCb6Pf3V1QX291kW27aCnjfaIMaZWIZ6zMG4MIuu4y0FH5jd2LiX2XG0XTiuGYrgth01d8yTVefKSAPDfVegohT2VQFATgMpC1iWninCwo+zMwErQelBYyMxQlINoCM3zUNK7fkV32ZR8SmJbIFroHbZXy4aCLSWe3otr47v521UPiHaeI4K2htR6oKTdMxz4uLcqUw6pcjyoHP5mEAA2tDYlRF6etidq5K8cgh7wumW4o7A8oLRik1Tx6oywD1ebWf5apRgM/bXKGrGXMbN6FJiBn3Ihgeym2RBh+99E80FiQtPCoGW1xJVHUMtgXVqDm5bzQwvhNxTUzDFoxjjzZC2fZQNayCVf/lrRWk7nB+5gH90WvmSy/8lqfzXkq42oYaCdGUgEDsd3293gNm//aZGKktOikcnxzuLmrkkhI5kJLMR8BgpL7tzu9TClt6YyruMdrNhZOi66JkxMKfcqU44OmJEY78KGfg5iVinro/fLRF2XIHApUiOOKjMzP7DGXcZbPYFTfHxST2qSBQOz9eQjqpZRBn/4v5EEO2r70IL2B69Z2k6RDG7jat+1XbmKzoK7iyVH1bbPNJiAwSIaE66IyaGmI3MF8rxFDZ86wHXYgqk4vMma0S9IobrxVFYbH07XTwZGzUQRXL6sq8/ttfN1gjxpXCJagOhO/lB0oZkhjS9qZhv1dEVkZp839Tw1pAqPwii3uQLNGHMN8etEMiGHt1wve4FcGj5s/VrqiTYdFP1wkC+giUoeyJKFqL2joEPz1lms5OsgLId+ctuQRxQgS28p5dvMtQkdsaXYstDKLKn2U53aYa5k6j5+PEPgbBrkAMjjA8SFa0lOp9Es+vjTP0b0Z8kh3U2WMsXwcpgASeJEyGnxIGnmS+cM1+PVwmiD7GMBQiIuNJoYa2aFtm0ZXxpCOsegVQzhaYXJLDl31O7A+zK7YcaLLhK/jxZgHtjRSVRLO/Gvls/4nkp1Na4dHP8nmgW8rYvn5jtNtB2tz4QbZP/xuI5iGTiu5LUgCYjgMxSFRLBlqWSt5oEyuXvwcJecw+CvP5sEc6dQdm0NUU2u94wmqHXh2JwgQhjWrp0RaD9FJ8P7zpIVKbnigFqP7Jit93grpibdZl5zM7d//sfVy0JbIgIjJvWskJZhgv5gi+4ubt7hFjlByMoKxW9II7Xv0UAsLguef75JP4pD3WTcS6N88Q0/90X9uuNpKX/L6T/w7hW3WLQ6uI0S1DVfz3ri8sVMBh1L2xUnkIzkpPqNAWvBi7tmnPVd8WeklVQQPHEEtYCGfVf/v/fFwQgWjj4ebRPTXTKwcXI9ZyFNALb/M9I4djQC4ymgnYVpRgsqoC6ESoVvqPdRLi2oTVuLEwEFhvZsgYkoRlLOVEIOkVuYuN10yh4ehU0OC1EYDjxrPhJ8n10Zr7qQz4zDmvH4E+zjOVTZWRVn+YX3iWDPRX3Hqe6ggIw7kJO97g310dlgsNNJ0tbwc8xtO2dnUMDKqgZ5AHTQ0dBb3SuTTi9trZuFDOaxA8xJWoqs2OoW15avkWVK5CRs0Q7M5RU96SmM5YxgdeAvBH486pgNVdndV3ZtVfJ1SRBPmIFEJbxQfiCfQJFICCXhxousZ+cD4GfEZFcLUF4nXwkeZTU21xuM/MUUnjk68X4yHs5I5QJ7zNAlwGAs4dypyWhYDHQ4KRnJX8iOeaTe7xW02SchX7q80RrmTWf94dq5PL8X3zKdcqtgjw6moKCT91HZe8l6xWf/h/gzFfj3+vudM+NxDHEvlgp4WevMEuLA2qHtzCM5Rr92KIGL0Cr7JjL3Q8R9ZWEkMLRT2nMTMqG0FIJqeG1kok/pz/gSJUMW7LgTGwW/UVJibKket6hyBK5wV4kGoILtk21dkASGwjxmU7eFwp3VeGpsmMpWAAhjHHtJaUautu5OZVOTV3HJ30ttTHcXEvDbmwsmGXs7KbJcxVWdwgJDOvGUaP9Olo4Y5uYveIUvTD9lapL758vXpkUOUdC0U6wFc/bGzI8tAT2WIyjHhdqwTTZ/ctfj6Lr4/u+kMDTSjB9JaZim1LXKuyAPOTgPWCxqWPFahabHNfq2c+sIlUp/lmhWbUkCBbH6gN2VUgfq3Nh48LRSw5TqpWBxxlUtuZ3vPgj8uVHdiuQ1X33bo9k/ZgBVswt/PiVh6linlcJjICcwLoFfCOq9ZhoWPZ7xH0Qf1T0XX4bdzET4rdv+PHliCv+mbvYlhVV5TnpmpKvWbQCaXtj7d02k9iBjxwQz5n7A2rXhSyM+xGvAK/M2zTpMl23KTix7FoXpwREqCLQ48/2Y0Sj9xpBlHC8OY+Sta281F9Jt7PoaNmiOnGJdDgCdDm1NfurNnB4okoYSqVne0WxLs8zidbOmDXCj+gaLWVEbLT/lTmwthbYalmeYrAOI8uV2Clwlkz6wV5GWG+mweUVIW1ZWWOyOKnplpbX1B1qaraxSyBJK4txB3iOuTU7EBAqsBFlK4BRAFuS1K3/LKrMQF5eNAvx2/IpLI8oTGDVLTKg4Oj/RBpdAZEpPmZYKDyhSarzQHb8GX1Fjh6Xu1wGM+mPjxSivlKdcaKEHzlQbUczMpw3niIRFI+f/+fJw827f1iVanjqRslPKELSrrrA0vSBosij14TA5B7MrZkrDVWU1i4rBbWq9f6mYH0G1KopHo8qRrmkBE0wApD+gKSyrMNAqkwKHFzZzMrOIT0dhHj5zs0Yhz43/M04tBtrUZA02Z7pDnqXPMjIxIpXWStWhRLW3hFqMeQsq/qoqqfdNU4+0z7BJyzmEazVk2r91nWzYS3zq4JR53dBv2uuQhA4Ny9Hx+eTn2kRFiWIKVMkDAOjjQbSo0oIdOrNJ7ruszg0mRXNZem4OWR/sSbRnNEvsoiGhlWcQ/GwWJ7FNf6resP8XY2rZko8RkxhPXSsftwEuFv5RB0wcZgJ5DpbNeyj4EzCatcuutCtRbJEa+FvadZUQUgVGSVdQ8HymrFf+1eoYlb2xCMcpD6b0O+TzV4AZ8AfxLcawUS8WorLWbqKxaJ7eiTr1ao08vRbTp8HVVc/CyOjwOT7IbTOXiHiKXmorTGLP065fbSTGvqDXZ/+I5RRUFGJpDPokvmp+1+99sRHJGjRu5ZbDWXoBFkiiNM1ni/HIq0NMgUXjK5rqPNF9f5JlHdfo3olmI/d1KrxYwF7yL+LC0oxKgITLST2dOzxEezL4n57mMAewsd2rEbschxkuElAkrm275eKM38Xg42QdfZ7kqigw12+IftqG1+ZJ9E/JDY5DfI33be7fVsXTD9hRLWddypetPT50yO7gfr93ffM0hHK04Wn0aTUjdzifzXuuhlW+yuLF8RGYn5UZL5OkSpIECmSPvmS3s+bhol/SdXUha+ALhykXeqxZ+4CIkbZIz2YkZdynx8Y/MjvMddy40/1AuXAQCm0T08KyvNXLYs9yKFaABV589+iQtRFJrrOSWtLEEtvKLe24q3ucqVND3k5cxZS4pQz46Q3MXmRxb1k3P3qHYYVsuZ+UKMNWq7tfXzfNa3mKERepjGahiuhe3NT54o2zzXFWEg7V0xDOJgP+S4fTXW/733kiXVi1WRZP2x9/knPa0pZJydL2gGeU2Q+XF22JMLtmP/Lx7TlreJALJAL7ZcoQYBxRemu+E2QGQVMT2VelAnIT4JXi0qI2dJnUuIs0iAKmF/1fWHyTcQk2vMH0TqdXMkMCa2fwdCUhn7OEu1I87EzHHqnO04uelq13l6I9fEaXLIQ+MCKLWEux0K/GefL+lyCGQvOAThWWaBf/W8fBwPIlAvhA96tw/CRvYFqR1qJps30EWd8iVqHwjDFxjOA1kui9Rerodmp4E6jmhpcPaIl61SwYILGTIU+x4ikvLEJ3qeZJkDAxlNfRQ/AEegT4KWH5qtSSn/g5yvyk33dvOGc2jkAdrYW2OoZCe1/MIqbBuiDkPgAil+AaA0ba4x/ioiRmXb454ujsyVNctvLc1miztTn863yXcNEE2FHbDQsNzFuoO2qEeMK579h1zI6N2PQ2UTI2Y2lydhTSuu4vOaLlI/cLCdRlW8TfwUiG5+FxBcjzMIQV1qPRr2LRjVweAzODOjmR2oG+Hr3Gu41/XWw08ZyyyR5uQNz2D4BhxNQwuzKKdafcd+MBxRGZbHm1XoTD6tjMyxBgMamVhN5/vjKpOZMBY0kEj0vLIsQkONoJtjGcJJef8cTu6ZJZjE4jVYMpYsmUuLJvpzQ9LwNy05ozehBmZbxvu9jiY7iM+IentdLvRR/9iQeQnui/Wqnx9EHVrebCppQznMVXMAqHeIeTqmNHmUhlryQSiA+CERP5V3lYq066qJJDopUsVD3AyGlXsOEfp/1K7tYU71Kus+6TIBAnrmBo5/aNyUj8wCWB/mmgE0UnBptCmidt5ic0oMDLtqznakWVEzsXEiYJpnz0pvAzvY0wjq6LVcpxvD6AnnRNeI86YjuCGcfhWEBiplWhmmddIHAowiz9jxMVyUnjaBEgJ7QFTEUn8lbm5A9xzvx8fjuPNmgi+Fg49oq/CjtlOdPsBATiZRAzQ2fGwKjKC4RaUaPkJarxQIaEYoQr9DkzAToBtxjF/vchmJHFlVkQBCA0F4XqehiVhEhBYb2EHbSsfmwiCDTp4YwNoV+MIag2XEABdeI0cC9BSG3IHFmDz3wtsKGULtSGSrO04VZPjPQmw+pynvJgn6Eq8q6/E9hzgDnTcF7oBOje3N5mHcNjDN6VOozcJoKzBxgMl26Ih+Ismk4IxecMCwF09Jpu6CcUkb3YbBa+6/fvPKXsPgBOl61lv1qLuqvzmROHCbh1+kPt8MEogPOTZPdU13HNCCAcc1Jh7F69+lA0bM6E9Ky6s+6MzstRLEjyqeMBjKL57Y7v43OEVjmiyBe8MqWQlQanyc3kC5NbWQejISEZlBRRR7pPZLXX+qB+sU4M7uhhVFryOPTL7uA0EVFERiTeQy1hakmuon4A0aNdSTFQH5YInQs5eYsEJj/TM3Xug4TMnR49AzU44xw+B2jc7mmyw65Zaz2tEezDE1oLVzR17D7e3rr5asEkWBEdJgFCrlBfQ+xVxzrG8vRUx3eMkZHmJ/NFgt1eSo2qaTb8SnFf23L4u4P1aXOu05qRjQX2/t5fY4jvTYGYZbm3OKbI/sb2bRroQzdvzK1oxwuBlhwU+76JdC7m4Tek92nm47Z3nRbtKrnzGEuIeoxfm+oRzFnTEVCX0flt1e/+XifelYo9PQdJjpmPZsfRDLpf59qyxi4w5cYlCEkkJxarB7uc4mSwr0K8LCz7XIFCkZ9/IdnwqXCCjUmRQHyN/O3Ic9+HKerRp8EqjykdraD+wWs3SCRcrTkJDj7sxj2lY420WR4jsuMRLcH8qANr7PkN8cvgMrxtStyHTHJmbqine9+Xizu9Xo0LSzBZ6gLgsxdEiPhJvKEcqwJxoIKwNfO6GJACI+EV/UR3khFcJ/YqFsdRat+MRMKqUYSBUpNZVRjJpE4FgV1nc1WEDL1ky6htCcDUyOl1t1MZM1cCrnSXAzgCKLVhnTbfcc+QwlTkkjN6FZqf5lGQyA8lfXfkx3NXvKHRXaUPoyY6s2YQV3YF6wXl5iDbDrEhczojSdKP/u17FVNYcR4G+LLxQArufvT2MdljwPe9B2uZmQFlCfGg+Xm8U1atnH/vThmsiuZbZVljqEc54TFMFQ8NYahRJ+u5UIhq/B7fj24mu8CvVDm4GRqSyG9VVdw/9JJWK2Xpwi2t0sZuZ5AuYoBTuip8JKkWaHg1H4PmjFL5MUloXVBSWQ/DzBwAB6QCH/DekRLmONE5fiLrKxLkdNm3vb4xLJMPH/0CCwS1n8ir3Bh4nCvEtUlGgga13zZfZAvqQf4fLHhOLJFFri7XaJqvTXUhd7JIMgL2y/qHT49WmzVe2OgOyv4JRvIgL8dLdSd7PZKUG3QHneg4R0cgX9QEoANDPQ9xcgYeE0my7n2ZaPwxfYy3PwURogl4Jc5uOMkSN8K3OKMeO0yTEqesvYwcq94LuR9BdPLcso1Q9PKhkNkp2P1/mpDWFKl3gNbqRh4CMc/uMMaGwJUuLiCON1SlZl/xiP4bMJ5v8dmyvK3gq2JSlbYnTmEZiqEca2PZW2HWzi5OO4AkmaaH2kaitT1/4jh2BIJATxd2cAUE8N2j1Knme4wgykzB16mfdRzWvbAuogtxRAo5Q7qsqgRy0xF8vfzg5YY/nkZcmS/IuASTuPKzwhXwMF6zp1CI/2/lMW6XP4lRsfM20oBmc1iDqkwFFEkQ6eE+eAqTO6hTv72b56/DhbUXyusZxzHKSxJPgkZAU+I9COumT5mEmaKWt0dw4+DETESts+rLJCUqrL49XCK2MZCIaas1KlEq6j89kJgxe3cxJ0RHKicmiNPk471wTdEH+6jSFRU8cMR80R61J7lgcOtWd0bBZ9v74eYZqMJ+o4pY4rT8a6KRGaPs7K1JvZb3utUhgJIEcL2U1E/+LviYhgRyG/3pB4xI0goUMhYtlSxcboXyKtDbgsNxkHzKCTkUw/JBS9SOpwB2pw45Mj/daGIOtyXDPjLTvdamBsPbWOXijt5k+IWP7ItRKXFpI50VIaWOddhmNui13yLfCAJ3HMAzjGVYNi66m39kvQvgnSBLju4G/44PJ7d+Stk5TPOGsAYHnQ6eKRmFjeigMy9dKSHU1rN0xlwF35ncvCeIzVgVfDnCG1ABcxwkOhluNSjSnUWpBxER/4NgMj0DbMp8AvRl+R//7IcMYkdQnSZjTQPmQx8gGujPy/v8NjYoBmdP0P+vjvq7IjWWNASSjjoIpV76nqg9yy1Du/npleuKRIv+gCh7TCfPZdVsX4u4cxvZTOzR7lOqUFrjhEzRWyOXQIWfRCoJJ80EvQzn46594YmuaHoP3snxHJUyyJvE/qQjkIBXqfguU2TevxggbN+ki71ceudvftxCZcF8/ccdKBf9ZOS/xH6pqNv1FhzUg95N2gs2rnkeAAJNAlj0e8h3MEjg9F479VzjQkKiW4fsTYGFvbzAGQkJzk7lCvCzLOP7Bg9GI4j/Jq1LHCBh2tpPTZ7U+YPbOn74JDODOHG9wLWBCKESq37BRO+BqRy9Ezlduf/0TJxpZfKcUrKDnPxMGcuS6/+3nCfkbn0AniH0PULVw4szbgLv+rGrNVC/4bqlMVguuEGrPRG72ilJYYQ78VRscKEDBckG+ofbHl394ODKSUzw8nft77o6Fyl52PXv3koc0LuyWqG+tMiAUN5KGvsAyz74F/RT/naqjhrqMdj9lb9WGvCbG92uHA9Aj7wJ8oi5LAwig5b3T9K6ZAXmAKexULeLgf5dzBfRNm+L8aKXf0vKrlRb7l28TxW5uoGSMv6hpjcipqYHr5YLBCxDRU0adGYcHHLuRuBByGdUJ4p8B97FfX9Whl0Fs6t8Fqjgx93s2VfrdlFrPD7Q+3ySSpfkUHvPZZ/0l3r2WTMdtt0fwmpeboEw0/UoKacCtTc8yBHiCwGSgdIpwk2vET1942YBpf9oiP/oFWToqw8wVAP0CvYDBUEoQjY7HAXE0EAjdnxZjCQQCyQEQEwPv/HVPkVRZqQkSLUwCrZmgJe0AqU7JXDtIeMw4FUR+JntZxkZZ4Kf/BpjtXWQ+nacHgWApaWaJdULi1UaH93uDQ2+WqXF0jSKNnSfMQ8R8qS3hHka67shc0xSgvw9eLWWV4wSTCPH4/P1W5HQdD2iODlDDlajs5akO22exUyC8gbUUM/aiTK6ZUaPIyy/UxAex2HllnRsUCKNnpGkqm4kAE/ogLHF68fM0/IXVELf8DVXeibRimZ8dgXE5j2IbT0g7DeuZqCMF+YHWsIuijTOjUetBqPFyPfIGEBDEYS9s9BlVlyQ6bFhgLUz6Mo8HxSoO7D0YxccMbikzDsf/4w0CAjv/JY2gAp4SxuXZxIG74tXx01esn4yskj/O3VEzAr8IObpJzaH6QAt03K2QrkuSSUaQxCAFWPUsUs5N7mYd+uZT6mtqvIGOqjUlXxiPNMKgNEkwqdjXHowwwYWUcxiZcAsNJJQ16bxLS8zRZ3QdoL0KxO/x6BMz1tov5HRjrwX6GtNWqpi/8XBvl9zJYRx6ovSAVVxjVMpqccBzD6IgBGcZbMXwJHDFkTi7ENDQjn2drJPvhijZoGsTHlsPDMAI6Nd8ybi8qnwdQMjQPDKFS7dB3h79lqjE/zg88/3R0ZcasRPkWrJB/zGOO4/6kTNc1tFsrYJqxypDKw5/3dP0+sfkUwkBChYWqTQl0gxov6oqESWr4MndKi6/qP91SKoKvPQrdxigSHI4fTWzQkXrcpPP2HiY58FItSAcRHIkIaLL1+flOYfaRL2FewgOszCoefHH7L1yNTcnbhvWyzr2p7KxLtXZwzxwlEEWBXepCRLaXgy/16+897uK8C5/asrFW6f6eEUnsFYkZvXGQeqthn+HxY65yg39bw69VjH0G2HJed5OgKPwEpV56es96iC4UHfM8FZERxDMUdC2wKObZWO4Op01QvhYJPqHwKoOrHc7eAQWWs1d92Qq6XjoBrIW3qd6DVAynjxH+/NTX1RsS94ZUgwjtMuNO7B3jF28+UDDPOZ/vt/S+xAcpA2RTVFTndppUvoZXluOVx3DGaf+GV30xDJant3wc4Fihd9fuitFpdonh0IzzExv2u+L37qQOk4sp6/XWEc7bOXI23OnUoOnL3c5jSqncWEUtB8Qmfn6fNsz8Dw5f4VFk17xaodIPGi8uFgICg6TGe6gn88vEMcfZ9Iy8SdDGU3yUVthF+4g3n6GsQtC+K5uiF8cfhsBQi4SmHIeUGK8GHzR+KR588dF9g7XVaGI1tSewcKFbTCnKdkLNezb4bo7+K/t0Ke3VLVtK3GqmYEk4j5+XM0xWSlLEnO4xBK2Zxy2FApskXCGmPfu6mtCGGKZ2dfbuJ7B3J0zlCDmvUiOkmQ8s46PuhhiQylKW2Ok5oOYifbAP/MXcnSFQ0V3WzTGSw6OUd42r9Tbt6A6IZlaLBqMmlYyUtiKdmw1khwxa8TPOoFQF2LFZYrDJm3yuc11HoMwEIaTkykd/Kz6j3VSeHyn7UhaumZ9QdVmgAi5nlP+Ihbq3eraFMjhb7I+dwXsaw1Y5KnBC+/me1gF0etgIwq6kJdi0z416vfIxz81hnSjWmrBTiiWNnpOuAxS+OhK2TejZhDWrVk4p3c//eea6uHXdTD2W1vJ2R4asH9XyqKbFMBD5DPd7u5I697Fivj6ZNbJE0M+OUuSfHERwEpja84P7DROkuce7SGvsfUnOrspIGEnwMMBtcME6/bQHp8v/496bOp2UMLYaYSLa4ubv5+TqGNDM1hk7R54n0cxRw9HdjUtM/jJVyeH6evz1XszxF7DQvSQqVkmb9Yw/3fkJi7Jm129/eZNzIbXfYktcEFRpoPxhoGLjk9C3L6qEgNdp/EYpdqbFfTSKK/TfyE0x6cbZvo5FO+zv+9jBjGxkrn/2TOocXzqzcdwVZHeYxgTsdjwY2t5O/TxhTt7tCZY0lhW1QEgQie9ZLW2fn3jf7bdzT61PhnhcUvwKpR2aSF3IOsBrTlV6GX8wWKkdldi2jAmqAGPSGwlVGi2jwX4PeS/wFhmmHnVSDiA3RdUEKurj1w/x9BJgLlEubTCfitnmAkyCnnW8lh/vK8QC3cV6WdEkRkSori8qKaI99yL4Hh2Q5RM7kQOjqYhbg+VsOws3icqkhH/mgjtKAUUoqtqA+52r5g01uFFCHcknisQBqhPgYxkQjEl2dCvexOGShUDUlevwSda5BcY+LZoLNyqwM4v9F9nziMfkP5NVHCZmVMUve29+Qq0AUZl2JmQvIH6vsGp+3m4+5s9mpAAhskiCfCc2w1a62hzMGu6HSpvsL/oJzrZl72ScUZE5jx9lF7A0qwGZEgyzHjMcg59RrQNpiifgctuNTQktTr8QS0rMhqFW7MRIUww54gSJ8EeFEZM9hNOEMtKRwMlmA4E1nZA6oSLN+/0SoAB1JfUazNCJaJgXpY2JZdHYQfJ0aioYOI7H1TJ/gp3SHq6IlEkfneOk7PMUf1GquuAnDZIA0W14wlPMdbuZqmDqrEf5M6hm/QYHCdyevrtjHJk0EheY1vGrgiNeJTPuhlSO6kmB+2G2/reHOsRZ5jDPhXUKQu80MHa8xSpURoNWkV3OH/llw6ZOfLYwf4aRIlC4+ZSWJpx2nySWU9joXQXzNcTXRb6XVCXxLTzmo5q2hHIEfWuqqn2WGl1kVh6GeWGYsSJvFjKLYZlvv96uJexkN/uJL/k7F2nl/EpxEzXMgzLTBNDJUXb5FY5hnwkb+lRIT8HiorHY2BAdxEWnT6v3ELf+sg9ylHavo8xmi6J/vw0xUisjBtbPnpnkUGITmvhMBtPiud5sqoO290w91Od35T0BeL+JkBMG14pHEu6BVPhuRN9Q1g0zv8EotGM6bi7E+WN6hfo0fU/KCBn/A97FGQgLQdQ5Tyf3Tl+bsi6zQ1RByhAKnmswYCHX6kZ01i5bJQh2YuwIpGwxN7DJVje7V7GQtlEsgTYX+t0krJfgKZRVjFaodIdWsq9cs4+Fcj1+mGaf5fBlyVSx3vdoRR0T+nthIWyl3sHxF/yPEA/BWkmAqMJGd63Xf1qo4piQh9myYJpD7dVI1H3IkBoL4ZiJPIsgGXBeWg/Bs+Y5DMClg1bxYuOmUF8YYLeKgYaCsFmF/XPNFaJkQ6MrNskq3nmMWQXG0rLq3QNjk+zPc79feko1WpG2pg9sa2xj2P893+uTpXS7rWbLwtAq928HVbfp3U0GC7HrqUpVfpa2cLg3szySNIfRysoY4BJrDhGWJmg0Lzz/ou5szso32XAhiAlnbzrUF7fvDfbAY/MPxJIORAcYp9Py406buQInTokuJS2gAAxebC1nYhUkkrt/r/8jUkcjGlIf7h/Ug5Tn2KDrVRPfGjwfksTLBUr/Po2eSomGDEdSJEXY8qzwsc5RpXNuhT7O29bBMW7ujk7x5o4VeDDK8AMkkWvFRrCqGygBZpeKZ8fD2qq1C9PcMemNylqNZ7uelU47o4E72ryvNYnHfgMC1A5g6dApwAv1vy7OjY/6xAh6Vuy27C5lekHMB1+URP8jgVcfNX2VYugZHCT1cKjg2owHA9m/+Ma/6njOKBvoHsPlVMEAFllqTPphWjrFMLugOh5q+JeGN580pbKjJrvDf7c83Rt0ccVruhCvjq+sh5vkfnzq2nd7SKAs5bYtc/cexuU4KmAbClztWGOw7KyF97EftxOEtpU/UwenPW+ePwmx4Yo7sXHuCnYSkPGFTXNp9OAc2PSa9ZTMlU4fbjC2BFc4flm2lvCiy//3aTJ7h5SO0V8gx5CSr9y/3QYfByDcSpXt0ICjlApb4AYXNbdWsnCxEnExFa3Bldd9s29V570LESuLG9NcawxWBg8Xy2dLj/JYpCuf4K44sSua2HI+wDi/cxSFnC3tegsw3hl2vVJlElvaTjAfzLvOucokHs8vIEKxUdLWr9lv1Oyuy2kXM8IOOtTxZnMNMZ4yo+S+VI/HyVIA5sb7FF0tUbLziZlWcOTjdXAyhe9t15HyDbOqTzjr+PKplz/CG4vaTMVp7CtXu7rlsTdoMhMdeS4niPbSy70E5FLgUjEkD7CKvhZOpiItVwOLKIDeSIsIN0U3tctfDtg/Rah0LxTn+ig3kUHgSAsioZCv+XzP/2e2iHTxJD53q8OnV076iK5yb2UDud6p6vmo5BLsNcbhPtzJUf66/+HMaT7YD/84wdR6FzFkmqOvjWHZ4vCRH18vyOqD2AQjXOKAW501V2y4PrQR/GnAHi8xTz9C78/W8PDBBhpt9pV4Q/WHiVLq5yKfFwhkhft6NdaPPxIHC+xr9xCdoJWb/sm6YXDIGTmv/Z1skEXsPkq6IJUMw7c0F0WCWzkgCZ5cb+m+vv7g7VAJ7K2UzoqcA/A0C2EJDaljD6/17DfRZEFPgf4VrBmV87XHG6plhDtitAciy67tHNKdDClTM6ibvQuID/uIwVLRNIDiKhFGiIuj5DrPKQmVh0ZOCf5qusFx1ge0floN0zLWiDeLX3dimV+51czyNrOZYfgGR394BGbJuvWgJjSLOSf4AYQwOcwTRD5efTR8rXHRFiAJgxwxmTvPtlQI/rZq4iiGBtXC5THizGrYxTllc6rFX/S9bftjoYxEgu20sLuaCLo6CZQjjLeauLsV6Y1ev0or+fpGxauqBlnPydSvLS5yfzbTU5s/2T0gXLFVUSZos5E+aYgA2GX7YHPRCt3r1kMda6KMl1UFmkKojEhQfObUgUq9du8N1pPlHA5AzCcKfcFYJnQY2F1iIyibqcUJ/tUaoNGvznSSTrJ0h9O68VxEG4B/VEZ/W5T0G4ZLCTKZ6nRtZNqMBx+T5BuAPnt/hS2hhMkyJkm/JXFjpM1/o7EwBbe+i3VaVuGFuhkHCgEHfi0txXFQ5t8FoN/GNaovkb+evoYuE2mAiJMLJsrNykSFz760hrsR8YbK6+bbxf03BAmMWlMfKOpc8ShZQ77I82U0h7/VFdIE0fRMBkUvPaGWurcJ/tFzJ5oZKq33me4Y5G8NiFLeV0Bf5eeqsZsoTEVj6kQUc2hmraPvCeSFPKym3/gK5MwFFA5L3oE8VzKI0dsOPx7U86YpjCFx20IjvGQ6H+KPkGFczB5k/gRS/DnDKT43Gu6X3crunG88MZzSjHmcYlwGS3m1Jgz4uKibaJ9u7isMYLY2R+A1/hevqWgzVmZmGveQ0bNCoCSR7XcaCUROfrLF/LDsgGCmT+7lSCViV+ZunEg+lIn6FIGiDvoQiLFs1pgHPsW4EnHhUnkPP26Z4RqLZqPFGI0a3xaTo0AVjxikuRkkwqruIF7E1USVRYJSs3QYgw4wj1rdEABpiijJszkA55VOqa6lvMQyMJG7CLhPZcFBNhi3fBbGMZb39ueZtatBUHRpn1p2+Q3EoCna6UJHwKziGZfP5qtoJ4t6NyOt7E2/E58hitX3A4e/1H4gfJbSVd0JhVo9mGo2rcOUXMktDnnuO5EyimH9/NgvahBwEcMjMTJOs0bDMAROWINwCGiVmf5BlceAadzyS5H1mtmwcsSbTPkqi2HxPIaiqRXPAqP3P/Wls2NBpLFutf1WVzSOsAmM/SzEA2xwrXQGcpAwA3OHlA0eJjVymVrEu/2fj/KvKFeKRk6HBpzNo4tilKoTjh6o8G6F/LdIoS7vqrdSNSS/YTr/ug/+zpdY4cZD1NsKB+8pJO6wTaMGqs48dyvELedEfOe7XPDtwb1xE6dd2cP6mOOLKSpF2Oohsq+oh4uxNxRrut4fUZkJ1ufQHDhuxvEuUN5bnq4ITORliC17wX7JIJouOXVHkiKgXx3gkA6zyy916rFkuUKR/uie1gYGJm1x2i7n/WkpP4lcg7CNBm0I5c2Hx7wYt1pX5xOPmZC51dHu03Sa9uW1G4/fZC48HTDZVB+gu4/sbjPO7tEsRKYqWYN/QywxQOvSQKshWRNKIiBEsA4wquwobdCXbUu1OyELU2D80ouFF5pGJR5lLMKnjvK41GO9JYcAPicFKUPQQaKB06aC26E+evP7u6dst3l6Tfa/mze2JBBkGnfyJu3r0lhiP90hCDV1CfNHZ3rFlVjp1rKpYRdeq//6K/vB4q5R5d1yX/ICdGuhvQCua25WCx01Rz/8jbIEpwt8AgvovfpXNR7USNcORooMZIK6fwwIyn/eiWxyj11t63DeLbfnwgsvNtASfPIzqwB5ZDZv0BTw6ZBcQk6T6t50fBo1rNZr/+J21tVCjZlvU3MnDb3Z1nM7o0GMTubv4oY2FghVK4ahCHPVslWpiNUKf649fsGkyzgp1+LWzt/0RY2Jv8TgDJJLcklxExb6ZbuCmE192sKP6Z3yMNOPSvNorexVucU+1sVMDy5fpYhhqjrK3cyX/3P4BSuRXH2e7vJ8yOjVSV46YFOmxEfdSEgURBqmJoEYraJXQhUG+562WNVDO75DU0/5kx+bS/arvYoFINbTegBeWOz3ItnMxj9EuNbvnCrAYvL0aVxkZ//Vdab/C9z49Dewp9GTCVO8xH2fQi/wkjNEYn0lsPjyCGLIGoJmfoA1fANjBN7h87u2vzHydvpBK79cHVsOOhogB97B1eyC99wxeDKTjli34dGFFnp4tPfN4iDzS8617ZgUa86uBAbD2CRfoMR194ZTkNp3HJXCd4FqvMS6Wi6DSU/SeCkpo12Bvt0CbtX+mSkrcXusSJ2TCSjA2ocP9uzqHqNnNK42fzaP9Xk4qkrKTSxgnoNfqBvgovTESK/BG/Qz4+JJzfBZ8cIoVL3lZH1RSY5Bdt6BWar9pZAlq4QbiYiF5QNioLvFPD8DTGjAWpVu3rVtuMC7o7Uwdaw1OQmxSFfGg1/mUX5WdZ3QziamgrsEx1ij+EVVlkNNKqcrnaGZcUgvWG3ISgnByqXfswwaeClewkNyiyEoUdvkHpG5B9tSkDAtECDC5K4MhZNLP9CZya4186Q7zBpQldYlTSGwpyEt+U/8HzorGZLAly8HIt8CZHruLyEWM3rvhfWVz0MnK+qDcWmWiUjBXJ8ssxjBrpITJLSxuO+Ift5sR+C5EgT/AZhXy50O3FoNSl/JnYaIu7EEu82N5G3xnX0I4ZJlT/jL77KMDCYFwt8NQnE8vJsPINXozD18yYMh4KgfAi9HooE1hgs95kK6uDlM3zoeytUQja/zcB4pdsPKM5Od3Q1E3hiiryX7sShKsqAWFVFkM1QFgVghm3aM8XPYYZIh9B27b5n5Fp2W0CkyOEdoNJeYqvK3/ri6P8q/3g3hKgaT0kLNKh+m7Z56YK1NMYM5mRl+e39rXUI2DjS5MFBmC7yEtDvPDV776cNw4XW/4lGqazK9QRHOhFRBtqooSmXacX/bV3/7PY9CZQdUVEFnVa/YGPjahwNKRhCwP93DWZ7MLt8WNKr8j9t1irvVvWAXbH2HQtHvtagnBlPU4qMEugMUgWhS/aUqvKXY9rZlDentdHRq9zjsQ8Ni3/QI9rOsaUMxlA8bVyOkObdoRwuAaNdOfh7efui8oOUovJZ1Xp/3oGjxSstm9kMUhRHxWf1XMiauuw6pIbDJFhNfyBqychMQtSrREvgxxsDM71KdaQazLsPPHf9t5JCAqqeXugtgUvqXt1OUSCdJ5TyT4JeelmtmGtg0PAO1RJAskaQukITqQ8U3/ZnNYF0uVv8UToAyJAndmmwOmj+uPNdfzEhCTylxgqECgpb5dedZri+rX8jIAtNVw0kcJh2DoN0Ee930Byon0s4SQKqEA3irBCmYtTsG8f5/l2cwmh4jp/knpv4EzK4d46Xibbp9LMt76ChPHvZV8PdHizaQLfsTX/y1roVT+STRGjGWlPHRjQgEIV8gfC82a3mQgUA75tMTgyvYbmk+89p/VSejpPdugDEzXuxphwwmyPfsYog87pyPdqeQ6Wr1JJMjCIR/FM2AUtgR1Hw3TlXufqNcNKlsFjNmc1Ky4QM2F2g2hNUnTvPOaCJGvw2ejQ6yU6h5I5yr2huwl6vyb+uNfug8u3aLvFQ/j5hYoFcTGE92MXhiRiLrmNV720Bh5z1HF0X/965xZfdctKLbwwQI7ve5gfAFQ0qx3USBLYuWP2VkRcPQKGSXLZd9FfxN47XAycxD0ZY0ORFdXkAL4cGf7h19Um6XL+Tbaq4m2UCV8Epyya0RqA/J9DscYZs78ChCHoM29SaDwR8tQl4ugwagQIfdRS9RiCcpTzSxME3QX8fPmfeAFoEs8NBRnveCAQryNc/s3NJRjK+blS5qFoFzcRPAUB2JOv+n7AlWwlscMmD359gYynzauharUGnin37Ii2+dbmOg+awwPGITIftJRw3iHWFUVhcH4PHLo/KSOmmRgoL8mvv/srYIQiYW5EyhZ4BIYGli1PrSjm1dEsnHJ3RX1otNFkbvvGhiJ4akUzRAzE9/Oab+uVb1zl8iD7ENY8FzVwqEe/8QlqR5i3Vu5Fr6+k9QZca4NkhjH1gvpTF1ypThrK+7PxZVdrvR1az1Ki6+EGnIXlL5r32EuM+sKlEsbLvsn1YDmVfTQR3XnrhjVPyxVveVTcAR4O9koSne+1BA2x0nvC9gw4u4zyoTeFGc9s4k5GexRiYlHjOTOAU8B7sOkiQI4m31fC9J+HrH9cpbKc7Bv42pI/ljWPFoTf/fEX85WB2BHIW5UHiW4KBNN70qZlyb4YITeDo/XG8Ssva0tysHBSJa5c6fAHujyNMIhZajwpDqI9MNZrnNaCLPM+NCsuRxliaTz7b+PNecViyOOrkZERqAiyRCaLsvOJo16pBATLGJSzLcfBK/JIJfX/fAHFhkXXBYHk12uSkSgMCXsiL48OnNW2LryEre3/njUNinjV/GXfbzRQJKnx5Wfp+d06rD2T1VaNGNrfccTY0pbfjHTiVIYQ3EZ1OJfmFBOfXgWyHQSsnTMA2/x7qziNohxRJ1GsdugC29ZcOsUqKQo5BLHremfDRR3XkK8WI6kHgkbjma6TCc65/ltSsrCStsAOBiJtf3aJtwYyN6H9QX0LhPMtjPN7WkbtwzfC4qrU6cXjQ6UxwN8883ImZ72ahdlDk56W/1TfLi1AZXC3N6YJuYsXxNiGp4qWyIpZLmYBTrR5BnVx19QCfewjoY96tB266CBrPXRhWlzJGfI0iqyOIUT0ZmmXZcMjpzf7u2t6elRMTwIk6DSTDqpPrN+IPmONudd39Qb7KocXEW5Utep3SUStbJ9wNr1Jk77n5nF2jH7u4J4moPBDiATG+JpWQDWldC5t/vNtccnVMiCijbhC9h5BDzpyWa9KOmzW9SR+P4T//1Oqaha7/QKbAwKy+6myk5D5SHCZlCpdYfCzyxfOvfOu0P1OyCrJV9Sdk2xvToNFAuraR8MaPfQSDl2ZYu5WbPQgpzsgdh4i6QS24K7CFlcEdVCaMGwxOrQvn8L9oPboQWtMYm9S/8T9fcPQwR4PaLzUfOxGn0APzOiSBpXMizi+IOjFLPLBKDjyOhSDvkVBcUcDO36pxzwwxtY+yIIyibhEwCdh9ip2flyitl4MXEtcvsMBZuCK03KqASTRLdQNd7EwhkPQSPDrQF+tIq1ylNrPsPKLH5UxVwAgHe9JTrdzhOCxrRDcLtA7Rlc08kITWrHNR4o3D161BA49NXwmkt2+4BUPPp7zap86rzviOpGZYsPkzTAmPHp/FeEH7D9iXQPjahPvoicHdDHoHIfQZpwc4Yq/CfRHS7fvTt8BTwkEUIKKpvNYQxUwO5E7hH+bi0aB/9kZqcTR2QwtoDfeGzuI8+8FJINwy8gzi3370neTnDu2M4j1+Pb3vYtE4HgJlHF+vqrjpNmdQu+uvePdHGl0kCahw0DS8pUxuzAO2xrv3uThbmJWu5ctmAlwfYR+0JqRqujrERBOZT2gr0f1kg/FilyGC6yJtXNfwVhxF0eBXb66b7shR7eUdGWLvp/NPm1qHECNehrwhYbKsAGiazCISiItkpGUVpV9nAKZ0N0S8Qe43EgnrUKae/uybYhnWOZMbRCGhDi2Oxa1iw7xBi7rIDs5CHxd704heKx6ojyK3S6H4B5S4Qs9jrT8aZVYV5u+6+oVUalncKp/3oDHBmgTNiuxhKpW13YJdRFRMs0jgNsXHFIvPlFdlGpwZHw/gn2T1UbbVbw5mjooBbNE4fO3zYgs+pGolivxDnpA+WAO3pQRqDDODsyz88xOcytS50r9k1XsS2NGRdTKB/WL7weSPFHssMvjG+vCeXZ5ROdfN47yKQkzUQcoGSaL6subUCwzZAnYF3xOquQlzvcaX67ehbeLixjvv5cZF9ZOxBPjNPEb1bQO56MMJcekxnzWJqFBMv2TQclPWlf7Wxq0l5hrUfQshRQzXwgwurdb6TwRZLH0/UsSOFZC3M/eC98g1ACPO16TfywPexwnvd1xH2/TvxWzMI+u86RBFtzW/YMiclq3CwxZexTvsbwTuTa2zGVb0HNkh8H7T5jxzopKYHoKOiWEv1ro3/SKQEIS7aE3WU2iNsy0gw3038TKd1NffgJN7SEbITDRaBBm6r3RmVNL6WxfjTx3tnO9Sb7C/qbO0faQiR4iDYtaVpYU2bThDumVlzv8RKtEuLofvS1Gsnmk9tQk+mX95g3U20LD2Ht9FAh6KBMT2CPwoj8kTh0eOKbvtw9hZQRN9CjnYLqjLK87hGl+WnWGVRMOtlTysSvxsdmtZ5SuEUdNz76S1reu1A2B0cizVeDm/L6AzYt+EmdtkVvRtEDXzagOXfOaesfMShfT5BvleymlWovpk+2F0Io5dhvQfxXWVdCmz77pR6AIObsNwvQenu0NH7gPzce32OqEx7uzJuztIAyAXLgfTONBUwU8H+rgEgu+6P/S39ZQxnBLqCanM5E+oWic6iOjliUntuskxqyoQjNoOGSufhvAawZDh3XTHeqdgXABzQlwjBRzM++jJQzvpqwz1dNYoWFJd/GAT8FOrUCvvCK3mIXzy+gLgZ7x7DO5YBzZKJoaHFbRjDhSXL0Tjp7andKKo6eYmuVSnGN1oPISOFfBo7fUUNIBgRVtHgF0y+uywXEsKKk4s4NLZASTrMO9+aTIwMpPVnzrhQRzYhJd8hx2e1zvg1v1Axza/xwL2Lph8D9DNWna1o6YqZrPB63QI3EyCptRIyABNdviYZ5M0cxi2FoXMC1wuJPK8YV45gid4Fw4/4HW28pTNNHIgQ8LpbwiGWNYEib9WzfMOPpcA3p+Swqet3X2ghnRjvOmN3l1wymTdo1YJj7/CA7Na7A9qZCiQB0dnx2VCyi3DW5exaEzZ8SpTj+e5oOosAAaIr38PyzCcLdKxrPlhcVrOf5TXzXuZlU2b2V2u73iI1Osk0MtxuC2s7exgQ9eQ8l/tNGB9sHL/5QtrKzscPzyG0u7S8GhFym1nTyGPCPK2Kbc3TxVT5grjo/BiEg1GsOxYiJiui802EaFUg48JBG0XOW38AhNYeST3IMNMHmYUEJEnNWcuKYe+EhfRvCUdB+huYkz+MwrJzIl/9/Hng1PxItKkAN1bOfAWNqFGkOUo+zmgGe0Y7D3AxFALmA0e/B/yr7fIVPKi0LmLjEw9Kh0K+s80ugx+szMXQyRz1d5GJCrBS8/ClzcX6EgiWTsuOZaB9GBk02hQYijhjq/Q9797uLDsI7lPEHeCD0dg0Z3gIy6flqZTzZdXc04J5YJ0T/wfto7m9Z45UQziKONI6jQQt4PFqPJQz4sgnRYw4vae8X3yAHBXpVlBkdNeIS4r4r+3mj7OG9PJTU+qKXoRyWP1vdauFEIG8TcNY8hDYX1cwD9ZwQCJvaOitnT0CkgSUT456+5M1ILKhv9uZGMefVZUKed9MCrang+mYohQFBG1wUFAv3O8J5blMKEM2yJtls0hiarsDwyCP4+y/sA6WeK366IiLALOGKxIbg1ul7A+7j+hQ+i/i8Jop6VpSLGLRsnaUToJL+Tk2O9HEtQ0ZLPQFIyy+7KvV/Umgr1whhqgEOBQ1tfto/Hd/SZ+zYndWiIWBAmdddFavfGmyZMXZaDSIF+dqnmAmssWrNo78vKT9HrbTJ+HPbytfpGjn1+XQJg/Pb8jHPBbfy/kIeD9y0AM3T4KyI4HJXXm2AjS/z+OwDa3Nh0oBvDrS19u3qMgzkqBimDJY/1Ujj8vm+abAJv+H5ON444lLb4Yju3QSkcYbb4sF2YIW70RMaOUH8vJ7Xmb22pl5aVYxdME2oLG/9aaoooOoc7hrDbPhsN9clefVhE6RIJIdiGqXcOnYcRpokRHa62ddQXvpZ7b10sybsyshOAf89QE2JUlfFLWBmpKRP8kD//TuKfEzJZ+st5yC9brD5Ko8ngf2/pXFb0GruIsN7UxGrP2xOKFDp2lRJGWbUUXvGxqj46PR+wHSUphT7Lgnad2hRomTkcV1vAb/RJ9L8OLmEoZ+w/y08xrA1to4qouHgYZXABXNHVglws8fmq7Fqu1Xdm1aUq2jaXhhxmD3y2x6fuNxXsEnCvAqYqhe24FhJM26AtA1l/B6tPWUQkExEgYvUPEkQ/lA+J4ezmkK9s8s8NMkn0AK5l6B0x1GMn9Sn04OVmPB6pbcJ9V4rAeTzu8Ew7Nmou0AkHYZ9m7TBfPE9IHgDlzhlRUJ/SRFleLtiK76askCZfHbilU1QRQrYlwB4i/DgxoQ1qDgciyMuaO8nGmlE3/C1reWNs9tt58GN8KJFffS38OGLXoAkIW/za45/OBMp7TIiAjmFyhdq/dG0LzKAs6etJagsNzI7vq5wj2wzOoLLP+IQF7YaoTjagAS+KKVZ88qBZqlNcWIjyyMoqAtB8zJ1QogXh7StMufUTy8Ka6V06W9vsOk7JoOZIu9sVjhoPwLBSk1bnwQQdMDE/SOVD6k/d4bF7h7GY20Ex6NvHjcG0O+ViAedpTyNj+y5G638YKyr6YBUzWLCwAWTtp06ccqUF/obuOoZPIs6HLtPOVRP3EDZIgg4SIgzIfR+DHxKN7baNLXHoM7U175VkMfCvGcLzfzQwOMkw3orWqaTkxTlNZHILNk9GhOnzp/Ou/eXT7qDIEJnaUkkdQvjBPH5n6G5WfpxLC0FaNmJLSua97ZfS4F+sMe9Wj93aw4ZPOcaX2/qaw3Jipibz2e7Iae+KSWMznp71TKe3EvfXjj5hcY3KAdJuFDtJH7IelFPNOSL0scQSWp0fvFImS/oZpVCtdieuQDb5hQx/WI2kpe4E0cJUkfVhhjZH2f8XZHStZYiHcoW1IXJ2F0CwUnUPYL7i0x+8VbN51b7N9q2ns0yVid6CwBsfm4Qjxnrmox4imensvr+SKAr/CSNRlMOWyLZ5kg3uaEEH+yiryojnqdYL+bHir80ioI2rau1js3K+J/Lltpt660xDtFzRRjNNz3Hbzl2Phf851vin3sKfOLmg9kqUi/LcTT0ESwB0Av6WDQEDhmyl7bb4BkavlXeIGUu3R2nQVuOeyRbZXdkfPgCKqeu/PyKttegI9G+wE4KclFjnybtsjdaLd+FElBrxYJyOQfDqhSUqgmepDLmBKeBP0x/htTffo0uDtXBhVGb72NlSYPLF5DhAA5wZ7TndKUe20WFX9kX+I5Hlvx0SdKdVSpBF74o/PqpBfSax3IxHlsmx6rp1qaAqLj1+V8sm7UvS36mcbtd1qMgxX6vNvy25ZpCsCcf3UhwVAyo+k4xZSWlOw+MnjYzKVQYPzNWtWUmUVgfKg03yFtPWM2ycqnoiOTBRoUmq8Nbl+ceOcSQ39xHi6rshb6ZbtCKS+hgd3UUIHHfowVvKF28heMewMEAbKfU6BT4DNBU9/WqSZ2/DyG6F3wEJaQNyDn8LQEdfAEPAk9rZl1z16Swa+JHGlwEYXiJf8wuZ1TKi01bfUZjaRAH1mEHcLC+ImUoxPhEfdfruzK9RO8a/A6eIsg1jOp3mdp/h+ktPQ+TDBIrR/KWYMN6m7/WSysbEWOJbi3ezYpZG2XVbJ0fOWvwkWwlrw4QG/eO5UNJRDTm4IlfAk4LETCYlzWbesEb2Ds1EtTYhi+HLbek5EbdrTuk0j1vvk77WrRyX2KP/N+1QZlmJ14uABM3ldq7Xb/LavtVit9lhLmCWxFGoXl0wuwMtIFl3xoZxzdkQ6vEbvG5vVARV30teHIhRHRgjZKln1rLQ4dNnGvbtJ2tbjpQJ7sGg8DXgh/nsZA6whyYfe5h/83LcgPZs0Ft90Aiy2AXG+tfwaLvIEz5Pe9765AhA0NdVYN7cRkTF1MtOiNoOfwLpAUfeZRKWva2xZf8TDCZZUaHUZ5NJFM0DQNwoIpz4bESkVIHCRt5smCLVMfmXddiGoc4PtZnbWY5x00atPWv4JsDhw3hRFvONrEAH7jVXCHVKQSqujv59jGg15fPoZKIKP6anTnZMoY4BGFbas9XnxZ80BSLu+uGd2mKVFA5fukQEK20OFCZPO1dk1SL9raYwFTRSgO1Q6zzmrVrVJ+M92y6ngQIJd2MvJ9vizsxDemTYBLnKGGACE9+SRvLAX150rCf7DjZvGYHJegAoILnzEshGiMZtgSNJJHEvH4TImP06bGVySQDQeDKCYIRaE2ji/mgxTvCwu5aPx8zZAra9tTRKvZCs+lDKqmYa1mT+b1lAX0tbWCLhZMPJ4hPhqUHxpxs6PyMYwGNvsD7Mxt34u5UovlcEZ87rdpw2oFu+Q28x6MZ7TULzn+2XOjkpHNJLkAVLTXWH4OcVeVIZ/qmdgE3cUmgjEHzNOIjEhmtgI5k1HJzVs3eRT4/bCiAmMsfxSwISYgqinmvB+MIzTYGKD3o6j1UEYmr7TfKXD0r3FO7SEVGtcuxshtL3P55EedXYREEJHNtr03fBIO6PZSI9L1EnJ+CYz0pkp02LftNM1Jd2FIEEgkTYcXjnUG9Kmk36xyG0tX1Uhwt+u+kWe8V+48F4yWX9zWWCTHQIJJFEthiBB5mv4BDj1im/ixuZiYwud63M8miFG/RQcMlqHjBd/dar5hi4D5aJJbqQjn9qpP/pSwIg/m4NoGdQ6yiEvmRg+hL43TRaFJVx14GdyVNWuIf58FAuqArQZzgsHwg1cc0w2UQjsVj3cZwWFZiLYVjXaQmdODd7rcRr4nJmj2vLcqs0fqaisrTvXR3z4aceDEdW0nCh7vJ3+HlHUG7OeC2aEos1B0QNkCAmal/yO5P9OFbSiVKjiQQ4aGapP1ZHrLvtgLluWop16uoeWSKH5dkmuGRUeYfhUJqv1xSBzDClm8z7NjOcYTk6yT16T2GOZzk0P+5diJnd3J12BQKVJIj7Oyo9CR8YTfx6K7bBtH4B+AKkwlkntaExbPj3otQ+G4nGR1or4rSlslJX9AxJqH7pibStOITBy9fUMIVF5B8CGRV10eQwdXiWuBiThavqsfIwLe5zQrfSVwn2h4CL05flmU3H+uZ80XZFwYpJK17+/0vXsS+MZZVEqpzVLP3eur4BsNNL3lHnzT7zKFYYU3pv5OqGL60KYwtttQHc/3hVfHi1IHLSeW6/C9FFuEzdpFwkEfA2V1y73lR7fH+f3XuOE2b1FgczhfTx4X8bjQX+YX+i2eTqBZVoIVOhB7G51rdNBTfxw7ZYMW1mLUU1M0L2E/vfG6CQoW2Z2F5++H+6kR2oIiis5Xv28USQxKAEmY1HsJx3TVTrqzkfoxOX6FDZvxq75J6lSEP2plEJfKcmY9m8U9kjfH0UxNHcgdEsKdlbkXU3QFg0gwgOPyT+BcwuHcSg6Ojnd9NBCsWGGPqqfFTOtc2VbH7LJ5jOwSIys3djnU6IdADfQXLsF2SCnGu8B6V4nAmeAXUAsknFMux+/7/NXaqOK2tcW5Ht/OX0/V1W84VDiupyVcGzdNyoOeTKpt7JqCHhIiq2XnNBXoVGV8zcjNjlp1k3RwnjGFXBe7RICtqzgO9uQxaMT29nMarmLjx3oV7X/OoY605MefKbmHZcVs6hXSiWDi6kIYbx0zD8Gqd1CR8pxMBF/9tlWibh6eD0Sc0vgtEgnFTqxi0iTZyPeFelWReCLSfCIZPHOfYoA9O/KKt5+bDmBEL5ahGkB5lThm1Hs6xc3a0OTpDnJllNxrgJyVrhxJ4Q0pde6gLP3PF1/j8yMz542dji8NqM5r7juevRt9JUCXNbH0epD+2QtKf707dV96NVBw50f989HLvrTnls6uuLkC84hlwmjnVbbpym7QrYZdzRTXweO4QKVKtP84BIwQUWEqEd+GbTbOuZIxGzn59c6+N+oHj7mi6TXYdIwUXb7KTqS2UMH7YaUiGte/T43hjrhqLJZxWyvMw8yTayvYYrEqXmBehb2DWQMymMNi3CnaU8Vz/aiPBGPvOkqRI3A8JLemrL76QP6cbm/7PwA5DCEMg1gd+eoSCVwhttS+N3Wh5Hwu9C27yLPZ5yBtOMYmBlJSXePziY0G0X/V11AeooBlhERd7PMXJ0MKyvR7oPnJzKPxMNJE8CMvnZvA0dczdANS8WFdNhRE05oCIwHiTjnLOhgoOUHBytysrEnbQS/CayjCHpKc1MhvPYRy7xqvPPy0RtOU03NuhJIfxUYvIZXWZcOVSv2fteSYyhaJpqaCZzza4ZZF3vr8XD09taA5pm4d0KJHTBpzAlJL8631wqXg1f0xo6L/eWzD52VnZMZ8U4Kp8eqK4jJRwDhzrgNN1oZ4aLAxNGa2QqW/8WcWsw6Nxeu7NUrAq0Y7SWl6tXhfFkkUKBO1hSYe0TdDSPIj5z+nYykU8vQTl3vTaIdYFYar1EJdiB2hvICSrGzqFwLF6R5VDIljoeVjiag5cegIamJseUu/XzS3uNnKFQeYux34rLa/A94izSrVDOLsiAW/fimLAwBHZSZDJwhIZICaLlP/VJ9uflZ8y2FNpTopNQ0Vc6PkNmNRW8UULrGkdkTuE5t2xbImwpTcu11uRh+kUTq+DFK+OzVY1EL6apK7jMRzCF//GEeWNHfDBBJgrbgEifOIGFXr2EsbfC8UdPKjEVC80Q+7AgtXnef5SMVaztUkzlFyV+cXrU1oJ81Ym/hepyumbW0MyD6cei1K3subW8p0hwUEz6aH4nxKviogsRk1AEB701fN/iuT2Yuvv6uLg3NwolUqfr1r3GxPPXqJitBDjRWmnBod4S/85M6yVbDL0lqpqm4TvPaGM64TOYMlVQLJ/SnemMh8PnZsC3xSSKlu9wn362jnskIDh/arDyx9EqS13uXCzuYc2xLAY63lIyliUzSENqx0hnHOamfP1xFxl9aG2wHDfraV8FeHiA1xp0WQZsqM3mbzi4q5IG5upGbCZIZVg7QfgcUD3e2PL5qalDBY1Zots2EWBvMXELtAVFLtEbNebcvtfjJIFcMfmHal3apeKS/tsenq7YL66ndtGvy6qvD+mjEJvUeSuSw1sKe9U0OkFMnuXRjLX5jqQIWsXZZ25Lb/b0Ttr7afNbNFXPXkZbkOodvbaNmt5XKJCk764mbVyhXXBWRc6kmabeBbRCXuTaXubEu9Hb5Noo98W9HBtEqxsI6RFVZ5jJw19lGYHMeDsyLHMGkZ/LPN4jxHofW5TfVmbJTJcLtu/Mr4WDHAuoLoAGnykVM4ZbMWZTszXVeHlRgxAd58BFTk8YNN1Oxc4IwoQXDAB9/v10OmE3mHFOFuNUSE+CJErwBS+589HzQsPMxIPpWoLvI9SxGRRbRB65pFSSFOc5QkcF9D/xz0EVysdiRssc4EXKNvjUyF/j1NWKEFNJV34I1IT++xpjZP2jAaIDzHkYyK2IPzpR6F+7gaOD5MHCGRq8tR41XcpaPmwTeiELWDTI4eCpa12a8M3ntojxF9DlVaaifJmLno4+WMQsgMPtVrTCzZcX33E/OlLPTCG8x7kHD2hHBuTk2DWtH5GIVC6DNfJM5NHyxblkUyHQ0Jecc4Gny1/exT0V4nMtIQfe3oqXAc8tNv1ht2QDiomq00bomW0iIwbqFzhWar012STWGDyHHQRLs9ACzj2bXavdj2BNOp/v88KAH2n6MlRyCDJ+DFjxIvuSLVtH2AbjxmnAH6tS1J/oBhllPQ9dgEXlVQmUYsmOzev+GB5Ss+RFMo2xxIgMyvVfvhKvplSd7rhDVp9l5MUA/IMSWZo2NFRVPrXfbWhqBvTTSH/W22MdozPLBL8+/+Ikt8rSjvBuP9yv9zkWpvyaHC9sgE0gXr5ujqUeacc0Y3Hj6MujYlPu9sP3O6L6v7QzsFsiXALF5QGuoIk/7q+Tj7zdh4l2JrCpPyYrQOpxbHAP7ouSrRu9HLYpEZ2jSUYw3hpkE33xNEUxR5M07u9rPkfKtyY5JIKtsAJC3G+xhTNOjRvdrj2NRCAXJTEhne5UGEaV/RXNckIbTYck8PhA/w947yi5DExadwk2bV/eWkzpkJa0eToulce+ERHt9AuGjFHLntXGCc+xgGZLcL/6axQoaA5aD5OUmED3yPLUjeMZTAC2aumDjL8C4e5SGy8a1IvfMzuCx/3T9ZVx9aV6yR87ZkfO3AYUPjtaVI5LNbJN8n/1rqv9rR3VFAyMMgk6j3bMTsUwbR2rrRJm+zVBTYcfI/1drL2gvNLDTWGjsvfuiinG3IKKHkYCs8ttHDRK3j6DQWUWnGVNpIq8UpDVEGWkZjc5NUbaGS2vcBC2X/C/+BtbwipVpdBBk7bWoHg6lov/O5FMKGA5/9yKUNKfpaqzU6N9V5Zmg/aGpCpiPLcm3A9q7liLakJ/SXQykbgqd42JRj/NzhN608DMYryMlcJV0G9+MNPoyjca5deVE/tw3lPEiGBiPEUUx4cufHLvgg7Ezm0kObHsPmRoQHZaCbv5Y1Dny/ue1cCkyIZ8KiprdNLFC9jGVtzWB7R/3Pw9TXVYfqE5Xo8vheGBcFQw31bf4oykfoESEqwCziKQIAWTBC1beq/536NV6+DMJscaVyI9fWI1c0rREGKuvg1/UDa2hQmPnKT1YWoVHNuSJSdOi/euVY+gSJuY8TKpGX82YBzVO2dREKHP67JPQpnw277d0cYxgNLeP++9Hn7w0QnpfHRdHig7QJ7UMbRT07hBJkRKEW3S7czpYOBNp9vj+Tfoe40MfC326vE0YdQQx9W2im3gD3YkshLAyfwefYSFo3FD5QDNYvVyrP+4JtGqSmAX3fY1g1d+nuh2HdKDXGgi4zZI3T62bkP+qZsLZOoinzQJuLCZ842LsIUA6dAPzZQugyOc1YD5u9bpj4W7J6/sD2khE5YVXuIGZaAP06QKhmDFmzCoQ/fQGWRYN1gHoquA2zehyEbCFxXofRTPzxzbsRLPzn4ST8g92Uz5boZ/0nIe33bM/UV59Uk6wag3tUtw/LXkZQU6DkNsLrfdCahvI7sDchqWLTsSBfiiTzgFkvOFA2w/6RiTLFfySYGBOmOa76aFr1rC15Kcgf/Lsizg3oG3yilvanrvUfleCwE6B6yrDP1u5kouMHNysiweK+XRCM8pPHu7gyTV2E83Awez0+23I3hKZVruIKuvfa6+Yz7kengV2TRXfMU0LNYS7crvi1857XsUX1rON5PKQSP+mChRSmGnbhubYcQu1issIe/H9IgB01474PuooBqg97rO9n+rUvExwyj2g47NlpxQmA2IE5oNeZ/5Jn/XoxzNEcvjmO083iQHYjh83OMAtZUft7BPP1vzFdaFbtpqpfzHq3cWpvXaf3MDqhub1+xv35zx2gKXK8XP5qqxaGGG+Ka+YBj+xJHacbY/XfMquoJqeLAFPuF7WJOrqplt2quGtv12gAy9xKNkefLLcdTO16DYCTdDZBi1N45YrW8tOD/lgQGBGCg13FNzIBMuscwY/U4Z63Rfj8DXRF/qzwi17lhdAYqYOW7hCIdkcbqVpipcZaR+DWA3gipxx5ztEkuZ4RXUjhBUMvzqLn65MGxwSBLQWE9bRn0P4A5x/ShNOGPz+3pP6S0vOEyy0zMMLY1jwBcfU1ry1JDQRaEyKeEypohS3GD/MR90GzOvm9+gtdvxk7p9wBROFsZCqio70h+xbT7RRG6assT3+02krHx64WOHoso41HK6whdv2/bHIi4LyOlLxUdeJld9JrkRA0MRnd+WV0M9eWThWGOsNY6363hfFDa8ThbIxKLab28VxER5vL6eCH9Z9iYMPDHEqnJZeHUPauFZLxvGVxcxue6ArzhbxL9m9UV1ilOYxfQHqVfLvyjdM3bvzxNQVEYr2rg7B0b65L0848DMVETg/ytJbhPS0qXmy64TalA83E68YndvKZLY/RkGlLxXDI4gPeGJsMqQ6wVeVzLeBDdSxIeK9jYSbjjsNZhTiL3lTCeDCVj4lNFL10buAXeVzniCN/npJYOoooPm5DrRPP7myV4Rjilwf+jHDdeT+RhQnfZ0nmWOd+clVErBEP+pHJZq7BWva5I8O/5gMiPQeOcP7/IfJOFZinKWavRE20a7W7ZA1jfjpAvmBRs73v8jGucNOvUtZrb3wFh2PzVYamIZEvGHZn5vWWCHdzYKk4hKDFkiA8/1rVVW1lWUfB17s/Wst4XkUqGdgnCw1ljXCz216OkLx94rNrJcDXYyF5FPAXGAqbjvkzmsxVBpi5ttm0++IpMcoUmwILetvq8FIZxLo09/joLjBlqN2HqvPQW2kRBmlG9KFdtpTwcKvSkh4GwJ0EKHL2FbE1t34K6CLCCvTgWIGH+2iSg9nD+/wTeyXdEzcGLOAATIE7OjgtyvKHk7e/MoRXv63y3TsZ9NEkB94EfeICQZNXI2kQUE3xUhEbS1RHwPOBxT6HciNJQ1XbJIxI86Lq9TlvRuBEUswiLsrNYzR0Qxn4/CZZI0G0v5Fod+vkJZX+L3WnkaVuvUJeB1s48rwoK1FXvBYkydhJeD1shF649B0yQTLeCvMUAs+cZIMLwp1vl7S/rEokEH6dpzbfhI6Prn0unb2fx0N+XY/7lw3sqscg2vlMgEDCwL+UWZ8SB1ZJw3KJ4ymZFhgv46i6Hzbp09tgL6IgoYswgY+/Fde+9M3ELReVXWJU4CYQd8USIeTwmL8/hwcchdGjYgyb5+dBhJvdsGo6mCWzWrEiooLQRe75AATQ48q/uDzugA8Mv/+RHB9EoDr273fu5RnzkYDjh4+6iyH3zf8VYU/PVW6it9/4RW531iHbBr2+4U7RXaUnqcBxN+VuiB5U6ydvlbH0Q9Uvqaeswwy6r8pmYnkiyGJaEYXqeOK1Z8ggx0XSjmnj/9I+DEKT2pQCnn6oig4Evl4HHcx+01g3nKilEjIUFtZbkyXtBKh9FPIbWZYJ+hQcqe7OUZn7YJE5kCewMXJjJZKurBtz5DCLxkPHbZh3MU8Up7cozz23TFmzegdGUFoYlXhM1AtIp7DJh8XdbSx5ME8jfg3MNNRdZU4DTVMAXVWmrAxWXzKVQY2ddFH/wi+grwFp6/pFUG3WyLq2AB80Qf6Q2o0RnKVR1bD8XqEAjD6/EINYgi8cBc2k5CTI2eezEK1O7AscQV67MkHjnaNrMPWqy68dX/H2gQtzca3clAeFGPODRuT79PrVQT2OdYf0GMzbNd9DJxSD2qJeZKGg5utf0SJw9FdUOdpMuqf/igZWlNamGX5o5eVhOuKLdRu3brlh4aQgYBfigtiAtwYo2T+ewaJDTgjflCQzFo5+uN1VOI6Hh7UyLXqHip0LjjaVjBzpr4Rd5lFxwm85ew5YP/UgrsfiQ52rAp9oGy5xFVZQ8bTz898W4JDzAVvUl+K3f9XDRUb6l7NY+oT0okCAUu0AqWpNodG9+/angNDuYKKSO1f8ffAtLg02Ng1VX+lYKXT4MtMu6jpU92wVklRANHml6psAC0Bq3i9FPRc8vxe7/CRDnkKCqJTPH+SJgmfcw0Y1j9YtVtEI0p/8GF3/oLcjexSuFq48G2w2JmXhFIo6gVQIR0aJUaNPF1Y4XyVEk8+edWdm6PeROTTV8B6vMj9w4fajMWuuqU+9yh5sE1HjkvB7cqns9IDkHE99jq6+FQvrKGsW9SXM7EkLQYSPIgOClAeGASI6ypBL52BpRNN8sf7+aVvUc7AcjQ5ve5T3Nf/m/2rz46rnauNRZB0ia3ppkMcfNEp47TtVk8NZzXULKIodzuWau317TYxDUahYrCg4jyTQhSgnQ0MgKcyCQ/4kHG5MS+4Wn76a9Bohb/s+4KQ9FkA0d7+e7G7yTk7YaQ7JvLsXYWsFiyLqs/DhU+bfDLpnhfXX8qw2o2j/wp6posCgmB3CSYQgxUJexo4wDMuix7JWkeVxdVVE5/EqsNObbi6J9hdtMAdpmddRrhz6wA42ur7iJA/CVwMI1MvP3usjNPqEhqwteymHfDoFVmgPoAQHhVApqnGx1of72U+VuzmNZqxHc9yTpSSvFCtDbLgngb1ljsUiPndxcItDCrWOoWAKrwxxmpenfPd5Ng0q63bQ0JwOQvhla7FKWORnRUQSrtxsQo+L8dvKYOuzmgxhFl+sugXOHMTcqu1UFXWzMPCbBR7Z2xWL1GyADjEVp6JW1lyshw0hemxpnMZRdCz8abR149XndtOOa0ImjvmNpXLFb5UQ/xkSuA7OR4qtJVE3loLJuLMln1glbvYc25xkw6kk41DCUVxXTOFteFrragfHxzGRv6nog8Dz3DlPV2d8B6qwtesBV2it/Lw8luz2sVxdHpUJFaJOZhTB8awusDroiRnrizqArRiM1okS6Msp8Q5DhnR9THKhdiX2iJ72hq9qeLUovQvV4oR8P6Eq4SrYsIn99f36hrCT4vjMwJY/dzwP1EM+Dqi8QLAcIELpLBMVPuhZcFaNm3o8l/eOTCjHfUywqzpO0q6u01p1J9gOKwG94JjYGaF0kR32wWczc5kc1bxmO2YBntybxw26ItL9mI+/TzEeBX54lXQ+YJua+DjCwuSNLjbZ9kadH40LjLdyVOoL/uKZIyZhHx+gGfWfDfzdaFcW2ueRUuNVHXgW8JUNOuFP6+iesfsJz+Rd8mzJZOuTgFhtBWu2BHs1y4FWjKG6Bgr+IyliiXO7/CFSwzqBI2DTcyOzpEKAfOFQ4G6rmmkK6FeWf7n+h1jU1BahnK7W717KQX8dxO0hvMzcDlgL1ZNYD3NFSMs9VNLJg8YXg8n5bU8EtWJ4olnkdsvXmKOWVJr/FHKqXh4/lLdxSnUahap10SWrB0c1qTPLOR1Cj7QzNPmQ1EROCgg2nl5lbUk+r6CljMf9k1NwkB28knndRUwCqDXW4lmmnpTbL1ASwlRSN0C8fXUOz8RBnNSH45UpXticK7uZDcEHQ4w4aVw7mXwYAweOMd1OgCGQ+G9CQvL070UOqFV1s4+hPVDmc7tMxDwn8jVoPfxhEn5p6seAYsX45yVkXMUNp+chBrbDmXRBa3i2zsICILmjJ1CFBIl4hQAS32zuBZbmXc/5SWTtY/DU+UOElWyReZ2vCXZIGpCA2DC7GQ3StCQ04lJn00tp3a1XPBG6zecGWkP+v4r6J3ET5A696GdrXI/J+8TacbYeshHC+Aqa+el8eRnlYthuhB+8Hbwfj19XJIgceJO6+5ztdWVD19LzEKVUPORpbU5XfHEp5y3JlBBhtxAN84aJijNX4/v2BMhHkNOg6Rnxv6ppVUuuYb+XpdoQys2UIQFGTeIMVPEH1ePklPlspXpEOCilTccdSTi7VMKvZc+Zi+hj4/PU6wB+S7K1YlIWO4no/KupRFML2CEk32E0VGhdnyK3jA4jKnBapdhNZ+4J+Ke9vaIb/XbNe0ft+OjB8lnnZT9jCr7sQxO01TdSZlJCBcQrvRjHJgcPe4/ZBzT3qhQA355f5mt/BxxAoxV4nyVXEDv8vHdnDX9Fj0XHT5QgQI/mJCUh1eIpW4W7fJRxDTwyfR1n/9BAfKFcFrpv5YhBKsPecO9aMc8YGvkeDIFuo9UaFAitBOxZGUnkvBHr0mr+ReziMpHCYPFsEeUY0GdBjrm1221VfxOkxXfUFrxuhV1DdBKIIrxaXv4dsR7/K7BAzGhakZEZ2heNrihm0eZCtzWu6hmfkTWLYAyBOcOeSslmti47JNHZEWIyo6s9P1Vwh3zqs5opco5Gj+PAeKtNS8BEgRxR1orTGeGbRY/nTxTcqzDXwG0poRiq7d9RM295W84+nHmz67dNNB0FuIjsNlNFbUpFL+dAL0BHi0JK/csnNurlj/C0y0wiYBXxYpXD9PJsUsI8ePA2eUmWvjDVE0k5ok8KiJWJKSTkRZx7LujSF8tjCDruuTAl/iHhFxkzSV+WF56f+wOO3zg6Wr6wD1rM/T1gflFkLv938mnqC4ujxuY/+cBdI7se8wQ2YaAa6SGxhJV1LViDUd3aFUY9jZYcFZWEg3KKAJ1jnJBb5ZS9xsNsj/5SzBnZEYgKD/GD+wPm7l9UefNiLODC0Nq/f0d0oFDX438iAM7BuA6xAGzhM8K+XM+UN4z/55vH1LnRsM3RM7CXK+8OoREjB+L4U+yjGQ0FGf1h23RjCTjyr7Kri3qYvlsDBJNxtmShLLX8Tv2j1xyuY1U/WfAK6HeLKFlspRiDzc1SfqekiUjhtJVDDpK1+I818rRtJetwPK/7wcyFZS87kz2RRTEGuhOYOdIvPLwi6lbRyKiMH9ziAs2Yux4Lp6SvtXTLolWQHxFTA9bBdtYxGTxWAzJQ0olycqDsAJ17CDGw8yBf6GgFCE0EnRf0WPZjED5Hm5Tw9O3BHB6x4wl3sitelOrHpcoLX6atdZlKOy6moEw2XT7+35pTmPuL3d6P/6NjE/HtMm2CJfTK1sqO3W7sjHwzLeAgdZGMjFItUZGl0STuwtYthR1lFS6r9uL042CeEf3u9WAix/RPEGvUETfyIpIRUzCRUCgZ4zr722ty1c6yyWEbh9oszagGL4IeBDKzxWaQWWN1RLvTBSBmr9/47nlOQbT+nTiv1t8LoalssJPVCEVHB8gFbcoh5cDoD5+FumXNa2DBec8h70rSEWSD0OEb/m69bghT2TnUTFtC2aYHisB4qWxKXjdfdSECZCHOen3CXNl7aDBz180yDixYINzm9iAYR8N3DbFv9+6ME3DAXsR0ZfJKuiDwjmObi6Z3x+7Seg0KJ1NEODzO2EKlPLde41kdTfVP2rn6iw+eI1kkvF4mn7yRvzRPcUm0NoIHCGlGF3npNIYwx3nx958GqpmNmakgsCuJm1CtC0RsIQVmfDeLU1cMzOAamW+MW8yJsUTG++HctGLyqVwOqgEKNsAC7X9Yd40bWlocprfpm9qYpaMLdNSkfJhRAxezqaN3A7XaqUkvzejg/kyTBB0ghCJ2gsTVjbyDdhV0fzzHFuoTrbAmE7cY/XK3AztJ5UdLAtnDCQou6DMFmKcS5MeLdV05xEUXtagSS4K1MCsH3QZQi3X8bG9tQNeuyWY4Z+Kycs8oROYOMamOM85N/x2T7UVDfjKEo6i2QRh29jSxvT61FHy+kq8zCeGLMcy3R424+7redLFg87MXsGUeNk8yz/cXfsNTBG1rHVQGmn/xJLx1R77XSkr8cTyoYF1uzVe/YoLNbwKuPVuHXZdLyNiY8nXAjoWeeWXEpo2zpJ/wYFr2t8aUGAJSYjGETAKHHKe3iXHG0zZd7d09+dbHfLHD2u03mDm5YPAi6U71kU9ELyEEKp0FGrxlqNmrRNqxE4S2geo1fIDvQMQES3djjS6qql5hFnrWtEq9ejIpyurMLuySUp5aQwrye7wAh67mTbUaD5ZgVUNRjgkYBRXDRnW1yuY9SM7A1Q89egRq8zlPCP0/lLEacNH0JHG58PDL29ILX8VfRcfrlDIv6n6A9/KndsgOeG5Ti1bki2ZgdntrOHLDZMAoLC8Mx4eoweZaBMjinZ2VNWMVda28HmuGzKWNr6lE2mtX6tjMX9tYZeUN8iQ/xukQ4lZ96jnL4FVKNInxRHWQvRELWicUex4XyZ7NQxxTzDJTyB7r4Ys7ekknlDaTm0yGQ7rBxRYw/IahBJWRYAVLqKoC4M95evKR77PRkHsh+IPt57/Vv45MRh3r2+VAUafzOEqtGEqnYf0qU8j+9wW7MBSNJrhf0pe/Qp6hcfqukkiLEbKG8AV2m5m5UZm/oLSRpHKqq/ZeRbI45h2M1qlFZ8tY2QLZL+clcJITQWLBR2oJF5rPouKLzzhZlQUdJ+PXbuxoY45G0zuMnzyFcmHmaNGnYz+ZTZhbRNSjwkCqMJOCU9yPcsMn+2xnfFmE6WoBunucAH+ZxxbYS2zX0GR+cByvz9KjWIfMeQa2JaecGYSyXcLVM94xS0x/YtdUcLsAfaRCZ9HcTupSwFuV3aTWDpuCnvjBH7YD7JhAjjPhlrfpFeqvSV3FkOYniJIN7jOaYhvToGz0uXGFPcaNGmNyReS3rbdSAYDmS2Bm4bndrek9HaE2tarkHUhdxBArr7a+JDoEHNChzCws70sXThrioJAF5BT0rTNWityG5VdlsrT3RrOER1n0maQk8wyuuvswiWsE4dGnw98HHrr6uEEK7KqtxHFiMEolCvvPpKBTOLK2kK9au9yr0tY6NHZGJ/ljNrwvAIsJScBRp4UiNSmbRHMDX3u582rSBr54BfZ0IwJ+G2ZBcqLgy/ZExrmoN9rI1wyej/1zJrnGrs6zgZZO2NrPHBe5RyZjtA66WykMxZUGc3FbEpv/3woWrfKE1A+kSr9OoKH49uRwr2IvoijPjfislrQPOr8tVP4wKvN/14umyQqBXSS++Uic4sg6JfdrBdKCMj6eutkah62C+D/x/LrYAZRjTcDPBJiuYZm9Z12i1ORbgDkoxsD0Yk538XhgUdyZnsYkQziD58WBIeeo/Z4sruJJiLECwe03LxX3rAzxxxoVwUMPKYi2ktqBe8q3BTqpwejM9jcUW3s9eiQyvBMfcrg35fER79JjzZMifnYTYKyOs6DuWeceWdCDBqUgXgoiALJJct8RFKi+ZWI8mY5muplQA33PrmwApxVhA4WT2/ytjxlZAwbK3Zo1Yr1roBWn3COaaulOvTzgEHzbG2QNyoYoFDsDesMvrJp5cCfk1Ii39CYETMPMXAlyykibwI/CmLio7vjGe52ssTcWpbmblGXNuYkfSg4hutvPzEff71QjfERb6SwZkAa+bpD49cxZg0JdgRJOpnFUR4pCuZBL5M2TseuAVr2x3g8KSfKu7LM0BVp4xBzw0UTsd/5/w1aRDpaJ2UMglGmkoR3NvU+cHF3PNAuLBk8AC/pshcHr2UoFXLSiHYRuEdIEbGmhFJ1IbHgaaW/f0bUByevuwMXv0pXzLkbVRloWCwl4brPqaMs6KlNnawdHQ+NuUo8d352hf7rs9nTKVLrN9PtvkDLOdsI3y4SNRMVghVMEh4c4bDfmaadlPdGWmqXlPz0cS1wcONGwRULQDFmoNVnufr3hseOPfFEY3XOg8+H5Qob77ogo97XN9Z8YGNaOMzCsEYdvNYdXV04d+bvd2fbC++VRBAlcXjSZCNm75marAUiKDXMcNGH9e0pTpPc9A7BHmdWZc6tQRrx3p0hYSdAE5mHHSPFUqoEeE3CxfFYKMlA6dXfa9g934e80YRDmU+KcY/4gPqYc2tCE90oz53fSD+hKKwyxwwZgEP5xmF8Es8kbW0Zrx6aLESdvkICCXVygUyEO7uALIrUkH7BoVqI1d0ZwzM5Bt9wcuA3EvjWyKMlu21/iEdbzTacq5Ihe2EeQADuEvcqViofEy/y2tBz8PRQLDWWpE46AXz/7BphU6V/aORU/t7jPJvEWQVnuvUAb1HVwQuv/1gNHQgNaRFCNLut1lQrRIaiom35E6JrDarUt0IR+m++MzpiBJrFJ3ATz0Tl5bagsb1OqXV2s3j6kuiiaV40My1oel0yuocQnDN+eHH719i7zRVyDvOTIRJNQEtroAaGJ5RjLlao6zqFuE98cUFa0p9/pAdOF+FgGkOvsZeUTv3gRRGoTk6zAyBETRHscZavKGpx77VqejF9y7jDseR36i4hdIsPsWqRljh+9g65kxVtjbGVlmKFJ/+AqIDoSepxs/S4YAh3L4nST+TEacDzJcx0ZqyKexazGFI+RGiv4/BfcelC+cVEHr/wcrfqVt758yK5QxwqbJMYdeljJaXzDWD5c7NlAu9WN2IMxBQdxAO0jrl6tXQWZ2Yco7HI1BZsGopFu2J+SpnO/1XON0frPHmRKk+SkpbS0RuY57pxH6VHhJoYSj/eYK0hEl+OjgF2h916uAcP+zYKrdPC6nKtCHZcKviCfRuuJFtkOShh8XjEblFqTV8xDdiE1KU7GQMfCKYrCjSkpqbfrBn7MHtskHyo+GA72TzhPKsYZ/bd7+br95Qi07cwFJUKpbaP5IdaAqdJRJdOLL7vGG+BAMmnpDJFJAGMD+GQEFu7en96eyylQWJggfGYlgkafv38hba4skkp09hNPbhUSWurFkCcy5AnI4svTlv3WWUHVjMSa7rVZ3wbQaPd4iQL7SkUAYWyIN+lWe3gs8W+Ggojg+ZIdN2ds0nlrNSMrt9ZPjReuzemusN/7RPQKec02DzTjZxuV0A9klrzCdRLLbmxJG+21TYldy63QaCag33Eo46Lo09qx0FCJ+//ojIG977Ve0WhsqGF/bez0y+CNH8guJIvjXdqLU1G6P0wEuqdmGN9MwI+KIXeYznUQcWw41O90TQ4XkstN/vInGyLgoH/vZkiUrytFEex/lhfiNMqYD8VGzpd4YM8Mxpv4O7dc7E5mRd/1wtRhBP7sxh71XtvBF3lnuPalS/w756+1qXdSue0DZRywXoHwdv0bwjREKlcFjT1adlBOelbJo9QuwdRDLby6p4Wf9jwPl+ABbQZpqdU90zyCnw0S57FJOZyaEN4Satjynj/JZd1QPa8iNjwVSX/GCXNZwKOUBeYNEUGPxw8z8Wx4xrrUu9GXUDC5yfUp0TuABfzkPVZFHZBa6+lW8I9gkurZuBTT4eI3PuVr+nhz/ts1kO+NOPTQpWtQ6tCsGTKwpEDUP+xYvjeK/ToPp/0ZQaQsPliMSaz9VBjNam15gE7Isfhz1/quEHA/erM00a20h0aaYapmqF8rfZUtQ9sDzbA1CWE9q9w9wvgc5FsnpJIgHMCmf3pJZDr9NNWSeS8zIulx901PRqra7cwYjfuy7rrQWfpjImeqs+jvJZQGrE+OPGIysS4sNn8Oo3r+8+GsUUzmhadxB9pPRA8ipeJAl2miefviHW3BmduQfskr3Ksrpzb1JteCBtbd0zq1UtVbHynFySZRgQA52cjxp3V5nI5qurLHn6HoIs1yajdcrPoCn3Izu3c6vc07lu89HX99j3AVc1tqXGjAEwP/vuzkctw83eFLYr5F95vFK0nbMn8/OC6isARpWIZbtH0xtp6WzZWY5OTY4RWGAWBfZbTsOpVnt3T/p426ntEjTvg31iGaofMoNFhybWY5jRiEPs6r73yZ7MFaSAm+TDsPbGwhvpN7XEGcvNYHtEsDYtqs1C+QkD62KQWFv+0fZ5pGWQ9XoVlXw5We2re+uj+j63Brix6YcqDccfcTyzZwylSOho0+yxw1F63BGUc21OyLtqD8CVYRJt3517tU9jJLkqW+smmuKSOxiKuAGFNVWsaWNqf5XGY4lfs18Yicet7kZJ/iSmxh86YS60YLV433N2U4+bQbIx87yphTys0pBx18a7BqxL/+mejnVRZxmKcT1/uY1CHsiznnbj9828HqloHz3rcNa2n3NppXhsSmEx2PjB4a9C3yVLV7BmU1zaUV+VhbgXC2hSF81sXUxV267SUXXV0/JAL0hVr9+Ymt6J6bynNAv22Ss7ueyzW4y6H+delZzmMatXwPNyaOTDRwkFQnxxaAa4evRDgqjQsMJ3snf7yGP7QbItLJRS9JrohSqJbmp1dFy8FRS+FZ9SMjDSRjl/taSmE0BQofqWS8J3nhYW3QE5NVBj0Q1TeA+jKvBak8OOG45yDJf21qZ4k+tCFhpJDd1ZSlGxoTUyruSiGRvZxvaquTgUps+R9magX83/0Ef6ohDI1ezljFICyvD401hnKYQ8Hn4rd7OPAgHI2BJ+4ttI/O+PhMq5OTbax4BHw4WtApMb6ALAk/DlnFhoxNya3M2YaKdbhXt1N5p9Oln+hUos9/R1wRNPhikxHqEMl1Zo4GVFm8/K5hIt/NCyM1f0XWLlLDCpyJwgE1kAC2PjVEkUs2P7K+4ZzjBSRQttABcHxEr+fyjG4XCtRqtTZNUN/E+zzZrgbf2i/BxVEgHi1kEEIUESf2ychgLp2lTXYcJwhm/1aEW4TfGjd6ungjBRpeCehDkd2jXAWS9PJlmfDDnOBL3KJNI9cB0KxMM+B06Xq9xsFqDifwOZ5F7XCWQG0B2vHtWv2O2y0kczQ2s6Pxn/qrqw9oD7I9ALZPcoQAf5VXuIZx5AQ3mXTSSv0F97yXkmHfNUJeK8Q9kgZvUeDNtkJlWL8+/+8nQIZhhvNprs/EN0XEZYgRPJNNrQUx3tEwLcRVnjU3Np4DNAe4CroKuTWSe4nZT6ujJaxvb7j5KCy641yakto3DjDok3IGiprxzkyC1iY39tKJjxn/2R9CHSo42+CUk0hMfWBzw3XLRrSDQMBRgb2us3IiAZg3aBIugZ+z+DiER/7MPeTCzDf5FvUEuxZsxTwA/M1sOvA20nAQmBexMB8lciDhrERUs7JiImVG/bvmlxiJHAQpezKJfawtSZKPeKA8BcFNBzKQBRRTTyDBC+olfUDnMr9kTjTsiR9Sb4bTOqCusewSxPgZlwJllv5sKv+/D3b1YwjTYXW5itWLu08FAsek6wIKHQZqq7mCbxVxsdAISmjILPHo6MAD8Iq7ybLtXFs0DdYOjHWF/jSKpPvSSdY5+1O2VE297X/ReWMtZkXfOMj2e69Ee9rx3FFNmh6nPfth/vmE0mwgxnVR/oVdAUlMpzkq0rzZsiAisSzOIwk4Xyceq0XYC0d7K+9sJV0/ZX7QhIfht293/jRlZCK2/Y54dtN4s3oaWsnSlHMMM8JVEwmGYVU4352YUW5MDPK9lhNAHt+sfZntJivrmtaZxRnP2IYW8hZ0kR0wi9NcQS1FTHgV5uKOW73BfJIq6XM5Bx4kSUpVEflXjf/AeGRsrx+FOG2VSMQvZcWnLXbFzX7Od6RPwBtbL3TbI1UJHmJZhhTIPHzzGReBrG/i2kjNR6PPu41MtRq0dKejmkBJUoQ4GU8sALjD8MX9v3V1gHbfKgmOGPQB4gk7CkLTEigeG7A+lnyb7SYBnuMRHPilnUbwW5XBG3wYohHGkJrT6kUSzF8Kdlo3mSKRXJzW/gCYTpPppRwE9ydJTtGlMvQzfmoIVnHZWgZOTALQk5nrkdd2x0drYSDYvU5XZewNGAuxcXwKOilAhKfxkAO10snh8PjAqvfymyzCRHDAgPaD8+sWK348FBs+8elQHyX6rXYYffGb5wm3oOoY48aYKONadetyvXoulPBIAOfyqVo/TkJ6RcC+IQSPUspbSbW4S0cNXwmcj9Ldex9J6MBWTZVxQ9QELrmLXtvTT7PTvmaYJCvIjw6ti4m7M/HeDFlvZK1g/DOhHrtT1zywwpnf71Ecc/mfx8HGWHJ4hEGDAU7M+S2RMbvCBslK3iaJ8l+ZeLBT7rTeOkDPkqugaCRQE7o3Yz7kfbtYvRU/tDvAMrN7tO7GQ0HECtPjgsbYw2tbBi38HE4s05IEDmXEmAI4LTV5c6LPwxdIvoO1vJ1JXwb6zClkWXTQd+HY7x0Jq85W3G6Jf5dp0AhWYIGY17bjPcrQ1qWzIptvQz4xqwrupK8Vorpu7/SFOOOy3fjp61cjlc4hdBvXzO4xHWNs8Cld4J/ezt2M9BRVliw67uPinjmQJOpUHT3eAnlX0UbDDFcmVc/iTQOhEpMGf8OYwmQYIMtrwEJ44iZ2euTGLwHau9ISWV8CwbnLDyjlBGKjfSIUSHs+hFbaSB6/Gj4NnC8Jvt8T3fxXtuqMZ5DNSnCMnmC9pAYRtaKBI6LEewNsDr+SzueBuxWmBjvAQTrOsxJlGEq62ieqmmMR3KsfD8nHuP93CXW2yNHik3BW9t57dVayGkhSH4wi+ICL9BbwpMte/BQMuZfE8Cv+pfcIb8lioyp+Bs/rSZTMB6W+/PehBnWoZ+G/TXYtp9m4RmGAWixlL3EnC7laWxreeRoug5KMPKLdjmpAhbdTqy7jlM0Xf5ha1XTCwFRZhC4kotSg/+NiPLvEAjEBc9Yc8XDiaLuSqcSXSPyC51Jrd5RD6KvSMIosUsb0PN0XvXoDmnOaWAm15G+BBmC6cAA2P4P3VmQ7DzlkSrisxXi5RuNVqe838VOeyRH2/WMUp3BnECQOIT6fgj78z0GWV7a+/A3GZb/BOwRJLGfY/hiotNtH1XKRzrcv8uiMVc09ygHlD6sBz8TryAAV1n+uDTEiQGIApXjH5sKyzzxBT4xodcvu5NgNsHOXX5Flt1EyL7A++q/PJ6Q6rD6mcajJ6XhuoKGv69C2chnPFSPleRmq0eHPtagPOF1htqVAySYH7UV0lMiRCWdERDdSA++K7gtIT/a4OKX4X2jRNDrEUBUVZ75dYg8L7sXQUysuknHVuncuvtXhFjVG0QA6Q9uIH3elkkL1fhPgpZR4DunOX9B0fmSjfbPQp9ale/0C+S6ndZHBD0oRwn/QB6mt85VC8REnp8Djt0CDmru1rlBqaSVI8BRWk/WhcOQgRk8eZjAFlwhuAyESX9qvKXhy894G07m4vuXUQ61dEiAiJV7iWJ8CM1hrPf+D5E2cEmrQ+52VeMkq4CPlku8G3O78uHoG835YuM9Ueo+xGru5ICvfTfT4LLt4rBc2GuEQbXgY4St9iIQ29PyjJRGgIAlPAZyn3QqQjkN+gEJqdP2m2x0iEAA1qH+WE8JQ1/+wVghmNwGsN5WSY9dVoOMFMucEb9E+3NZf/qZ9+ydxGfJVcE86g8N+V1V3Xg3DuPidRJR5912Llbnbzfvl4L4Cz2ZRqlVoycCNcybxGjxCT2YOJpTPJD9NuEYsP7heb7oFjxFOnyoM+bWwAz3dd4gOF18J1o1tG85BqR1RxOxCSuqcwZsNDlJtZd9+1Us/wZ5ZBzuaqZdWxEI6w4HjW898CZSbJWG5Y5vzLGWGJUHll/45H8pRRTwIef3tJi5m26D+KVbfXW/W3BUhnD9B24kt5UCK7XxaKQMIkkYQhi/YK8Z35bL1hmd46gDwPjHzDwtToCsMZQlRFmCzslA+rXa6T29xLjen6KA4wuhxDeUP6SfJ+0C3tdeqjUKQ88ER+nMt5jmCQz0574RA856QnSkD1vFRz8dklLO6JZekP9LqfhF/ZOqkLp3gm9hThPlh6z3OFBZ+sfQvcANBJUit8JVFeX0lrcJoeQGdqvr4MI1rD6/cOenXincmgXNePnFL+h4bJmlro269yRdMO8w0TVR9E2NNsDoYpD1Bf7/z7VaoZS9kRftE+kpywN6JUg2/PsX7l8XxbRRDSarnQ72U5+LlVmXG28rAulHDOFj53N+mKLSi8PIV6S94qJRSDiXhGq+K9CqG+/47tuVNUCqbFY4cG0TrKtMJUKo1P6c5xUk7YOtjoLrAnOPrfNQnKKOa3ZOaou8gspManWmN7vnYxmhXHAqrIWI42E12dDoHNBCeH4X/Bq5GT8GyITTUIHmltK3+XXsFAGHj0TRgUQ2LzGSjHAgILsQ6VzIYF2XVQfJsK3mUWeBRQJNLSufrm44NxidT1qwF0hK2Bsk+TiNyqLOZVGvbbLmdlfyP7E2akRZJFO+vAJUOgyCqC5+449+a8egAjebX6qkW288tb/j8yxfUc3gZwW66hPWCDDVAvvvxcqiXEJ5YCbKapsb4hYXudwcIlHfExdCgufz9s+SQhtFVoR0iivkNXyloYrTi5kFd0X9g42PJMDWM6R5CTEUCbK7lV9WDczVkkHDVGNmP9HhOhKCU9iuJ5Q0EdCY9ohZdMh4Vhb7NF8xjL88s/M0QnVQLAQj4HdwVoJFP2h5tRxWywrbFpRvUF22bslFjjNxz0zsBUDzhZ9/zkZ34qFPhZ5Md9xmYTAb1SowQLcC75Gij1Omm8pLR4Uds0A0rLl79RiCpp42I90CpxfZfnNHqnbww4kEFDVUzpsAnztD3bk8RspxcIc2WsQZ46OfYjTM/+ciDI+GK81jvHjSC/pn1gHn2RPGRodw77UYASzJLM2M8jL77V7F7OIEzfKK2JVM2MKskIPEFIIvlAVClImKgAQGF3nhyGxj70JlJORadWcixJi4aJvXlBJBID7E1HvsSpf4cz6+eeI2GEtOKezz2CfhALK/NCEwOGMJl3WgClVPF/kYUe03JVIVg5lEgTJM3Lg5ZNUDWT0YMMlkT+P/uvhyt4XY7unfyUXbTcLbP3f6iW1bBDqfu0eLVKYZBOGmdeEKa1vnEKgaLzon81QxSbv7ruE52EgkQW2OGuce3FIPTmP/uJoS22vRNIw923ADNpTb9gVyOQGhfESqZqWPISjZNXWjyrM3DAlyMAEVI08ertmoIl4WydCNTf4vT1k19NN967rInMm8vVNMNJbniWxuvmXybp5JB54spO5hgRoWIAbOiweCxz9t4ryP9+KgxzRJHNReKgeWRShLcrq+wuxCZGDASryJUA1AYwXiHxaBqULeHhEc5WyN0Zzyg0vCLttddNTJ4yynQfhiUNYudyHOPJ8n7B6k71xMHrMaY+KB27FokogsKGh+g0KTMHoztB9Ds3ChX6prtEHMgoKasC4RJCH4hkP6Yl6jB/cEzaNSBC1qXJRvxm/zkReyJfVp3n30WNamrmEO9viiZQV/KsVjSRVndT1oegfVGUblXt5dob+chSihcGZjaaHshKJ/ilWAdusAUPvfnd4mg9OreLI/41FEoIqfwJeF23bh1SMUqix5a2LxkNvmPDmuKe1vkGOogRPXyeItEos9yny74nE2L8ZaloSf87MSvmnbJPsBqWXQy7+oyVVfddu8mYVGkrrKLE7fd4xlkxBcahelRvl38eT8Ae2RUvZWc1205lL+VroYXl+QoGPHmiVDcNwj90X4nRbaKmz7b9UG9xCjnAD1mJLUzltFzmYhh1DqQhJlEWqa3xi3sDUYF72TpKeJYxKWk0spgEpVDnko1+6K1BXC4EPryhjowJU06W+WVCq3nTlLAqG322r21DGI8GgcQe/pAYuMvI0vcvkoI/XWjKdR30RjbXhDen+OY2vgWWpWNnA7klZtVzjNd57vlgO3Wezgd/BN7rgT+YSexJYMZ7zurJilHDCRnDNcECXWLRV1Kad9PVjpikeKcfGN/SMtVXlJVj6S7QXiSFWPn+KK1khlN2V3VdAeQbKdfJvbf62w/COwUgxvBqPHEY6f2R8uHTVbYV3Bw11Lo461DXZDcXL5yUNx4DyIriIHxNJFHlGyee4n4z06awKE86Auc7vakUhXc3sbpV5UGUidCN6dmzz1fD1F/sw33Zr7d6GmrcwxD/9bIa4KskM/O8mDbHJHQUviz+Kig4lfeDavIMytt/f50dFL+qp2yyIko0chijW9V73Jqr2auXEYaR3N/YFDjwU77o641ySTPkIzqiq06wo8fJ8yF35w1WZiyY7t+ZclmfZD4RRNzPnJLCym/W78/k8OJErg7FBhYEG24q/TjUySItEcQp5DKEx/nT3jICnjNzrka3JK7O9tKPPcYZHThe0r42FqmrND14wH7NkmJEoydt7leQ/1XXAgg4SAf/QMmdQBw5j6x/9xsrgTFZOZtz7anZ5qcHRzbRWiizWgKkZps3M7MQmq7U8WiPrpa0Xcs0+Ux+oDmq4bbrPGMTAB65hsRjzVnIO3tPbr5EKslqul+v45dozP6PtwqNgc3T0uDy/1cYmeQ+XwdfxuiQFKohuwv8V478zHxNhs0875XjrXU8BRY23HcL8XD+Ox6iD6++vBBpjOO1Qs6uHL8bnLrl/3sAphnGhnupaE0fRDnDB9f5+roeYTKGT9Dprk7zOV84uVWfQIP8lkbpTMIWzAb0+RftSOSaOcURspycTN7sD/k+l1aAqG4TanCeIgQW1vpPqwYCZqZk0dh6giazu0j9jDZe3c+nwRMIKJDn5DHPtPFFam4cfnI0TNA/kuOZxHf94obB97elYzatGtorsi1P5CrDXHgSr3WtO2ikM40eb4kzi8jg+xQUuNCyvn3xogM9cYFG52zfn2epq4Z9Jk4oFf3s7byhJTQEkl6HJ0aFnxNoMIf6mrW/hkfAU4dxttMTggf56xlVvH/kinsgvsInK4GiXHb4Cw+9awvFt30a05b3GUbaTUlgEdo4v3moF+l49PLIBJoGO49leL3Q8IR36TtjUlkQcLfZ56+qVxIgJVzu9X8X9c8GgU6zATWmXPHu/Eh8y6c/KGk/wQRUa702oI9dMPDlCeUlWTC/DmngNe/C3kwlVqtnExiygZwcXsbuqDZE+t7v1gXPwYo65UmRn6xKTaKoBsCeNV/4o9eBjdMmk2ZYZI2vvgeLhKheJsvbfF+UUue/z52bt/MCuAtLFLtrUC4NLH8txheAmegts/JswDUVEAxuaGLtxEahS9JPfijVKLXJpoLOO5QJ3CwNdSx9ikeXoeZqpYnFX8HLxr0wEOT4Kfy3A5yttKzYf5Pj/ZeukNIISYejtM9oC0Q7RdM/8CW3VkAmnBZYLZy4ZdJa4UCZvhgtTHO+/pNr/opPP/a44JgadNTJ97BqDtajw4FKzsIBvmmOFXjUZaWgZH9Z5gh3OOLE1j8Dfb2hqpnz8QHXFZ+39pYd9iB+6INZ8DxJ4UzdI5G1QmjoQFl7PPsnSDzgv7FO/VsmtNT2yJKpliwr5xLH046PApF+/8+txW8FwD4jRMjGPSkd1PzvcXcE98haLgH0upPSWW0rOG4ctDG1vCSCLY86+d8L1fWCPnRt4Ah+v/DFXnfA2P6LHUGvGayH6Kg3AARHBAmL/oUtWfSEpwN5+EEQprigZCgoLKtVfvxY+WGFQ5jNEmHJtp6IB0S3vFoUyve31C4P6cmb1ezf9/+jH4pOJHymeAwHFW37SQESfjwMV/5WGAImKclykawC1Iq42spL8JtZtvHYRok40IicWERCrcltHpQCjrMqhs6MKOG5Rwp2A3dJeVY+I0ZL4k2KxQF9w6SISPikT7M5I7oCdAuRMvreh83gDoXN8tgIS1sBlcUqoJ/NtG5JQpYMHePlqo9gi5egWifsuyPhtGtHl3+h9jI85mSdTUUGwdErtmQQTi6lCs1MITrl7xzmvmu3pvFI5QCM+J+eabaoc55K/dwMMAwYn09jOnB0FLJURseDp/M41Lj1qAwhgt3SIuNFuXENZs+QpPLRELsRA15w7DnBdbEDzuh4gYVEbGWAmZGku14s5l+WOuny2MwcVzx76iZ4On12rBUtpOQ+4B+Rr9va/TV3xrf/v5mBFFKBRqGIVq053u6hn6AK4nPXzKRyj4rPzisHdHNlf4zDmT0LhCelwrLJhXH18uMhAVgdgIoX1Y6oYI0MD9iZbNr5VGMGDQFOzq8sUG07vLShcB7kgQUy6jtIOM1yDKmXd/bebLvdLHg5djEZTV8G+foXstYbqMIQ4mjeI9CY6vyD4WWOmQZAhI6mMaP3L4TYmry2hlIlUIzUgjX4OYskxKF1dwYjQpQha0ko5SvnHCSQzG9kLt4m+MiNuVVdZG589YAhDkYswbf3/rOMhza7VunaTeiw01tDXaUfaicZCMW59F9dae/PakE48v/t0dghIEfugVe5EZS9utJKI/AXAFZXLrW8997FsPoslSGXY6lddIy563wMtJFJpBGQ1fKWrlNR/ZKRdU/KaP0ARDzxdQyAw5y3oO2rEeWJc0bgNE47Bq37W8hCbOU96URSp6CWDmsj0HUf3/mzJnDSZN0PKCbXyLltXdRZ7Eq4H//WzaAOKomYRN9JlHamCP3iNcVUTv/Abmtf216/Nv9QrFqIfM4ZxZ+fu7LW93OETqleH7Lk2u6EANUPrVMTIC9goWEPyUlMM/dCJsPgjY82DA2L6hAcgFDfsOnGkH27J5cDiZwUq7rvRszkcF7/9LFSajBUQ4a0iSIQG03b+CW6TYjLWzEOR10yV5q7rh+eQZCLVOnF9L3k8/P9o6/5FR/2G/3OdbaqPQl9XGD9gnOeelKZ1nADXrGj9JOsFMcLR0ZI2+V1OaT5hDgvw7E4NmA16Zf6uH1e1izREMS2CVdpqJrB0x/A+KA6jXXg7pUJSbnTyXgqfn7ZLPcfeolotOcEEh1Y4AJzs2hhr2lFhpb5HvDebSrSSfh7GPEizucsMC1FFUeiRioeVyT4bK8f0YGuyjK0xOwWS2fLhioXZgximkz6je9jRZvXNRkUHLHvcoOvHMYtKXk/aSL0Ubvp/oSpNeD/c4MGEQN2j8dQJinHHd6o91prbRAt5lG06hWMHXVvcgQQYJSBCHhrGNKuuEHn8PljPaSiop6dy33QhhlIuNNjHBLeXk6JCKs8Skr+XeqV9XZnvFtN1MSwISsTv/D+NMRJR6oFKRYdAPEBPzN9XqeWXpVO38tOmhzngWgucJSJnXLMUJ2ds1BrG8v8rlrUqCpqQrCzRGbzsEPGkZXnHnaGlOXCWGIHRSehyZuvXCOEfKipWxc6CnCqOHi3Ur0ZWk3654H/Puyjx3XrO9C2wAK4gCMoJW500K9Bql7L42/myH6xJYzpSe6R1BxnhchH2ipXVpKGuqBHWfvEbW0FTXFN3gOR+aQdFrEzOAhX+nPfrfQ+JxGlYoR6CpS6KYplr2/IJiXYImgz0+J0t2v2/kI88hwrU96nB4emGrjORkDQ2Zzbz76BL7iEtZvpN8cfUFMN8zYwIfx/AZV73pj4axcDq6DYZXq31VELIdMdPfo7YuNgK2rCxCbPkN9bHs0mWpfVE/cUombgyRXRtx+9pHnlzkbKJSXFXFUitTYCmUOksEvIvd3L4/U9aVQiLcdrcjaaa/icjxMyzo+0MG4aXseWhI7Iaa3Qq7LCN1pMOUDsNE4miH+aQ/ZdxLbZYo9/slwB/9EEBV90mfbYbQFvpI7J8AK3/WRl4b29wzBV1rFpywQK5/HtgZDlxqdm4ZnEWrKH9J63n2aPnxhkz2mpCazaLWT1+tjlesLKV2wVNITn2dg4Raysym0fddPN+yiFyc3ZJilbhBPYwXGkh7TiNI2Rm/w36v4rmpCsUZFStgCwDghUWZiv+Lj048Dv9eyZh7A2z4giFSxjK2prpQPs+a47siNcGHG37XPGMgKHtkfMem8hzzzJaXG8ENF/cPN8S5C9Vb/ksQUtoTIhzwrNCcPKmYocInRbZgEb3cCAKBy5Ms6W4kxGsw+H1ED53UkpkRMDd6OHH6g25nua37KRVm6FtJyKwlvig1KfGfOOOqjOzdBH232bE+0DGjdMATL9ljmkLYevnpOPTCqNWhNAOxZPV1TOx9rE0r+hJHZujSxBT5/jD3dZV6XUw/RphyZuaoGHoZ5juVtHnScJJhSCb8gE7/ayEOtMTznkB32TNqFGpXQitCbanvPYYKeuLdbHYmNKaMYb6X0exc+HZll+VGDmrcOmgJJwrdonzYc1N5r0YjZpItVLmIu1IObJ0h856WB4rlZxnqxsePkWw8apz+MjPbZwYgUOmVGmX3K5e0vcJ4BZ+Y/uw2ocKhrYIY6Wp4rhXFNIe7KwOTShYV8o60LRAGnGw9DaXgIehGvyaly5fnTdTeTQHLDAkZtxsYZvkGq2y5FRdK/lVramcwpvW+cvLPtyq2LFnz69sN90vmJIuXZj7iy5xQTDocfzcLDl+JemLkqtJetdlbCpJFSMNzn7UmmhI+jcVvxJI/lUslp5svKO659bMb9GSa7RKH7qqqzlM+korT7drrXtmgat0TNgqkC+qbdr9l5N7L1s43Go9V3KfX60l2KdVsu3d8OvC47fTNKSWSACd/m+MyMm4n/EEWBZw970iLSjt+RcjQTy9EqH5kRDZfH+dpFLfUe7vXioO+tbVOUAPeEDaRlNLR/mmmOGrC+IRjzTVB36z+1Y7dwosG4vInSMHVOxmWlKHErc2CPovr3XWZhbscer/DQ6J0GhjVOg/YvL+Wx+XxPUaBMwU5AzwzlEy5DF68dXsLhSBj+qKmr6ZcE4ee7wJ+Z0023k57OGODcL+eCB+Amegde/GSJGVEqT+iRn2m/1nwOrDwDsuxf4p0n71FTa8HfUdvkDVeWRYTXgMwDzcfJGCKyZJbsTsw7K+PUJpkDqb8Tk1J5zmfeR7ywwZi6kpO76BWPggrmX++TGHmd0lYivDn7unb5AFwuep2FtFqH+fHnmhwZb7OZVvGfbU+UuZUWf8Z417eaPW11sTBw6/eedo0nyp1CNHQbq6bc1uUSn5ZxjftfqxlPMI+hneU5E4tA6mFRgyR2Qejn9vaaUArLDA7pkJuvn82bjIZqsqAMJjFflRP3BZYqp41vHi7WU7Pp36g4G/CBmulvuksG7mqEJp1MYbUAohBZXSYcowciCGdYGezYz814doNqNK1k8fOTI4BuVjxU9wjQ6FXBnqApiCF73KQ67uxB/1Xk4WXjGWbD2IdXnphdIr4poOGGTCMQ5G1WhE77pXe9xz5IwkggZ0rynU7wwkMeNDHw49wLi4d7sCEPyzb/BA3cLohggsRwJAqY59SH58to/59ArrNG0aR2BHRMkRNXActoTJ4wkdpe52EngYe6TeEVxWRRj1wDlaUMiG5pYRi1vp83OQXw+EXOEwiEflCO0SHUxIrqbhEwuGH9Ay6KQVyJOTopiYBIQBv82NUfHwe85aRWJRzyygh0Dfm9xZ/uFpfOVj6vPQB7+VExrYm1/9JqLJjfrbLdlceCnl+3cNWFNQyu0EDbVVfVkQaJMIQ3vcyl/LMWd++7YULjAJc6trZK7kwFGDgWLFFHwV7BIJwQvfa9MlgeXq3RxPDTu/HqYnidgQhpCj0X8dTfsZIbbGm78HV2qcF93KouE4dVrZNsycOBkXqa0q2ZsdWAPD/PsPQ2uhpk6CtBDLy6MZqwJwudVbzXgLVHf/Fo0UKvzoB2wcou9g49aEdxkPNrwi7GQHJpt5VZOl5mV9pRFlOMDjfbcEtmjHunNwAJyH9U1NgCirFOUNc//WARdtBvKiEVxu/6JYhDJJeTvw/FUOhAUehFiJdi0yfO06ZHL+BXwDsK9axZb1XBeV+8ymsHf6Qpu4k9kMNEhJOoWyBRKgPKsIgYu+HwBI+DB2DTvkJ537kG/yKs0mg/aIAXjkdaPEQhg1+lt3Ji/Td/fqtFbZjy0Lzm7vPLgqd4Nb9x6RAq0A4Fmd0pPOuA2yibbihp29LnOUMj91I28Cy3XHvm+LcA4ivQDWq/OindFMFe71o+KqWaXRgWVTf/mJCx/FkbWiYuePcYUIXyeNNslPTrDOFAMlPddKK45NRRvFBHcEKbr8bkjaYV+uA1EKRwByCru7IS3BgUJkFMBdqAt5UFTFK7jqh55rBkSgPfdWRdw96znMvvgg0GGVo7mMKa/iOY3/zcVdRYtgb4xp4X53szPIuwnZflA82+P1fz1+YJQ2w3P3RLloT/wsuFvi10MX2scKnmUyzEGoHfQ8MpB+dPN+FUsDWXw8q4Dc+s1YjpSFCxOmkngf+PwFOq1emxVxL/gvqDwm2IL/qK3FlAEDEed10e8Ylp+n8193GK4iKmd5n1PnrC/PhEx88HhxFIJ7Qbnk62jPvWMgJ8SxEvDFBXUh0Vzcdc9tn5QAHkBXQ9Hi8pppQ9ZDC1MaPX74fi3iPsZJRqxWMpUOV2fnsXrkBUMgqz80VaFzUTgyhyvPrYSQxcAC0r13JaZiuV2UeKrpJqxCuyt36bvlg0ipqk9wH8f420DUvAt1WHZ0gqn0iBogc4upsi4byV7scuTF78jIeUj0zBXQYNMnFgWynzLAIcqJ3q+bAms93pK5/gVgmvdXLWCthmaf/d+wBhF5IuIlYTrMeAZEjnUxctz3gNhW5ReDmFmi0G9S7mxu6mPg9e4O3xBrVKQormlQZb7gmzTIkSuk5QcMKCA7Z8PoOLZIIHc8U18sZ8J/in/ucW6MQYhi28gWJg5I10krG1PEMILNEeCR0S99XRkdTgpO34/5zgQBTOZHVvu7vNG9y5wEFQuckRkmyTSiC2Q/xf9ftnEzcBno6ey06ChYapV1W9g4ugtEL0UUDPHlwK8SiNOouHxQyX6GgNKPEcgG55XxqLp4jyker/N5rAgbLuzr0NbEOCg8vullvevhtNc0xli+1XDrK4SYXTA2ADXK8FFh3cS6dZlaBDPPcJ+YBVKMDfM0HYB4se7z3AAhITdAyXskmEruUNP/LQfgl/MFbzxbRRW4zIQgm5S/W8g4qW/bgEC0cQ7nAjxELAN5MBOtSmb96RH2yj3HUsp12rGq+z1dVjIqDgT2uT0oFufMSr/pTE7/+TrU0fRUPS1cBMXoK/xgjTN5XT4y8A4lRWeWhzPgVJvwzoa61jh62um2BY8LbEoSEZWz0sH4KouPOeDFPbOJBcTaFwlgJrgvQoawpyPd/ddeZzFJvpSTmrZ7deE7cVQAcSbUBJo0kR7B6VDLtlmjWONVN8Rchd8NYZNt/saOo7k7qFFxhiEcaJ7m64CMaZRzRw0JtGrexOyH+54TYX+b+IFbSF6x7KBWxXmNOafrrr4XPJFE9oSxamJWY/l+9ZXBNFs5yLsZOfn7PnpygiSxy16ARWLy4j6lEj/GYLBOdwSA5sw2b9KYvEpunSalEYCEKX9TBIA321lU3OhQq54P2u0VTOtCBKoRwdhJt7YJV439xuEb/gfVDr3KF1/bepHFpKV0lYyc6CInHQl0tSroICtIaL6vw7YJ0OIABLil/b8qrZxe1K9BIJtyV9qkobAFz78B7ZQCgvaDppLpqcnjHY2um7VFK81i601QDZIg5BeYORpiaOLXdbM+UpCAFyAABKecPwML+9Xm7vuFH9EhaWmBDymrKck2aUYKw1qpQyy4I4HL7ZCViJq5HuPXNL28z0Drba2SFA0XcSXrbFPzkbcN4ylk3o93W7ijMRtQ8X2kJX5OC+2jDnJwRdR753k8nbZOWTjrsR7KnjIhPsP57elQFZhalqdzNocAFhTeVD+f7uFzx3ZDabUqBfUql7xwrTTBRqSAEbX8rSCg3BWfmLqMjBn05wSg6QfSAQSAwbiC3gH4um0OTA3RlsA/MAiYl8Puc+0YF1dpp4vfh7sUaDD9doHpYYSsWtARVLbNtLrEFa9ZCoBu1eM6BnaZUhji0imxFSGwGglBLaX07FersApmaVsuE4jVuI+Ve/ehqNDbTBD+AGhymwn/tLHbt7dADqO46RsXDssgZMyzvJgpLxQw5t6666nUzu5AFctZeRNls5KvdxSMTzVKY05OtBsg+n7HD7XULFbbsdv5RA+FIO6XzLyqs9RNe2m85TWEfPTPrjPakERsJQBsmjIiwrwm/F+Y2qqzMp4afZdyMuxOTm+3WDFjLUSmJG0XMe3RxoND7rvf/CSowO1Womd1NUUcjKjpMQOftlcAW1PYUlvVduS408dZQyYS145mFdqp7I7eSlhhED5zk1NnuY/VK1uFF8WTmaExEhJ24JGC5DW7j2xV7Taopw2JHii1JsYwQyEOvTuLgdPu4U5+IeZkD3LIYhfbaUCI5M1yWjwZnj+jt2yhotO1EjeFk0u0wq6Zu3A3ZjdYSSL6Gpmq8AjP6n8AbagGxI+vmD9JAV6OHIp5rTPDvqU4htrIFQdURWCjDSk/S1gUIMCuaSnA8PFsXdngEtb7vveOVI5r+djJjXdfneYnDDb4iTyEEEcf9ppiqgIYFOexcX5KKOGKZ1s3cEyNl4TRAuUxFaoysxUlhFThSbnFfcRA/xXERLDilIOYxQDLMQulBoW6j+rvLHiJjdwP7vWe6dF6etEzbf9Y8MH9TaWyjEfl6z7TD6dCBjCQd8I7ZDAonfmmbedIgSMiIHA6t6j4Jp/mKjbWxSnD+V8hvY6prcfBJILkX9P0MqJ9GnsuR0CA4GsokbsiudTMTGXK0GRzx0O7YF3ilGFU2PSeA3mHXpM1j7ZzAnp/92ZUc9kYVX8cgoNH73hVhgHs2GeymYZ+R1RAQ8TCY4W/PwXRA1kDu896HTLIQVps1Imrn+EUd9lUTwXccoLXrn686EUmWQphguQAe/YmILkIfWvyUxztYiIM+VoxwZWzE+++FBLTazvg0AjOcAydkqsweHWQJtuFGDuZ+wlKpw49tMqsgVLZthffSHV89RN5V2raciG9DotxT60ygoZyB0/py4G2ppyZCRkL/rlCUVzk4DnoNoJ6hWKJ/mVDPNDOr7H2WiNatth3eZWPF+Oe3swBoPn/Q8TNoWUM9ImXMLebwX9IM+zf8qF2pUTfKdK+xujnkNY3qO5+C6ZTwlIZBuGrKuS4JZkAV3AOwVZYI3PV5dMygeITwafLpa5b/e/Cb9YzEXOOXk0xySqGilgobIVthM69JFRofSWD5UdFOlaWVj2BNYVR6IWy057106k2zdwGGZgGOLYkF/ozGoaTT6nGe9Ti7oi/5N9PR7UAAKU5UPQAk74zdO1B0Ok7SvckErXX32Qjlane1GXUk4tOb2+vdwBDxzbE+TXht5Hdh2HipcRBjMLNwMFQ20N1UoJa1VyPfhuHRasKuPfDkMGlnqDvvbwv3HP6WTJR5oLfAnlpTrPrmCALTVTSKJkp6FZK6brw4JhN5IrEbeoKOQ8QD8ynMYx/bYnO92Tt3zTTagFR8v5w7Dlm/PffH+n/AFqms9Wf6R8+IkIOqTCzykjlKUpSDKhPwM0PofpdzsEx/dXGr6GPEY2VDqGNhl6F4do4VPXfVwjuwzj3fs1SItYeNX58xBUXAF7WlcdkxKHDONQJK+wQcXF3uT5wSj66BkYrw1eFWHXNI0g/9KWKTxbyLZIvnuMWzC3JBwuz7kgRI1r71ZLkGxgv5ueU0LDcxrRja/XDw2wTg8qErBNVjNkaz972aA2U6aCpEreccUDb0NcFIFz09NvyC5Dx1W1fE0gR3bsrML0naGoOAVBhbpJwYyqu+lJH1qJPuvHpgxVGpViyvCi43EPL+QwCkkmCaaCMKafgDDD4FugbulnMQ8WXuyTHv9V06lXIsQNS3dTq6WbkXniu9Ir52WQRg0vwfQI9ZGyqpWEvmYV2vRwbB2gCKeeMHALoo+F5S94Hf5UjQbQKPxw9wqVaWL68qLL6w0B8TW5TPYj+FHYk99Fn6IPxE2Z5e1/FHwTevq6y2ZywOn097kbMELa5NBO4db1UuuKfV21rJB7e/8OleiRmZfZWcZR0e9SwIsRgCKHMziN0h5VAXlKmgmPD4j7qBlhgDhFlIOqqp4P2gqkqX0oich8s1Y30pTz/QhlJlP3J2pVnMtfVMoW+kJaPGZQ4hBOA4Q0GfSpuu7wtAMSVk7TAdFPS3j+CQsGQ65kbBt4SyOxaEle8r51EVIXqxJ3Ixq5ab0YDGN9nh3sCtA86NsPApswBDArQnehRKplge14HFNCABOHH0Iee9GwjSfI3u6lWQm9FF+hnlJKaHTRwJk6gXBtjD/Wx+X3KjqWfF28M7P6YyqgxCyOj+8SyoWrI4j/ZI8DplFMIPbBTLNxZ28bIgJ3t2Hxj5rXUoDdU4HqAKeUeg/XuJVVOaEy48ecbNKI+hfXiFkhaDJcjligaVwlilDsJUXqC+P4IVs8IrcvVZxFgzqp4C4lDid4ynsdP/9yILpupRUt6kgQzSdht2sM1ypvqaD+wPxDrxXDU0IiMR+rleGepkGKBuBqswCFdW4WZ0BqchugrjLdVGbka9oFxvtW2OSbjdp2hkqn3XtBqRhu3TBGnQ6CEvSjFPq03inzukCkLn7HaJTmVj1Lr7ytmwcPzOAa2daFSkmjuXjobf/rwzMRUQEKV8Bqz1f+XO3NtOe+tpDbrk2IzG/4w0EK33zMhcDwS9M9qZMKYK+18TDKh/XFKSGNAzgk2QkdczjhthgM9Nh+1LAiQShl6zLjpidInb9rfi8PcJcVPF0lxKpkDhXg5AI1uyhwX5l91hmrY6LT1HF04JMa1z5W8GL8oGuCND/9P9EDQvsBMCRXP59k4MdKedRjAHGexF7sSeAhUOiUVIChfMxs79x+LgmSexCYhxgUqMJ/XGqHY79Mv0EZFG2jIKKC7C/CdrlVQIRbKMfYka9DeStZVU+m4TdTNbF3x2UkvjcaSxfaqjYOdmJlTYQwNc5jMwtxhfhn826srym8+l9EOyr1sTqmFRL1wa2OU1wv6TxMuX7rAUuDMOUcVzomVqp9N2LoYkp+fSrisVt/rC36qQ9ld6O3DLFkHBJBZD+fBYRvKlTnt3RRxoLomJrp+r7TnDypfdB1h/G2vvLEg2aljrejCP5jnwBycdSJhweDttH3XhCq/bMcyD9YvY+lKf0tmU31h1jPmD83Xlxh8JSfu5xSK/ZgAQMHCcC02JlrSQUOlKmEP5NXvsEHA3EHMSUtZNLLg+wAieKik4U5FXUUab3S3h3dyXzco/3XMW4hKa+z6arkhE7SZw3LWYs/ngRhY9bWClykC32tgRs2SJTXJFJnw1YfehHQ0PzaC4abn5w90iMg4/wwfY4UUSfjZE+Y5/J9LzPOLW8gOnKStBnF9j62u74Dzd6faTXs/LRs5tqqTgfUoCw+E7LApQtF08yhdnGh9g9J3eEXQZVqftCzrZF1xk+JlUYL/CGE/5uezzT+F5jXUhAn4l4X+PP8whizWKg4QpN919JdvV5guOufyoJh+A3UfqY0ucYz7jzqD90eVVfXC7omCK+0CyrkRpNqYvL1oBNhtFf49F9gJ6IyTf4+6O0PRQSOgoe0SuLeUP+u3hIqd9eFFxb7GZCgH6QBKJwxKddZx9ALr+i8G+CJfhaccgmfwunHpwjKNE+5YVVCXqzscEQeLHr9ZMhQgxrBxKFLL1nXU7J/uiIEEwinSzXV5Wk4AAGlBdNsiKRjVGj1yIl5bdbA9OTKoXYWoPF3ByWDoVtRmJH8CXGvrzL3ieF3fU0Av/9fiPBzq6R5x0FKRvIwF+i437lEY4+AyubbBVsSsGQdcPNgQRPD4dijsmgO0/9p/BgvRd3tGD4PNCA24BwmAYkeUelegjViqB4QauRUj9x+g2AY7DB1qT9SGXPwt9eeqp2XDyYrFqv9NOAXpfMYce3DkV5Q1yY1rcA6ev+WMbRdoIBKLFE2qvKMU4TK+CZE2YtjGWg9bVXdWaD8HndDQJDlX/diLQ1W5612dYMt02k412CD83f3O+JICIadXDsDR1OgDW0ENodFbRi7yy6GFgRDEspDMSZtxrDCA9qdjJjmCZVFXjdnBJK1ZOC7+hHLJIiJFoR7NkqYpAO5yT3ZKTRixGLCw11Ydc7hESxRsgFfBrnpLgcWo7qrbO5iyY39LEAbn6Dg7/CWI7M98fQNXCGaaHKEdFBb3f8JfzKMaamLegdtHt5mX4yu6cvO572ZzaFK5FaYKs1eBSStcwDYOfXN6raOoc+wPQzCW+EqFoIt2d/odh9kFbQG1e6TRuxxX8tRYD+ulNyKtbu+hrL7nUPCWwEZbQ3UMs7dY+DZ6Gt2iiJ3JZpoLvRv2lMe+7yWtMohgQsXbYkjxPGKpWyWLMr882S1Oql9zSQieD95+FDDd/iO53JRbxirA0We5bCEEfcuNqvVHn+1ZVvAGOsgrTVDh3DAz5acdItS3AEcQgE6Z8fsjPZ4b7rl73YTC12BeXCAIyt2RmPmB76U21WoGoFepKVx9H+lJV8JuLwdoAg41hwwgNwgZjL/YdOGpC7pjaaJYZC2szcKwxKJyYuhPKdGDV6oSlhZa6sowfEkJO344DT0v3pOEavpcNYXnVCq8PXp2PDXGkRDMgk1xJpj6UnWvFr+qW6tWQX65GVmVu13KybgxIHFbz/4SXi+YNqnSrqA2ZA3n5crD/CtVTPyvP7I48284Nc0TnW09oso9+1jQZM5b4gXqKr2WkPWr7ccfaWCwrxfSSexG8H9ocip3VXhArlHHeTniKlOVjd/DZ2NZwbDO8nyFfir8ZpmG4VowidDPt3heMPHDlAF0pwILKEI3uG5GaYZjuEfCN2g6pRHeHtwMHx732jyyqILowNcKfT1wJsraOX6GoBvYhxOMsnpWOxnTWRrgNsJwagRvgXhtgGhZM2dqJhPrH/l+0798S3SW+2rZw2KeE1sGpdaohw0brmKsUfc1GHJ4Y85tq/QVqNBUIpa07WkwXt26YpULDKTW9uO64DdNT5ACq9kT+OxrF2b3GFtGl02hUgVSfs+FftHE0Q11UlFEHQg9eeBPeLxpZS9Oy6jbIB0HW6zHKOppfsRw3G1H+zfd/VQiPrh5smyJlLmMTgh2JMUXtjEZhNZ04peKvcqdshGpwdBdxFRQY8TYAaL120/EJaLtjD1hmKvXH7g5QGLeEmhh+901ZyGRDiYqrhh8rOhv49eFaizuFWufKQ043Yvs+Udjmchc1v1jRacs4tqAotm7ywMZGPF1hcuILfwSwCwP3sc+aKWd3jsf24a1+VZFC6gimPIQ/7uB4vfGdjRiB5nBvMaejmPqSkZ2orb9u78IacK/RKnZscX4QEFonqEH99xRKpNI+XFWlnpjM0hRX5pdSlpGdQT9U0vMmvXKhUoFDgr9zU8S/xtpughOVyi0V+HW5e1j8IllkmI8YB6jFFrJnGu7VaHLo4BM4UaqGWkEMLnKeOU3Kwlch1yjHu24tWXomN2mTLfyNRujujRzvLG4FoGOBxdW5E/y/z4sHCyXFRy7Oc5hc8tRTT71EgzWzIS1dLF/4fuEPNc5v6BihfHMWpH8xjkuEqRfnqyRK8L2vhQ7pMZr06zOhLm4MbVipyqDlDAPIil7I610c9iOhYzL+e4leFB+HKVA/66Hon9Dp0MiC7O1tnAfTM33QuIwpXZAM6OI1kcsv+YSAVer+8pP0PZIGSFhaMbUPwbxJnJ/GqvlsKlOyKYtglo+OHsHjRuh/Fb68tHMAnwLBPY25deqUvk4psLqY/48R0m4CSv8r4jm0rM8SCshuA0AoT+RqhgFXdJlUNtHxI3zhHFXcgYMCYLYtPow1rQDz9asK44pPCGznIIVNN3oLc17G+JXdhaq/0SlBKZ4EdT24KeE5z/fcJz2zz1F3LtC147R27TONOcrxFiccuOumnDpzb4H/bxrVQg65n4O8nJukhSm5nhCv1T4A78LnFuLaB1ubFrvIR0m2JiId0KZOH6yj9H94z1hkjMjUylkz3+U10mdctO2Toiew235nm50edT8Qvk1HZEvMEBu6LK3DUIOMocyQ/tMuDW7y1UQJsgfOI/elQkR6PF8sWSDI44/U5+Iq1FL+iF2PCcnfiXPcj3gKcH6dMoQ7r841PQCpWwRE5c7Sydv149cmSPRVO0EJNSJBHLRkWcwepNocpTHm9P3hkn6XQTxdkH3CzvYS/MPNTLSRbGToku3A+/zgTe5rO6vUeWL3ijnyKIoYpHooSnpNhu42Xcb+FKq6GC/4rfEbWMrO6NsYdZaRnbtjtrW9dmYHWXjO0NyNxrfgOY5xTM/oQR8lnSbyfb3Ve4d55+T0tzTEUGkPlmvYYsAkE1EuvX1WHBjyH+gVqy2bCQJpVf+A5IgdI4B/AufDOxsv3yu+ieXZDPHLLhPchXBpuAKBfpDFDsp7oDJdeqrJhLQDnYmEulSEiIDW4UpaivbjTmYQZ47YeyVymj4dM5E24oQPkuRhsRWZJhRQLM1JqOWRxM43gYpixXFn/NYmL4SQWWNhlrCPBydqW95u/e96e1SzdPICeRcOmcgqR6CxgvS283pwHJy19rtVRNTgBtfuwQZDNkEU6v5ofuierkmMN7mkH2vl/V/l7HBiiGfjxkd1zkweR0HjrdtTwdg/BjgUOeuG+TMHPn4X3MzFftphQAolaCfUAydBTGhRTT9D48QaBxUKJJTKEAAmx94/V0Ukr1HkUWzbk7AgpXTV0SuNMsSZ+pD94sV5RDfc2MZEphRowAu6/JMJmL9aKFYlmzhO8RDP1ddqZE0vl9FrZaWrZYQ7EEfMnFJ6E0hosAsTqxmT1GYBk8Mrtw41yWRtWpwDjdCYcvlD1VNRmfqh71vQPPfo6RDldD90fs9LitJCG0hdD8ZtxLH9hpHOkmfb10RBzsrMNKQeCob1NVFgG1pwR0MQhEC8L5T83e+CJbY1nZI9CfgJ7YkJRD1VjzjyGu+f25/k7GQL76CHbq3JhCOOp4cKUegaa77aATQjOaXhTAsjeR0B5lP5+nAP6HWu0xTCumAprlyTS2MPn/LmIQWW0Hx4iK0eAS7rs4+EOIzFIL5aGKVVl81rCRE3jO7rEIKjrfvZJ5Zk5uqmH+4jr4FNWyfDviSvMhsllPjncYlNbggopSds8vPujp2UtA/JEVMeOboTJjcNhT7TRRaewaGBLt5Ucr5MbT2sQTb7V6OoIBLofKFOnQb91Dm9ytK8mMr2kCTx7Efe6JVjZJh8ATxeOmQInJzemezwVbfR1qqqwZdB7EQUzK0PAFF3c/wdmZCgEzFhR3ovF7d3S1EtphPk37+r9pSIR8KFRMfEzdgGW+s7+gducCgvbhOZOSOCesLGmQXsa+kPSbD9tvvoCeiTNcstnEmGkgIlZPAzccjgHgkezbvupGPuKpEVPQegKv9b2Vh7IuQtlYs4CNTT/T+ZWH5GuJAujTGHB3M5uJOhZ6ztZa1FAxywrb3fNMr6PaFsE/hNap2tzhTBM/+R4dKOUCFOwlXPmpvQnRqm4X69qnYFmUEvhSfOBhuc+CNdjZaLe6fUmfVO0MZ8Se2G43j5yeDfphe3QMHMCtaJWLQLLpriDfYB8YoXvO4EAcI0k1JkSe3ONbJTxrx8VmF2FYpuP6q9oVRO8Jio2E2byP63m+w9+2K3eE21yamfrtW5vQQR7lzJoVluPqFq2y7hAyuQfQS/RZJ5eHW/lBQsE3lPRdps7BAPz59/CdtEWlVXWaJEb6CGZXn0jTfVrWBpJENxMnmH12bp/oekC3OPtklNHVaZx6vV7WLMU/9nTp8mi98Jnvz2l78abGS9pK4IqM9f1jOgXNB5pK5FCSV15A97tgs0FAhED+3z2urQnHE3D/0ACHpsB/w0qbc8ufqicmBqjRu15Wj9Z9i0mXxL+aZdKURjpU/ZmXi01J2jUBtSxEs/ATjKdXCK1edir1Ix5jABvOWB2teh2xllL/2XpJ0CcpxfjFvhSbC/lctf0R6YtkpnRKOf/pzlzaa+IrP8wHGEujpkJoC1KUcnxR8z9YqPtimTLBFKUp86YtDUfJaALH5LZ9mIcwU5wbPs+c3YZXC5xZXREmb5jmqdUFTuHSNE0unrTpsw/CjqsYsush1a0/+11ge4ZcOOkmE29z2AwUM3NVPQxoV2Mbz83AFKZta1POCBmnmyYW/1gM3y8BIx8TKb41qIDokHfzJRnIOyEcFJ3mYvmXxfFKXJr+1T7hrCQuMGN0VQ4jZ+fBeiOU4dODIPSUFMzOyaFd39mMp0QJ8TReM7/T/Nyaev0cKOPe8SpqxHWmqonRmYsBw+8+DSdg6EygjJLU4foU+COjwEVXAm73buzc0wW5Oj2FAxRwJjvRglGBwpw2PiYMApkCDwF4iV0KVqIm4/S8yyP9iqC425D0xqlHZj84/8iStgBpO6NhiV5AXl2Sqct5GJg0mhDCei2PGa3EzmBSSB6yNIsanU2EiNolHfNAX9FUfOZEo/UzDxcTUX4QVnOomm/wFcq8+pVyx+ar/I6sWJAuKQTz0OvQ9pRViBfvwJIK4O4Q9SeMA/zOJfbKr8pF5x1uDI005Pof4c/G231AuSeW/D3mHZc0crQCAGP2OTo8eM8cZxXimmQwl/8uCX+mYEJV+ifSATUA0q1rZhNiai+WPG+SONyX9aNJ18L6sONLQfH5dwVmi7qZt/KNdBYfp4gCcL3DUKLzjEgaBptG9qqcCZGzsZ1S3gOlhLYvnD4vu3qIciHVFioF6kBtMH6hEKp/u6w/BoI3Z03ip1myHDuC38JY2jPvQowashNmnmBJ6DBFNLwMkM5HjY/TxO3xNKz/QpsKcyK0k2tw005QlF0kF3UbBL18PRlng+17sNNb2zUX8vjBTrmJLdVwvXg4dbtmSYuhRYjbcIF5zP2Hvzy0g6+idqDHdrKiv73vU6jbQ+ofxdZO8+dlYZX9bzKgxipWr7bzw2yZonL8nN9n6pjBDZ50ifI/yNmB8dNF66W9VoL5benC0mMMu3jXKnyEduutSnSnpBucH4wA21PUJjhfVyS/qUC4FGB72JRnE0zbcktJIs9HMAyuvqwVJXURteEVvLUWDDvJiumv5uivGStpCmQbph+rouU6IyAvi2fh9aSWCvrCErdfhmNzBN/FiTp/WwzL7zYwAk2gimgkPw7wCUrqDIMXZ6QSH5Hy6BahnLy6b4S18YeKmSF8t+ELBfvOsutC+BnyD/mTaQE6y/voK/2uzJ+79ad5kv51/lhHRKaAYUMW/QW8EVCfyrOuT7s0axE6RYE5zPIT8tFcaTAVWPdFOABVCSux6Un99TNO38Rd1wkIykt6NuoXtMDKvGK0ip+lGje1aizww/8WtBsP7evgalhxs1tWWAIuMi9mKZYAtuEQXkCxasjfTf31DXxAJM+gMzimogaRB6MAFijAT6AD7Jg8ukwA6VO8QboRtLvcAuVWPKpPjYgAiScB7T4ce65h19BaXhoQq/nlPlQmYvF2mku5VzG0t2IgyxcZBeRXSs3lEouBEAnO00jWz/145QQn3Ozn6D0b17fFp66FOTrWInii8jHOLPmGmo0VsytfxasKeAXWbxEegwGNLuj1EucTYy2fCaXRt3C1zkhRvYnB4fwANDCLZajh14xdiHe288xCKmL2gBN6HDAmt8SjyASsRWocyh4eMXdVeej5IOKLH7ALHC4X2f9vJdVT69mGq/FgBQDYVqYhVQKqiNQkLaRjFVts760pDl4SMNvInbx9jzpWRLJWSiVmcUghDb1akYqT/JRdxqutDfGW+NUqJsFMdnq13dADnX7sxMDbIoAdOJ1e2pZ6RK8zFbAngYnBSXiyG50u6xRTxCIZYA9SQI88Huwai63z7wkUE3T3y+pHNkGMxYA8T5XsnD975CRDE6fwoKNzAiv+cQ1v2VgEnhkx2GphVbRq9IlUDXMHApaf7nckmkHZzsF9du69hcW9S/tFPNIdNcW6tWGlFfIfjY1NTX7qhUqJnoUXYp8cDybAHHQkTS9Ob6VJ0SyoCrtJ+ovAUQ6Ou/JhYPJKpLY7Cpk0HpcRzNFrUuEca81UUJX1BCK7fcOCllWrEjMAxh+XrZ4JOJriMnjkvzYfdDd6sEZMVyULG7K5izonFC0QSbpm2aFlOKl66d5x6wVtyxRJ+QrbFeTcT0X9IQ/FBlxfpS6QOmu+Qwt+xeLMCq3jQXMQx/txS8XzwxnlQjYPprVILh8wDqGojFuCR7WyqR2qX8UtEFB49zgMzeQEpJL9fqU8jbe6NWWoClr3aOXQ3Kx1b0cI4FhKH7TZJKNpwaVbmXKDhHda5rRcnrzrwMIW2HO4dOTzg7B0+sf/GPWH4uc1zBIH1KKdD7QkKUPNJrh2rFXGFJFHHPGsq4HK0cRSQ4JYxJK3/hJ4GUEFk6YF3sYE8ZavH/MO90XUU/+fXHZsXlJeFr9wNGpd/PzhNhXh9MRM4IIEkQZfJUkBgJkTd5PXkxPwdNE5bNe2TTV3Q32AzJbECLXnFbhNrKoeiqPGpXbKdID1teA7UcxKAG+1lurtDXvzCbxF238FJ+jV/m/9XvmH/87JvYf95jzYZPQfmAV9UvTwQEe1skEY0rhO2xriJzWHePtfLxnr2Y3bMhn/TH5lWJNHz7rZrDdzj50hht/ORxJznMzcV5i3Cx2qrpBz9e4IeRnA+HmFG+jSDlnfn5PtxLx7iiPXbPUFh/+tQZANMPXzXqPg9kIkkGw/qhno6QxoXOE3s59QC3lwMiHCWta9gGCQgqefYtarbrvFOQI7sb0YEfPmD/d9TXIZoChVQ6JGCf4bckpicx402MkFI/QnVlaBN2ygBokkyg4PED+iBmkOcCJ0e0FZS3nTjgBYTiqO1IVxqIQDJ3wcqAL1mf0aoyp/dRWQ3Fs4VXXBk5CiRxg6HhG83zY+0S8s2aMWsV2Xb13mU5wSSRIPe+3fWmAa6v0A6ciI8DnX4z1dpqSmeNXUObjTNzCs+wNLOrtkh5cO/pbpYB71XQT3ouNV1H1823blxAlcZBf2haZfVV25Hkt27ADFBAqiMDHSWmHVlKgLllkfhSacaByECG7q30vdNUxRmKIkH6ROXTAHHEqfJvCY5yGLPbT0gxM7x+ukMKmirSAgmzUCCXQ3FTfHZQQOKIUrpv8BhrbIUjdZTGNCQ8vvPbcjdVYnY8TPDCRf0IEmjxwR/i2kaomkSqNXOIga1tnazN4Huq4Ac9T5AJDPyxU+ao0mvICZzDx1Ibv61Izc0WTfZU4GK1SoROPBIj7+HIG1O7M/RnwAmyCoqdtQzaqMnBeKzr15wA1oPPDrSCkdAC32dDkKjwq/f4qg9b9Xb3jQkBTr3s5rDe3dlSjHo3RVMJSNypg9ITLlqQnLysh/MQ165WiGGXgRLuoE7zZDXutqK/1T9bDjB6a11kHZkc7uM4cv0PrHXC4y+YYLdvm/OYcN39ycpfla51XlZgGbA5l+h8OaiXcLy2fDzOXFikVp0CFdP7CnHoINxQUatceoAI5k9xwJ6G2zdWj3/G5xOk0UZ6eT0QJ/R8Mla+yMq3LkDwxPiZweoDr6zAD6/6Cz1iICD1m3WE/KuY9iZKfC1OzQqBqjeU21hUyL7yyU497W2qPaC6qrno6sf4p0bQmmSFgKkZ3jGXrjFk90bqxNTWKRchM4xzBPmQ2f92R+ym85b0yU4mWlkMHOTE6jgz8r02HwnTW8ocIKLR6o6vgX4/BV/QDKNowUicHocsepXXhpJisAVVSy/FJEp/jzg9g4oIMlPzKhxssaK5866WyFBVBuQewoSbtSMAHyS+lFLlOschMVxx0dtVg4iOALnUmz13n1cCDz/YaPbW1h+bLTAz9WMcGHB5tu32ZOaSl90iC07csLUR6V5cmHR/ytD+/mjc9kq2Ihp8h/9eHPWAoBLiy6hvYhlWbYvnpsI0JEar2qUVF0pON1bDDAdgkCiog3fMhM+nlvAvn/F3EVYwZl2W+5RmFkiO1KkjH/DV7Qvhg+Ao0xfvFdcHkxy5Abbq8kmir+0TjckTnAuMkLbcrwkWFXkGfN146Gou/m2ZLyZ9j3dk1TZu2LL0LfbGVyUn4LhqMqNGn+7M3vDyGYBSbExkpgLiHbLzD440X6pPjL3hcfeVp0shSJXKTseawNHMkzHA9rfEQwf14xlRVDEA7+7cCbIFVDWXok/v68O0BeEdUHR/tIq7PfA7cSF5EXig5werl/0nPD7Pm/66HYWbCb+1eQLzUdM/IwS6ZG/mFe1o9FYnRx7a0e5oblLeozp2OTpHiKhhpJiTWJuPFPgo6tNowTIIwLjTgaDSG619N+l5H6QBMveSplYdY9s5IZUb1UV1Z5tgb/20rvpNd/pnSMOS/N23fAFoiH8LXqnpP31e44ydpLibpZeef5vVuk4FlikHKKizan/8DjO6JS8SOmBUyyCo8Oyd9EZ4wJcPahZyP4lkC1HJtAs8rwWUZcy6fZ9qF4U6CF5eZZmQI9to8CMXew7AhrpTpwN8QbjnwHBuZUUdGkFBq7yTQhyVIDe+j55+h0NseZFTfWgUydPtr3Y5TM8vS9hSPf0ihuDBbI50TAFLD36ccDH853RuUoXphaXjnXF6jRtRPA363Pjl/ZqfQDRWiJpQEVcxtwOWnXrL8qulDtVA+l52RDxtTHs40DBI/GO1g+OAc9uy9bn9S7tczrkqcuc/YqCDTC7QCdP7UxRhN8aah7yKPbMEBX14VrWMK1VlDKm4jRsykZHxtuScVLDmx+M8fZLQwkYlWw1vmHcCmT1G8pR3sJoGrRP6/QW/gG6LU9+CfHOpgrfSBPmktzsIY8DeAabeZyzkdZDp/yjaB7fpI0FpDMh3ywon7BgQykdowr76vWbdRi4MIXS9m1H2YWB3mCUrmEoE1C/HUamUEu/UjaZonkqqHVwh+Zbq4MJNkjsNXXyfNI19beoa9+V/CuFoMVvi3T1i6iJdYNhzTNfsEnNcTTohnAwMr9KH5So8M6GCB0jnw7PIyKBoQazm6fr/yUX3s6yE8+9HGFFmVaJ37j7csxEi/Y6k/8ln8DrCFksnNIPyL2EW3KRFJWbR9XztodtojvGmwD8DdfToDT23rBOP9OBATtNmEYVcTSWIkKIDUMN2V1bVUBYTefcAxJclA8Bskgxk8BZoGYQkWwcV6u54RW3Z2hexFUXp3sfiemOYGvFYhfJGlj+f+YWW8YnvvDmUoTcUBejVw6bQtu0N0YHGFGgB7OM4F0uiLOB89Zen8Fr5V9x1+eXGtfXXxH2rXe+OfADItgJIMwkvQO/9mPRVPqs5HY8qpqCl8yug3RaJhYV6sSt4xTZqN147zIND3SSqVpp8RMxtr/Dh8hq7i0jlkNpMn9dq3imHGNhnYgFQIFNMM22LkaJPStASAV4if+u6K6O30KQRo1b5JLtxHQEGvlJ8lMmZ0g8x/NnnXqAhDEbv7nm0fuldxR1RQ3X7UUGZeksCUqQwMtXdoPsLP3kgQTN2M8jmPOO4QF+c9v/ff2L0xxVY82qX351vPjE0xGjW9WK+W4/Erv4UnzanUy6zYkJAz9b2JQHf7UP4SyI5USz47apD4mAZzgD4g/76Ieblrgin/OOzWCXrvAd/0wCOM2DQ0ieGH0NKb6iQ1jdU2VV00Ls55czPL90cTcDvl7kk5XmptxcT2kXR3P6ecHNR9eov6hB7CCTKgXZUnwfEcu5WjNCgUL4CJr56e0lFOlDNt+h0hKd+c/4WwtjyB80dkSQegCqIfs/+5FxIkahGHrvh/pm3b4NjJy2msES/6f4BRdZOVoNtLIm1CyvmKB+SYKx49hCeq7fWi1h3DxA8zUOL82jYiCOdiL05377FRuxFjJ8EA3jYfS443OME/4xEJ+s6b0Ancq0cbbY917OArwcRPI07Z4VoVVFFYl54aGUgm9LDV6IQ7iUzTz7/go6a4RMm5ms+ttcmA5kiRS/kibJ61LU/J9FtwFEENhUf0Cj9TwdkEn/16ATSF4miDadJQtyoiGf+15yb1nJxW64tjavzbnL88WT9Fg+rPzxcJ34DMJyL+9GqI+CmbHiLMpYYwJ17jbQ7zUWs5omcnbKlHLzBivZMuClxIC0X7dHtYqTP+zFp67XXBqRssaSZ2iNPR1ahyzC2mfPaISjiDnlAy4COnVEiVhyffkws8al+VeFr4hoQweJac4Lt64zCUb68eysVQGVQ7/SIMbjVGE7kgWmTO3xfxUJIohOkdgliOKuPcyI3hyT0gT4RLbiA+LMUbMkjNg4vrQ8smE+AdOt3Yk3szpx56rGysQAg92P2Klu/RFcdZmgxA1rHp3N5HFxTk6REFoMz9fd4g8ani6J55EeoUeDC2QgoGNw0J5Hl+lgJQmNT4hmpiHMq59kh3R4N5UHjkehDL2bS3uOTdOahakQYXLeWZHaV74sLRihoAP1uS9EQqr3N2uiJacjgnQB9Qv8Dh4uvNxaDbUYedNl2HtHuCIJNiH7O4UUDV11GXPDu5kAi8kbn8QbhXtYz0Pk9tjOR0q3kMRY0tIth7+f5+iqSF+UxUcU68Ei4DWWyuEp4B/FbFtPvoNF2MSvW9Tu0dRoL21+yCXceSc+cLoxIYf3Wgek1rRY8TOj1ALULitAr5EzfF9CDB5qlr+j1tb6BGVdJ3kKPVQAzUZltWG014l9ie+FgDg28GAEeOMpPJ70LUPzDtyo2BmUOQj34bwUemB5xJP6txN4Pd4E8uGHnvPDKrp1lrlaynS5wqUiyTSp+oxzJac0qVmw9yxFzKpOe3/Cl2kuBqVaweJlFtibDuDe7gBcTQwFsvR7iZ3q5dPzaFlTWqQAKIF3RQqYJQEiHgqyHlHpVjVXwlCxqaBMMZQEMLxvs9eXuyBuMqh5sJ9s36Bfy2Bmch18aGaWVrAk66bpkRBbErsdsp4gjXzCLsrXTXAOSHIwE2lcjZ16/ShUEZTxUaZ4wncQ5GTheKs7rOUHkFl2Tc/FWVZXdDLFJSiumlwPoBq4jqlczsPYSO0ONYFy7HlwYOyFxB6LtwYsZ9+FqT/yNl7aemz4UyvZDZxEplxzfB1F31SqndPU+VU45QL8wJZLquDuefd6ipMz/y5ZXvH1IFmboSFk5ThsMikqInF/QebN0VW9Vij+Rf3n3Tfl5ieeSNEy0jQopeiYSuk9h+CtI/mBEm5kOYUFQwmMPmS7dfbIUDKuF1mAbf6Gs9EaA2NfgjoJREeNpwYB15jT7x94vP9YGH45/CzTY9J9+qwD06srAFIwdXpUifjQkGRMV5H1RJ0pUAYe+B6NMIURZFeaLyRY5WL9qMoL2MoxVDsHJykcpAMYtxv2dnJz8hcQRFPOlQ91UnTV+W4dpfFi6HG30mx1jarVv2HrxUgf4tYLnSVz+kaPuFMZ+MxM1JQmEV5ocAIjkGdjv8Fa4n/6dETyEg8KcCePjcracwFcKTEFnHkIX/uDyXiK//HHHRVA5VcJXOMA7KYsZnwjQLPtusOtSk/oNK8GUYFzY6RCDm7ULRhhrWx/KLUEnLMo7/xNkjg2GYNhnoUcLZiaMzGoxGlN9TYa01hBd5SrAEyHqZm1qsqewHkKaMNgr5MsLKIqhetnc1TiSmylch2z9qHJhS0OWB9E3edsNwRcUaG7CWnmtqd9fQ+0PDzTPXvBM1CXTHWtG5eClVAr579WSDQ/Toca0EAKKZuns/SCSG8oHdQ8pbIpAbSoku9rGuxFToT7e58wIy4ILnMiyvLs3LZouqgY542Fiaf/Tk8IVHSIDoIqGruwsQseuNF4QRjsjsU3VJXIUiBPVkYqS0P/mpXCK+VVMtMe3lvvBA+BW8KAnNl9PMO8nKVCdCtYe+QpTVFW081AwZ6kxRMt6O62qhudRaLXoaeiqxufH1ec35Tnjhhn+86kpiG3LJNYxYg3DTZFmauw0Dvh6857Djz2+W8Lqr7nqDA9KWIce/jE05G6DRKCmdbQXyhhqOANi14WSmwT5vUFEtIXCqCO90N7qzrvhJYFB8uZJVpOBLajqHiKqspAygMzzrm1KbRjDLsSonREmHxZoZp5SubIlyUR/NSWQez9MaqT/k+qWfrnw+qpiaM/hr9M5MUENb/JerZtCa2kRQcbg688HuE+0YqYZchFLu/joI1pkrHJ2gC76to4OgjpYIiqxE4+fxhfVS+T49Lr+46TuCT6YXDPytsv34fwGpyExBopur57FDkRBrEf8uzYzvTiAQfz7p7mtmT7848VpN1wxwKQqT9wVcZ8HS5oYSJ9GqKxwWLLTQn7TDhMgbPoPPlwDnz8SkukQ/BfL/dpmNLtRupWXIBfY1LoprDfYbDq55kVrdUqTDA+H1jG+V9nnF/LHQEK6ya0p/Fe7PVMgTgijUp4fghLxDFzoOi4IPiTJdSqTU5w7EH+bGdfnI6NgN5mBOHNTymDHc3NKAUhY3dikz6nQMGkx68L1b2ftWusnIwp7/r6Z4f2WZCcRERZ4H2pBpezTus3dyauB1NXfrGWhHXG6tgEiRPsJCqxDmzQRS7D30cXFK+Cdtj+ie2Stz9jYcP3IEhTu0nYrLFI55pkSDgt4jbzdFcYjOLfn7kqC3s5AcG9DkSGdDTlqlgaRz3cznVJIXw/oFWVHHsTYarW8eUd9KPqQnFVaREjCKDNqTeDYSATwZEz8y/cJBjNcnAZEOj6du54gcct58pJSXW/wOWVXB7w95yPGK7grU8D2wXPcbGv5TWH+wGRPHmVsYWPqlqpl1b0dPEmT6Q5gKAQIukdM6rkwdYHxL6hXPuT+IhmyC6imhiZ1KBj2D20QqhRgwEaHQxC86t47FPk/Ybvy5tJm3SD5acQFTk+F1cZJx+BErlzbrQvdwFFii3mUs2EQZ14csa8eXMaf1yihYAxaWlmczK9IoIm7QmZCHaCOWkgkTwqtdPczGmJcREaENm9nEsiFAOIb83Wwi595oxCkMdLkMKX0lE7DGalwg4ewURHoNJCeodQv51QlKnYcapUkXRM8Wfbf8cWU3o1SKctv0KL+24Hc5LZbtd2RkfoXtHDB68veqAlhM8B9G4WQogSRcK7wt7yYuV2KV2rfW2FbNfwKoFx+dr/DTRYOPXHLJ+Ogfy1EpsFRKlwlPQPuyrcjjjPmYsoz287V3iQUt9v75eaWfyTZPVN3j1VLNH7iUbeR3Rw5hx/9GE/qrH0E72PgtLowtzrvzEfnHHc76b5kVjmu0SGqHcQ/f6/diGgZN/Fn227pv9MV72/CEhg9q6I6Msbl/p+CoG4yx67W3Q9JEFgdgtiq4NU0j13hf1vEmwT1wEPw/pEP7Kp1kVIONkD3YWyqNKgHn/QUKRFsa+ltK5AOxveUHX1BUTnFG7UB55nMtpArvHvvcX82VUjFsGLuIjpWb3aB14gg0L74QEU9ResXrhmTJYks/KrIzCZZCNlNVlI08muuOlWxAP29zKjqXZOCRDxXk5y4XfQZD7HPtlukRE51mgrrDRh3++TH6ED5quefHA+1fdomOtbpCDovk7+gpHiHtinPW3Eh24/SX/ycrlSA8C5v2I1sgdUY8X8zi2kSjWKRR1vwwql7YAFqLCpbg22GHtPe8DKyMGscdN26kFw/GAbU/RtOrlw931oxhylODeZdUVyC8tGEYYkALbxc1q0OSnjr/5D56fPGQd+FAuuAB71Y2b6AVK1tcm7DhlzrIWx9n0vdjG9gBIdC7cJyuNbmd4Z0yajfI3ACIdNfFp0M+wCl2nXmBdcbCOtVg1sbjomPfaLfhZxsPqMHCXYBpN+QregKGDJujI3F1tmutsGRADzp0jbHXkjxXioMz97bDZ9d1E7vgnvJ1LHIyoETkJFC7PVxB3yA4J3U8mzmGZEnZld5HEtCBfzybPl0lRN5vJKp9szkZtq8+Zgx9of888JZGqA2GvDjzDJFavCh8iWhQ/3m7y+ma41+nkRpzgPOeErwjqSSc8F14+NeusjJ/kJzF2R06u0D8I0++xUZyaZqaIX0iDVbu1UTtaxvtU5+3ThiDm4289Sp9oIxjBNs7fAAoIaAV+/TWRAcfJc1er7gq/OWCIsT52PGl0aPPWW9Ukpx8YELsseTI5viwt1/LX+X41cmzRfcWjahzqfU0mZmEWRgRzZTEK1RXYzyJde/9q9DLpQog/BxwXsEEDXKqGzx/33fnlEhpSmULb6j+6PpGDFWnV7prAL4jk/ED3oEApXcsb9jLYk0OSIETKIfZ0QwxrxFYrfh1JIQyzU9foRqxvQGqkefOBkTqNiogCzv8B2Espf4Hm/Ek/EtaDMdthSRYxPD2mQxNTBwHmuniZoUnJ3jylLzWmxmKh3ZRDIdOEyw6EgYeclzQ1a3WXhtmN7vNxaYdXWBLLjSRZ+bbZP4n249PQd9Lf3YTs2CBT1xvqpXE/MmKgKZmsliOjD0nlxskh+6PcrNvoyIrGmbfob7IUSAcO2jlvZ6AOqEbgF2vmhDU/frq8SnpD9ea5nIe7KVPa4Pbd4S/HZUyautODR8RS0BUw4+NqsK1gCqISzgahdGaim6KW8WcZ8gHV3q1EL26rgalw66kD7tL311mOHBOPBYjoeXhpQIpoSEe1IzT7iGDHprtr6NsXRoNW/mx+AKQ2Xxm7xMHIM0hp7QkQsc0diaUEury6SUz/mvY6IJRKfN4ILg6hICT64AJQRv0CR5L5ifDkPwzEhm45AB/v9sfZrvplFD174oTtuZyjwzu51Zuxicl4Fa1AZjCXk72W5aXhlv8jJLhJHd6lxn2bCtNbqw6ep1z3meNxA/jhrL6yy38heBXpWVLQ8epJkXgFASVSAgg8PbH39R3diF1FfAA9TGv++DGIJWHhSVhHjw1vmEwbt9PKSwv5PqrYfL13mwE99OkFcraOfTxtREA50T59zJZPn41f+mlW89yDFKcO5PwbcRL5YrLKGfpfi1JShgeTtJLKz6dAYjXR+nHhC16WD/QaJNynZU29kbNLY0Lu6SyiNCyCmaJ62WSx7zt1vsebtL8AWDFHdk3sEChDp4Vbqg3SVUQNqn35Pgq/qp727rQr5LF7khIzMcNoM49WiPqftg3mxK4CuepOhRBI6x6Or6mQrKFyqwpWlMRYgzbHZKbfP2ufOBymc5A+Og2l24VKmLeKNznG4SJq5fMsBnTSBGtxshcKdcSnKb6c4NOFmN9QK0dxvAjFRTY2WhcMxA0+8isA3LXQGyFWLOOHzRSEIAPTl6EuQEsHmfSsJkOlWQXYGe0qAxIFGHeY1EFtQVEF13M79rZcNM7S6Bx/f3P22C84aNpQTPnePZNSmck1MOOrsXME0jfVIkuHSxUC/jzj97JA6vHeTqdBkZ5mE+NtaLo+DmMthzVvruheA1fv0PvjVMkXai0ygorUiOciCBxJCP25gadLGdVoNIprHqJO0lHvp12ILcffwYI1FsqPQJvEWAnmCAwYU6YMdvXitFUWgiVmVnVTGYvUMrvVKCRSg/39BZOwUl1V36V2mYyT6OCpLOm6oA4QZqFDaedjI9UgPXxFkHxQcoDYnHPPx/7mRXI98OkkNE13XZyJ+x9u12Xlks17u+e9ezHuJJBf09PGnqHfNv/cH+iVOlsokRFEVGnTEvoHEKHDYxgAyNaN2+lcpxaXjUKTCWMGEbIKbBVzJhrOQABBXH/Bm7gNDZRJeX4unEr+LJfDck4uldO8PkawD/47CCV0+ll+pOYwy3B6N8kQOAcre3eFXJHBCunsrSaTdO1023PkR54pBw0E+xJxilE1vV5/qGta0hmF63q9VJu7UDSFVsvXMUBBWc3Wowqs5CowOz7RcAVJksqtyKFn4vcF4c/SckrHnFlrufu3BcUs5mmb7027AyuYAetiPyGcu7cmgokSfSze8m8j0yCYEmsaNn12qqBAQIDNrGVT00++vtQ8g0dSQyKRIsrPE/iGkRCs1D5IAUQdB6RWWeuyb+RiRGXxAayUytFTWv3sgSwhdVxs1oAX/S4RX2kXAdQUrMhAR97yiF4xSp1Po5JIxhJOBqHwnIKPGD1B6BfX3yWFZ3AvfIfZuawn8li2G8WfeNo9Dsciq1dlS7RiX0z9G7MWc00r6eDZh2jczhVASR2ibBlg3nDBIEDHavqGjq5JX6dPCcAI0Y6H/xQ9a0gSibtVjRKowZvbmRtCqzyEEXUTWjGlrdNSh6Jveh870/YqOOzwsWtaTt6P4H5v2Ne+KqFQVEyO3xHmjK4AFTgHBBnaHiTA3hyuBTYJNAkPh0w9404rPYDV1WFL82NslnubEfvoO7Dkml2p82GMjSrLZgaXvCQAnbCcbZMxajQOYVgEeAHYexaIczaLXespK+JAoBlP7DE0MJyYYcv0Tpk7vXue7L7OfWEUTnonW5jgwTR4Vde6FHBPk4qXChyvAJOa+nD2WfAQVgf3iEgaAA4E+7/bjXdhGK6fjznVj0DBKdjjlXDAo0sWUqfa7yvnpF4P3egEgLxjV/gZFRyp7oiGAKgau9K8GgreaI3ZkRAGGjUWFji8Q7PqQj0D9lIF/4rA7R84mx7GoMhx+hF96QvgudKAcpDxcgTNbqyGSpiB6d+pqgH8Y1JKHmHT6Lo50AtYcJnI0lhm5GQ7kVVa8l6unlGtjwcWsT6zB/4O6VnXXy/2CjTeX2WvAmWAxtIGSC7zEZXqvNc2Zfu6GkDBerhnM0rgPHaUKnwShEpzX3mvl0OWN9XiAPBNQQMroNOxtqVK6aHY26R3eIv/iejGoWNpcXRgmb6uqk+nhpxZ07MhcNVWBS+MJneVxG5iAQhGYUdYu1Zef2XMVrRHQa4oMNePH7f5DDAqevJIhMNlo6Ie3HBrhvgs8BtSv7dPyprJGvKvOtvk/xAyG0phvSsM+aFSzRRSklYX3ag5+Taxlf4iZ+cy2Wbkcrlm1cfm5brB0ztc4liAvNQ+LRxYIV7cFdu5iW5VKZxk5gOJVSUZdZ8F9yZ8WpIGJ9Rh7OYs0FkpZg9KnYN2DPjjK2o9UfIoAG0Gfj/Tgdu2GEECNqbkeT3ag93iRECkDpylRLbxnH4xBm49m+HmMfcp3FI7RlBRfWMOSYMwDIX07dEdqyxkTZ0sreLEDLpuhjzziUMTTYIW9KrzgLOowBGh+arkadtPVGN99QDowGH23gIulLoORfpcbWHGNAXdGAgAQ6EDomxgmYCN5xeD8pHHYJA4Uj7E9Hrlaib+VNL656YQFMG0pEFydM4qbxIpDiEI5lGGsGyGzDwjp2XFiXLqGX/5v4vJCPHRHU+xlKEq+UIxI+P2PkrV53V5NiSyvsUSWoqtoHq7Nww7uVxkryDZo4egGddQWHbTpNz85LodNGLeBZAlhpgj49StYR67SMohXozkn1M69Z7rsw20EuOotAwAySBhF7aaEVQWF92cM248vSqq+YHArYiVMa89HQ+2dfOFuxKxuUtw5DZPyhS4FG49sD5aUJC7tVc+PhQWQBBL5B4of8ea0Q6joZK5+7t+1lu7Ls8qpyrV6R3M0NwXIM3T/H6ExLjwHuzne/ZflBSJem7HprbqYgO4FERiVa4cU88IR8y5qTEkhMPtES3oVpCQiQ5mlhVbFGt1L02Vny7Dg7BzNJqOIrzyudV/6a/L1hvG5PpB6bkOUd54SktdmOZTChtC2qLzCukGRp3Klb3pC+ybJyVkhRYzbFDOVgLzACK4T8V8xtzTXls8nwjMhzHSegNBiUff31V3q9xNCnKqL+8JQ/mMTZnaRWo5ktruV4ybXWaIuuXqymtCPbOuesUSs2vukhFjNolFerkFyIrIXY1ZHGxRKlzk7n2WFqbLcunrY7NINqhReRyUF4w1BcABoyfZYmNtOmEAKeO344Oqxl4GVxHb/gJHR0R6aYAiQLx2teEKv+4mCfH0N/JosbhSbk3m5XiwUwuwxSVsL+psyS6XJ8i/xCiZlNLiQwhtAWh2Vz20a3D/B5ouUMfNOMPYVctkuSXy2Os6COqVYsBIBfnJP/Kh/MeK+9iWOD9XWyyUPkl05mZJsbX9nuXsmdfGJZkZKAsZ0HYG7tvLuK749eQMEsgcBYckoFo+gMhPyFACZHx5yxFU7SoaLMEJqFQvARWc7eyx5ZMyomNwQhQ1l+Khi8s1mVp5T+4kOvkEevMjFDbQA80hqfGbXw+BJkVrbgI6gQ8OcNmmfk3RHnZkImQeIsdwIvnRBIKOCbjfrAoQTepMjLelfaOuosgl0bQKtZ6SRlDXH50gQDDI8h1VEc6+joXfrQV/kDXtuMFIBNElghIOo4i2rfAjsulitDfyFoRynBSo9SuzMuF7J9LXoAaldOCzuVBTSnhNMBizZaghReQlhZ7GNvevAgdVSGC9J8cMt/x/CEjRQ22lyiUWlzGoHEdD99QVNw8bAP2sBNGQ/7PJJeoxcUAaK/jVDWZN3hBVX3ZJQf+KhuiTNoWReJtVw2TQ6YxSeiKtidXv47e1RHf7qG0UYnEMMo/xbolXp7rdyDL3+NjsOhoiemRWHdftbLD/eH4PMCwj9zcXbL44XjsgVIx5RuyZqeZq+HCpcIQWfZZ6fLi2oR/Uqz2VhFY5tp22uvKCrrYrHY7XAw8OIZHa2X4HHA92Y8Zzdw4w40jTubHQcHtL3ZmoEUx+MSyvBOQgAxUcKtyZPh7BG9QV7evlzH9koEgR6TiDEl4hv+r1nLlaCiFiSzsLgYNzwvjrp0BGSdp1sPN2T4rOy0gooP9iPPr+4jCj6RvcnalAUcFt3LP6r4GTp0rVCJV3Y0Qtw7k0rR75MjBzhCsRRGkBYgKlJ7qXxTuy7O6QeOUcq5XoxfLjkAPhynuG25ExRUNQoBZ0O1X7WczMuaAnYu4C8SigJrC7DUjtMzBMk7EfQc9bT57UM+QkbO/zOf/Wjup454gm+GwoDEcJL2v4OVCazJ59AzO79eV3+M8lkQ4QgpibKNdP3dKbyegxDqsmZku3lIBUxsOVOQD+Bn/uZiCZFChm3NPiUDPMavwMi3AlML4HEDAxa+Mz7r//LqAKs+PnXn4F3EwN7A5BwV+iXBHouVECxgcAuBZ1zJH+ZMAXmFytW9Z4XN8qZueQ4MC3lXxax5St/9YNqk5onr3AVca+JYqUZ/XKKcK90fplAtEmgrYacXBKvUbqG5nApjqUMfR3QNB+s3iYxWf6nSsxvwUzBPIf33W5YEkb0etrvVBTE6Z+7q2AK6nPEdl9mqhS10K5v+qiLX2jJXGgYMi7ZbH5LRqyCxgLQ4LXxRtw8+VNEUwlELtOQZZtL6kd5O3+vkjebcRPOh5dweTG/mANqmIIf2+SMlC5NYN3mBEJyKrYSA9i1V23gUaU9PaTOOGRK8I4o751UzmStaGCvmsvrlBq68VUDVcUFNkiUw4NZ/TPBK2TQ68VREcKx9+xZQ0UZk60GQ5OZkLmN9bzmMLsxQnITv75DC5LrdvECGL+u04lZU25oVHCkbFA+G/C6oiyvlR1APVu90ZFpjfV8hW3c5VPPCg81AJnNNdIjmrkLAEf0iQ2XtKPw05FtIuE2LWMwQt2uBGo4eksbUvUoqNqXiGCdZ5MtR7pHoNhEdDZm9EHFXCbPcoHwqQgQuggOQg4bD+4mD5ZejcVvDH4wKj2TMOMq85/GxdJ6Uh/MrS+FGEymZ+mbqUmo3pbCRVNUGL/kC97/nf38kxAZ6/dB/qmlr0FAeWZtS8XeJ4FTRCaCS6hDn1cI6wN14r0+KQFOe5CyKaUfxMZnpuv0dvDBJtMonqLxvi2jXLSCJBsVP1n0x3+zaJ0wyi63HLqOSSrLbHjUWiF9JS3FqZ0xTp9UgJcwE84R1/cdTx6mU1Au4jgbI9n5pCnsVCezG5pK6ZtUdAIIfF2dr8tmhH8ZfiEY6BbUgawVDgZzTVclSvTM8GBL54IwZHrZ4nLqskUDELnc1BQMNr9ebkdVnfr1pwslHWKGbLOpdZ2nu2r3JTl11lJbtTSkH845ucWv4H1b3/s19cS8PXPoHPJ1lPctmmVr9x5bGzOv43zzE7zjg5cfdjwRQl1lkCbdqMZATj/dOtbb4CUXy0M8OwTWzt1iUsnevJiHTnSyu7CkCya6zhhFH2J4RFbGW7F9kjftsOqCaqzLLHLT1NwLpKiWrmbNNb/E8WkLXUoiGXHR8HPpmiN/FAuKxSYkhmqk0LFUBtEMBeqt5QOLl9Sbw7NGSC5c2ZtoNfCh9Owc/7zBTEVdPNjzfuvmtyYOSlW3Ot77fjujtvH7ihAmpmkyxJRoMum9hv04sysEZ0KwzhwqpvAD3i51OKCm8491TP/N9uOQWi7DSK3Wh7oDJMbN+tsMi0VdrZcI87zYtDCObNFRpfLOMPz9moUilewLH4ZsiMFg2cqMVbcdJUZfvw2xYmS7Ivaa6LlDqhkCX5HuiTSheWWlvbxmtMsCQwG1UcOkjgCZT5dIEDh1dP4td60hYaGR0/1WFv0qr2myfIE9BL6YW3UDhv1Hxu6rADORlFxay/ucVyPTN3K+cozyIHZ9VegdPjhfqnLZEkG+z/QbIis5aGOQzrT4Gl3b/x+sx8QbUuY6x7nkEadSXP8XsdQscABt1AuWyTpjrEBapPhbnEiRucf7aFMPAYdwMisMB6DOPvs3bs5AQoJuO2XVbIxnglPsIftct0wD0CDvlce11kWOeJyepOr3ZMXt+3l81THBxoKp+t8M+/rVsGn8XHt/eF30oewqxOohephKBdoKzsQB3WBiklxceCs+rvKfXdB6JCud3eMWKo+DdzRqItFP0rm9x/7cXhmuDRkjQDpr1wDWrP7QidBFsu/t3L8QY2OeslmjUwirTuOtt9DnJZqPAvOB5Z2AiGWNp1JMTyv+xwJohiObBOF4yCeYfQ4s2KFKM0DdrM8hklQ83kT317CdGqpAdMH7jhhe39bzftgTyEZYrlSr7UnmtKU4kWzUzpuPtWv3/AepOtqjmd9CX1yU4aKxztymgNfwv/0CcWiZ7ps7g3jScpt6JZwmtmNY3Nu3KE2QJJnT9TDWVSxG1yqhVHh4QIlHj67dDIqD5oRs98x9gD4bsbVXn0j3i03soC9/24dobRMcl3RBMJmhgMnBiluHLAoM0b9rtioZLhImNGSWGIFK0M+9wIU6bJpjCRKPnhSDCHC1yZsGne938ONwr7D6DDsagPvL6uxMM9ClUTD8X1pMR3ZgMjV9ZHgflpy2AaiHiMmS7ou/etHNLCZ/q7TcE1stinJ8bV2eIAjUhEjA31KzyU80ldRHa7/V6Tzgp/eJU3DNViLd9IFYLq7VaH1uMY9GtAByBdunVs7eQlTSS08dAhh4gvZf5d8DDh4giJirZkN3M5VtER0wi3/T1ARc89ZRcGxP7nSj3nYYf6jigMblsBOFdXf4xmU0+tnZn0wwrNFCQBIJ12H7ynVIbGsegpO5s9Ptu4nyx1n+HL0x2x42JdcactjEaPAinLpvdY2W6mAt43vLeUXzH1+8O4+9lnpGRxa6BOj9YHdeIeLxjDtAitaXS4FtdkH/aoNUiysb0y962Hb0j8SyyN6CgWBMYNJjeTnWgRUN8xB6o9eu2vtUCsyKF7SBMlHs/ZpB5jDRVzQHJ0NU3jhRzgHjH0MBBNjGtif/sTByzkaXkbux2D67TPa48kSiHlo9C0z7nlj13at+fF2aBvmnkF9dvXRNBEpMq5mBu8PDgNzY89CDYdcIS/C2VPlnSqKv9arM8tSlC6nEm3fofS1nObkugomoJE98sSP4r6jtRb3ApvwC0wOubA+x3tlXdDjGW4AracI97/plbNgeZtMEQiT6/0etA7GMxSdJ4H83wpTefmU+pAEH8BTnduMSK6MihYOccMdRCwbiXSU+LLmSrhFXojwvmhkpjYq9cqIenOiyM+fU0iT3z8F12/KjL5fWNKy2Ei6IkhQoukgLWeF3aqOuIkYGyO0PLnre7vslWSbFcWcEZ9iRaMedsrmXctLrJssKmDWIGNoNgftSjnkfZHF2uUweEP0aGYOv/izNbPurPEZdN4M9DklJHfja8ezBKswOpFXYVW/2bZZUsFyPurqGNpbEMDfFBwCw86ublmuDgfqsV+Fb9zr0iPohVHmK3z5cFDxbEDzQcHwnuDwZemxB4KIR3k77Oz2AwKHdxPF9T49Xa+Z6aw0xwSII34n4Vgc/K6dNIFBuznvD5nucsdPf3cR3MkyR4UwDXg5N9/yCBYK0HqOIrZHaC83FuXLi4xcUVFrMfkxECIVeG96/f75wGMisURY4jI3015AXlfV+F2P8PDIWIisRuiQPP9jgimYzjzbn7RadFZU58ppu4FekT7jAf6UTyfY4EaEaC+L9xm4vJcRu/OOk28eaf/fk6gFkAgDoo/ZG95BpIQVCpm9PFjaouW6OvLQdKYKLo94e6sWOuQGx/rduNNsDyluUBq2Hnq/ViPUOJoFrOb2UdXNpkok6SPnpXS4+DtOmRn4f+lxGzUxOZP4wLK9wUK7iXT/UrN+5LNP6kBtvJCbQs868RlhCRHH863Mq/HxtZ++l5PC8fFZCt6JRhym+VbhRk6XGf82DkjBAwSPdqUMS7akxz6Rmeby/Ww2I93NO06Zkgx//jA9CI933gD9FDU958/16LhhYil64vnq3pvVhP4+2ij0Ig6aFcoL11HsBapLSRmMn6D9+DlmdsvzW4af0Ni5lgRCQBp6P8/XWSGSXd//up9MakLATPKjwEZc4zPAsT/Fpqz9w8T+QYgqGiTMTh9d8cGesOL6FsmJCc4n0mHpYt2uWozVDQNL8IDbJLJ7e3o/c9DmZpnZtFtTAgEMPioa3wwRzC+Ysh+QxSkpD8f5mCAbYk5+BB5qjejd4dRDULULDj6OHUsmuM7iAKuPys9fE6XHXjHR8CybhdQnASvGL7IkG5Y5BXl7hvGqxrOm6E3K0exmLCxxc3xpUdBbyYfPcOVRdI0FQeQcetCgT/475PI1/iAdG/6NbIiTnzottSzGAZ0Qkr4PZeIc2P+uV3+ae3a9hzz1qjoPKuH30vHDBms1ZW5mYhGbAADcoROsrgSwevSI5punIt1x7un2vwaNAnusS+IWPqNQkZ5G0A70EHJc/x62p4MVCduOp1p+U4ovpG182gIl7PpMvmv+M6wlfaoEF6P8yDtVCfzLIr79LdF/5sYkAUzUwUV+r7jbTLiSnUmDfdrNG6p809ONOr42Mo9unSyGq29+X/czZqPMLGImldsXq86mDV+9414EcQDDhw+tgxrg7C7cSlC5fwQk8HZ017yoUdPsKvT/7nL9rTBXilZL8gnoDryyM23EE7sKhFhbu4xFIyZEEUTlHiZZc/1+UL9fiCm0p09Le9uYj7HAV2bQofZaHO8J2Gfj5+NTQGDB/DnziK/r0JGCQGix3lo/D7i2H3louCqCx1edQKdvAzSiYJDPQ6fDr4XQt+74hX/6+era43ER5tqrgs4roJHKJBJ1kDxh9WSSDVti8f3oE7inKgj8f1ILvrlDrgAJ4Nnj9QsyHcCyxrFo6eXII+e1gXcuPxBjpiX2O2SQj/aByp6IQp5KTuZkYPFOlGi5OkOa7KKD6Umlr4XUWlVJc/SHgi7UqTBeBTWBY7QhhPoRJMSHQt16CWZ1TENB+bkM2jeussy7Bk1bhYdc6dDblJ5LLfEyabNlOdfRPGMu3nR1ZXD2hQmbXXEF1LaxXiQtyIwhML6q1IEmGIOSRTfv8KmZlA15W3eWPzRg1pIe0FsRvKEN4WF80bBd23oWmYH7ZCuYZsR8nHUQqHUeaAQ4w+/gKujx1seFPjYHRVsOetFJRazE/JklJWBWVLti7BAzlCuwCTdQMuvEOj4YwmUcQWZ/TMDN/U5vE3hOUG2+RNsixm4ppWODN2KzpTf+qd5Z0f10W5ZAh6O08vYht5Fo/BWht2XWZldW1wOMLvNf1WzWgCbD5P+h9mWxeSmLBnFO/PR3fYvE+5Nm/lF6U9zPBRaBuXgxRV7EFFwHOFrwqk1D6GKNPBVE2PjrGr3sYZDRkQ6qllUNnmyeaG0Os9LGNUoItCES1ZW1cx0MOY0/3WbjcdAOi9G/hluSavt76Mx/GZI9K4veWKNDfGbTnXfIn/ZcpjXS37pTdlDg7BT6pkyZUWKZpASi7SkThxc2zzRNLV979i8AIK9TfCJ2duHYY9K259fNeY1w7MmFvu2EIL+lDXxpR0dYBWRW11wygh61heVIBwf17oG/jzedrMlnqjy78fOqSGeAFWEqrEWSCNNv+B+Cbn59HBlooxdslRJYycqHZxKb7Tfv1Hah/hcxoKX9PY9wjh9ENUdthCeY/Cuq7kBUBhTqg4SWVirXlEGYvjqlEOeOoN3lPPtwGYnApJw+3Z0lR9e4x2TvVNuwYb80jNb57LVJIbQ6bCUpzEAjE3D9d65cQh175/dg8BGxpuvukeDFTcqdpNWlOWBO8x5/7Auw5tlOcXe0Els2k20PViELN2hrveUSg0frVSIR5/BUZH/52289Erok1XF/RQQvg3uMPhKENzdiPDcbmmKmeMJ4BQ7t8YcAby9Ao+pBRTypZnlogubzs2R4Un8wdIemOHh1+NhEl34Zon4/NQKP0emIDkH1Mpf9P0KyxfBxBbBHcLyv2VMaJ07xRvUkuvdL2duWZK5PFn37x3avxgQAZpmLDwoRBbYFg4yAQiq0IgLgUvEwbeiXr3S0V5RhCJnypPjnm42RZzEYhBt8gBMS6M5/wj820Sy0mhfcCSRsInV+JQfMbB6FNY7SiQ0bjc6OCUKeGkhhcOsIYbH+MR2dnEnHvC3nhG4f7Z1m24JQjCsARso7YxmRUdjblt73/ExknW/S4bbNxeGyzppUHPG0AluOl3C9DJRxwYYNo4s1IFplul7vjHmbHDGgxerrCCgJlHuJM+bEWO1SJWuX28wl2Mcd7dMrWEvrWfbB+ptwPjetynPKizoS+KpvR9MBLnzr4tXZwSr//4KDusUfvqQs0ZMMbQj11pPWW1EvpcB4yN7VXitrpNz8BOWtP0VWBa131JZa+Jl0Jxab1tqMJqHv8d9T8+jcn9syWQHVBfuwa4aegLX//tM/CIF95+cNilk12qPSK2CQjE+ZGgcuc9pFQxmEPpr1nOT+nZ8GpZNgPE0KEQJx6Dp52trM0Ehf/FFBYci/eIZLfI5K6/6bXSFSQReVPFZv7w8xge6XA43hJuWqgtuxsvd8SSsecgnJuR+T7059s5Qz0h1R43hGEQ6QinIzAp+4OYi0851tATaGZWfwsiTcxwnXPThAcGdOuKzCbLQR7TzvhZKQAD+z79Yj6SPi4KksHKmJv5cmorSojXmLlYxVVyFpQ8n75yqkf8HuTtL7vlf0xKVXPOLvz77QANi89V2gp7K6OPKBHOj8Gjs9zysXnkj3rMdxxRny9Wz0uMhqDCJP9mVrq3a+1BxKL7ri4kI7vRzJzHU/PH8b/dplxbLreeSlJ1NehOMpK3lguGnhY3Ma5XAnIfShyN1Q3iAGegDYQT25lDSPc57BVmo9JB9+DPu2ACDaoL9ZZs1eWTFhcYpMcjv9ZLs6xPebdRPnwQJDGhrmta6pCxFfee6jz4kgJErfeN8z9DAMnB1AhjlK8f26cWB7p9pvBvAAUy7EAnk6gy/VWZ7oNMHEUCnfYZJSPQ8Dhv3puCvkot0OvsF+C3PPq+GMZ7IWrshROg6QW9Ys4g4q1DaysPmKFPiyDPHMEPa530fbdgqmi0yjlOm1GhI0QnSeD1GpZeUhIQ5TlD+zcij8AaxBiWG5SetOgfVMRGJ35jc/jL2bm0zrNSHGsgSBGCWjJ8k4UJ+xe/8+NR0P0TEurbD7Ro9eolefnaU5ZOlvay34FY6Y7+XoBWiMOoLxF2LxtYCeVO6WaI9BeLvfsORSGiyzWGAbC9KlEtGP88RQY7QGYEgYsL2bRZovGdnO9hYYO6M2MZw11QH9xCbk2UOV3NQG6raPtbuUwfSNavaR7ybYs4fon3f2igAWXXp4nvEO9LoS7CRI6MeboScSp0wZwPMPjFBTmZ+6vsOREJeMUwGMFcQ1GA4E4Zlo8JaBz7AJOPxyCMv5KQ+3uSSDVrDrQRW3hCtLvw7vslajvj1EVDmHOiRB7mYQE7qk0DiTPVHwRoiemV++xoCYbqufuRsmPK9PtZ0kPdFbYsUzjHJKiSZDjgqh2NNtRy0Gx2Nvmrvqi2PwWTrnvgh6udLhHnkXFW+yEzQNVq3NpGx7qalVPSSt0/1G7ckMbX5F8eGeFADaPP1SDzx/J9FMXbJ5l7X6wh83Y+OFn2wS5JSD4u21BaV5PiOcceAyFF1Qx3rZjE9BVDHy1eDDTaUDyuueq7U79vnCd6Ct5YDbDDzrAMO9D8hNUPlL5QKbRaq/9bX2m297ZNwi+P3RHarOkKM7UIN/dplxcyJT0jnVx1nZ9sqZn6hy8TAFCJQqGgNa0Aym2cb0JUGp+dEtMAOx+62AiU5Ed8rwXgTZ12+F68Fi/EpqBtZm4ONnKZZ3JQ4rutAr1mIl9/RXAbiDQp/MFe8y1rjssXJg/giebCBtDajgEi30F1ggJr6jEeMZeUPNJ37mLBqSe+/hXkZFTu9N1GXs6q79K55IUnDhOImXNTpBSnHOW53cAIbH5tcemr2lnjKLuL8AjbJGeGgn72DWWyLwu/rBBi5yFZlI+luYFT8dqa+4ejWrVCekIomUJnqcM6CZ0qJ/4dYV8f8RHCJNkGC5uliCMtADQKMTy0Q7BlxUMvwWNhk++tRnodDqsYCuQ/cDBmHnawbsZP68+zxPU9wvJitiZ8Xk8SX+7EzLOTOKlZKjFKUqdTpGXia3/P6pHoD7kJmzVVPD8orf9CXTszhhvGnBXtCsfZa3sI63G0eoTIArFxjHyTmJ1MUDENPJU3ndsKkGfanNlttFjKWLsWoPU+O6DbhOWUOgAF4yitClMQQB1yWsCpAWJTE1R30R7P2OXrykF/ENSqloGTxxxWuFK3vMmAVhLs0Xt21S3lVVzqDLLUWZFljE8Md6c3iM75bewNhgBOXugb9aOrzcE+0ulQ6Wccfy6b83YQDRrzvYJqSoH6KBxtcDp5FVxp/IX47EeTD8UmoE6cSbRWgrNEP1NhuKSPMVr3N6fUpPsdcscil/ODAT+Biub4sol6WDHvLzCfZ9RQxP4SsemrkmuZpEQchxdVwo/3QgJC6m2NOI9pXak+dMsOt8OXtdYgrYj07RHPPWABn6oCjPpmxA+98S1ayo+TmeO7GOSrlyBC52Y8qhIN3unz/OCAEPwMdlk6YPe471/T7sG71ZkXSoeEWnl56GfuQ7zvd1L1MW5KKIT8EYWparbpFcOzKeZB2esE+l0r7lSzc9Zy3EroOBc+Ao/HoMT8METtZuuFyyJU/3XR7AAws1Nf6nool9UdyIsh1880QQZSNPHWLlMdfsvMm8otkOotj4/4SXWHAwMHY66/CsruZzqp7xkYgGjlUTisqxA3RXsJdlAJVUUHLV4RMh6P8qW+BJ8HRARSVcmJVAleilrnjabgOIRec5f2FNMWTfSoz4l9f+48+joGGlfmFIRB3enRca9cCJxNs2qLmMWaRKVeo+1FOj0Li/m+dj50SCskRN46N98bOtOvcfjRDF3FcPz/f5dX3VcqeLSxXrWKTgrV/mzpMFdBUGBL4+ZaUmaoO6tojKa7M5ReIG3xLyAOiMkCOAabCtPB+Y5dTcWkwzW2Tt6GgRpZmWh3a67uJ96bqkUk8IzNrkRQYNzgdifGnLICAv7wiSUp7xZ73aWNEwPUQ/vGkMGpgoQoblXD1eciB24weQ7ywvhi0OoxHeShC+PxQB/0l4mKyNtKg55U8z7EOFuwgeGmCKvQYCttijd05e9j5PNVwd4mdnV1RlFv69brckdRxgD1j7LM7cfId6NdfKB2tOMqaA8bXbITNSxA3qlybP0xH0cullwBkAZvDNBv7PHDlKmZ3HJtwpmT/81EZIEb4sUTkhYtXsinxjwWNw3ltVbwQ9XUTufD28SQYRwDj0Lgz6Sz/Bz8yNh2Dd/dTbgyMkdxD36d23FF7r44LoHOmy1Kt7GCixW2Xyp1hCcVpoJs9DXk2LcJ9BcqjLm9vWkOsIa/RSn99Ko1paEqj4RH4no8K+L75UffukFo6VDkyILtJuhf5A1uCp/DXtg+DgRB+zFeH/p2WT8KAjdDqgi/+3P5czPtkm/v1rhY6wj8bF++5BMZVn50mh5umFezUqkhvX0KU2DZ0GF/0Y7UgKZHkQCCAH2BTtzcCEsGLUSHLceVXqNxGZ44SUMMdU/5pW8aTYhNH/PtqtMsXWskWn4U5DHdJ85t/zra83Ca9mCRskIF25Y48RCg64xf2KotczNR2tfTvHbkT7UbDq+4KJVHpPMteYOaoibYuD8demqYyKsgwaACJBeBXizouFk9A+GDCpljZKGrbiXxy7bkxOo1bY92RwK41jxUZccA7B7u4ElitwIo7g9erlDuT7qrHRTy99U2CYgjzOUQBd8cmUO9bOQcP34bKPa7YReGN24+rfjABRrGA8y3Bysm7lSvCzMrA2V5EGFrD+XgprL2LaKkUZGlYK8Yw31qK0HGfb99fBDl+xx0JFkxrI+nCujAqB+LwuYKSzy51btpKb77ug8nI6E4Z564r6dYfE6jCYpfXmsac7+WvKx/NXGZ+LGqFTCmk+Iahg1BFk1F4UTJ3zHDzXSBIQtn5USRYq83IdaPCs7BhcnK2ZmGOxpJ0cA2ELSTg9k8x/YkGLgMMtmpbBjLcSwKITfjZf2cZkH0I3jn2KpDgHpWPgUhk0P4xc6Ehv4dnVGu8Gy8RaOF+hilaael9uM1an43Hq0Q1gSnWIz91b21jIogOtP804Z+gbLgKgrjib5CD9/p8aYqjZSGCXRlnGFI63g04mBQHTOkYM8As+goptipDuRKCDnvVaCd+vd3uEfFf4DWfb/+6dDOrNdNw8fd6fkADazB4xeewMtbbYnyJ+RF9+JzbnMVLL3lNKgg66bVWEK0sBaPtVdv2S8Xdkh7VPqmN4XXwEBmy7R4U1UtJVf3i+IHGuwLxvQ15X3+GpC7/k7uF2KezzYgp1RygSv9GOD1yPI6hyJ5AwjdxxUA2lsKg2cBwxIc2eX3HASu6mJdiUtAaZlaWieCrjU7/vhlKAas4hvtuR9mq47/MxGcoF9EBABcXiEOQv6wylFlma35n4hi4oohCCY1TA8Cx5HmzBNfjPRmU1OwQMH1+8el6ntRqAwNFC8VttN3xyfJY5WFBG4AKORDNJ7aHMuoDf7mKAkR/H3r5DA0VA7oyvp5/njBnsf7LniSbNoRidiZsziIJCGEAfJ6XNivS1zOK9//y0h2ySBhG2GrRDajRwS3cH6y1XlHMsXG4wzYCVTD2j3envjAQKS7B3Lj2iPy8XDBKIkAlEv3QmUNR0yd64AA3YQvQhUfRmQvLGCzRxM+14GQa9EDzcmAG8+XqMfhgl9rT5NVbXglw0eGxopWW2jehDxNUBWOOqg8A1D55gF5hAPJrDYZ6sd1CHAhMcih7YrT4JHfXYwGBnAmVjQ6ex6A2ZNGZKbif5M0EgZ5dRKFq8FcfcnV7OC39F8Ex9mZlg7l6taQLX3qPPoNtr9jHox2p/qZETNt6eAwqN4fc1M6u7kgalfVWsnY2pHjy026IiRM6NinXhWHxp43JMXt+Ki7TfRa9uicydUqfNw7oLQR0TLzd2/xxzfnVCXJXnTEP/UfdrIaNB8Q4hgVzwPedHQ5bP7kkPCXPYsYXoFIaad/eCzovHD5BXnzu9l5zHK99KxlIItSZEI7QtXLfXMJH/fhY4OZz+Kj6ap6W0wChrkj07/DUnVC4w9cotS8g2FY3nmqywcmctknmhwKLkVdxFUmD3xvNMej/QiXztEnAjBWXb8wbXRgcCBDblwctdyrI20Xb2w74eW5lYr6MRZuOasGohOyYF7ZptjH0lSuxHqB1PJS/uRCR6o0PbgnV8PJRTVz2jsvzKaFSy7lzV+ks9J80XmH4REByQJERJb2Z6gb0XD/RnkiQSfqtbuTu43rZS5i9gXpOq8iFjrGukyNITnZl5HNIKVtn5qIDwY1WUzNBTr8pua/EGFEc7r7zOPSDVvXPAKAbB2TMEcBPildnn59w5Lzs802nJpZHPlfsb6A0HXofCoCKBfsMDv6e30FdECfihRSkrEZikbqy8GKsfpra5bA9bwTPa4x5Gq0KurKZhEV6woUg7Ou7JfUFAQNa7NxCtVAzBJ6a0v4e9dXxf+YhbJyxassIoxL5UI1VtpHMY+fh9CTcCj1hnwHS0ViFfkkzaTKUMmamMhG+HESYW7gX93XEiSF1lwDbYj3o3bFBLv1UoH6jjdY5HjPjVzec87JnWFUCwaTmqhfpC3Wj3o78qfKOHteCIVZ07uJ8BZUOAY/xByZMS+EjOoW4UFKeV4K3u77Il3MA0tXChIHX2BESnr2WCMyDcA31HOnKTulJIouVcAeIcoOrRury1svnytO8h9PJiT/JG0u7lt9UcQLNB4AB/6z/e5ZoAYtemwqLnXQ3NtFcZXfq4t3ry6iOCjXMlU7rwsoDMIAKv+6oMyMQxCKzmn6irjJfhUU9h98Y+pALsNKcFkQcnEslcO1+ozGBnP5paJCtb4Hdz/tGOkn3xA78V9riz+bIAnkHrSALI6xSi1P2wbxhOiHUI1UN2oKwobfO9P61M+0a1kfYcyS4I6mOBuRF2dW7kEqb0YTWGLyhScNMvzLS/fipSI6DXm4ZETrLKDbjKZH+mujRAkMW5eIqwKS/5VMOWFXSygfQBgNA9LZsSVqdCdyUTHOQCvbsxtCyNrs35Olr87twzM4evd+3i0fQYYdTInv1bYART1vwNee5IuaI/TbDYHCMSPJ8XUEkPNEpO7RJDr96qXC3eSuNeC/MAOqa0zdVlmWIwdVV5wGcT44yqlFbLhhOLoN9BDgkpUiMNdQNOkmLeGMw7ccGAEa+C+cSmpYlZCdXdkHy5HPPNTnc0gZtL36kbp1G+7mAMCEgkj9NxMG0CU05QqEayIw9PSyhDH1Imohj3eav/qjIkqRptRmnA42PpPUyqW1UwmOP0kfym1IsVlBXw1dOejwV36urKu6uk6d5w88Z4N0HwNDiuudXc/No1EXX9cuTCI7lvLbTISepEPK14QcnLX/oP4DxW1nY6lEAn8TAw0yiHgku/4lBoof42B+x2SzjcKXgoJ46pLweukFEe6mLPHxjIpFPqGjxoKIeW8+wd5wcX/jR2wmcP6R1cYvtLmUuCu4QzBJ46wfkCXy8xZQ1I4u/kZbKxoOG9m0C0IqFIPSKVqhVkYHyPxvPHy11pMFH/CtzMrm/3hDC639LcpM/G9WqLbKD7NakB1gTDRH3ALNuI/vImBlmppE/vahwvSpSSff38G+NPT3jt8DsbP5O858GKpxb6yFEgRFOqoOFz+wnGLNX2poQVPDdToP62YgGLgYdNI3PGYNOhUAjJuAt7aSjy4cSvarkl3y/132x36AnM+fR2TpmM95YW581XXvO+BYi0mtE98C+R80G0ERn1N8K4HBvFJMD9vRskujDN+t5uzJwGCJ0x/bKZegFSRtb0GeZ6Zdq3SnHl3NEQSemNtOceBLA3udG/gqKtbcm0yY0N27FABY186qbGDfLIQcYeuZcN20zd8XGM19fPVtytU69IsW3fASNlBYQQ1NMhNiWywHpyQIhHSP9EikJHk63ElaupvchZOYNLrZio1SU9yyIy+XWo81yeB87A/62aJjZr5Zt9FjiEjTl+qZVdJpQy2v9vXqfXGqCFz5R+HCn7xok01VYtypDwYU63VwuB67c0qnY3fe0126SpjkgeyIaspJAajW/ENu27gGGBv15bzL9KVrcqSl3Iu1zu5PCcHcumhe4qt88RZw7J+pGONH3RNHLsL/ICBPDjK61R4SV1gYMUufFG7xuDuVuwAFGAvR6bzvEdg1Dr271APkdMXVk1uvXtSvg5dn8TXbppYKKM2W+LNRF/1kVyTHl5lelnrRGI28sZBBuyXY+fUIxfkKl4Da7CXy4MEGcsDU/pqm5WMvBBvAGOWH1Sbj7p8SUEkWQcXkX+ySooe0AnF4MbJxyNPh+sY4plsFRGIU8TBW+VoPg8DKE604I2IPDhnb7f0ZCfzxycqFIFX4pozHMCOs1zGuhmCqTsBCvHsRW9BEEa9d78CZGwqVcR0nhSDMahGTPPkrrHl8Kiwz33zKN8yK2JW15YTb5z+9cuWXqHiwnDKGk42YYgSM4ZyOF65hUzbfH1kVy6nSDM4573f6dWdCAKu4VVugyoLbRZuRwHu3YXRu2ODBfWe0+MvfDvdqaBI07oFK2SyzJrPWuMFaA5C7xKpWjCYKCpgU3U7PpRXgpV7ngNIYUfpEofTwbe7KWZ1E/Dj7M4v5AdTQOV7Jd7h/ce1x+ZL/pLHlnEyRSRZPJ9LXail2s+PGPfUtcqPznhJOE3G4Lg2zAplr7l9VrXUtBJ3AXUaAm1yvazxZD2VtvsA7P3iypw6dBV+5COKPi6G19ZnD7VXDRJwWt+26ug4vbO7WLV7BFpBoRTX25hGoPaZPAtS9jNkMxgSCiUA2dfhzCpku5hBOUfwHxRXfTHRIv++2RBLochOIQ7eHDJjAtuNh1JrwTeYJu86+2Uvdj54BIQYVAchpM3VtXowqkE1BlM1rEsvGIerOyJX8qE7+4dCJ3CwO47h6z7Uh0+k30cTSRNp2/0AOv9PH1NAhNNQWAPWI3CXuQvJq5VIrFbt1/CZXqr+2kG+cBQW+WJqoRqjgjNf2ZABIEMfTmg2M1cKhFfny7vD5Bneu4pXCle9NllFqGrt2xyZf3G005k8DIAp8wMFVEiDxcVo0cvEChEQE4QRsNFNCCBPVgJLVFp2RlJdywA6hHmD0eHv01rlXT9N5rJPGNLotraSk/CooUrJiGXd/4E0OE8KZkPhft7XbupBsilkTrUU2aiW2z0QzmH8eSjmhrmIpqpLq1nmrNNZqsWCYRqnHU+eMTBJiq2MALfQ2OPauvYjuCOWKpeoz8d2oQA9E1e4xJwg0E0T7QbjVckc0aQIzJqX7WeJ+5XS+7fXnlAiYV1NylZdHjrqYYEHImrtOLg4rk1Req6ZLeeXOcmgfyFYgWjle6Wkk2t+B3NuP7fWzhimZW6/mwLnlEIBpcpfsvt5UCYvdmknV3Kh5XSl4r0Z/zzIfPZ/rnl7kNOY5JzbLWJjqoQoZ2k8a3sGfLxR6uB/maRM3TkZeeH5WhLN/6qNUDefRXJbAAXGMLiH6v1CGFowSSSVnfqGgEfu0CnQvUGr/AnOg5fWFRA10XH1fNLcqHIsvyexmSc4KMbG4hA3126YDJIeg8bR/SHS6to+UZX/+pIr70PAHhH24Kjv2pNLK3CJxA0F5vryin7DJXNteN6tHOEUk+m8R9p6jI3FDLydQPIXq8tlu4f3mdujfuW+qg0GoePwP6Dc4OkrMrJnvBZbpEn2dYLiz4OU2kM5C0/v5ZRxyOQg0BdrKmpkywhvEmuDzKorfmpRZ1FapARl7Lr6Lc0s/JbvzhC9KRu1QzIaxHUA0DvCMTAdAnBchzcZNydXmJQozi4EEy77EcLXkTMHy/2wKEtKDTXWF3jK/Vh+Z7SdTJLeBBnrtLBXaF9VJAlAPE883l4abNornFAT/YB8GGv6pIRy0Xn5aRWcZ6JoHm0o/HJG8YmSzXurHkjF0Fi2228UgIf1w5GTwsTPKpzNTb8bnyMh3sHW59s9jFTuVXhcjCt+n2yb6XG254D9GLL9zxzz3G0MsrrOp5rBmm1dq1V2UAzmXj6i6zf4Z3+qmZnz9xbmmdRRq6hXPAzFEDE8i3IWVVIjDDr+OMoxHSE0MrNleyOe8MpRi2wqCG8z2wjV6cOkRyq1H/+Owa/IbykT4ZpnR0IiV3SeBsCYuGkf6+RrbIkMzfmi8MFMhibMmGVHnO2oVj4aK/wuHgcBtjW7BJlqX/3H+3o1XEFBh4s7eD7VxPu4zQ136rFqnbMHscO2lrtzfyYFfzc2VyHrb1iQNikasUYDWfYJPBVUQDUeg/6ozJn5YIhiRhhPayYstmEaCW/8uNiYJitBIvRW3Cq2Qip1JJ6nxxFX9fNZVrw/zYFz5XagoW7ZiyIK2NIQUrHqhrY1+3zRB1xvBHku8U331tZ39/2iPejf40C6JDFdNju+dpzow7S5Az1FQgAnrknrUA2tSvvbqIDoUvIRWT0ECGX+3FGwQC6EbkIrAOzbyGhkkSVuyVXdd2tMtCZDWSwG7ckEu44ZZDS9RBey/yapPZ3vMz2hYw/bsuF4KYJ32p4GCGzCLiLO1NxI0HP7JpRKHmKi+hWfRvGy0FHYIeHd1uEQSiKFvvM89XxbWTKxdJsUAAj8HZlOAFHugKUbVrp+uyIdhsh/8UTtAn3/tRpvhhk+vXx9EQJ1JMU1pPIx7MY+T2wKbj7+UTumgKKRt4XWSeZl6RHcLaqTpne83Szpjz6cMP/B12mElKt7f4SmZo3Xsqy2uqyEtc7RRZzGcpztrAePcwvtiwdstQli9A61BoUarPoxQiyh/esyXvRlpjz382GzK3wrv+khK9MkVPew6aYggtWr4oAgBpdSnmheuMHfateBOY+07IY2GFSV5RNAlsDpYiAP4Q67T9/A09CVeoZm2d6WiFiX1KN3UeIjKjDLqVqkYq3EjnOk14gvu+FZazEy7GLmKPd+y2QIVxQGTtaZy9j/Q3YHiqLKIOpa5Hrd6Y0sI9YcoSpruzHlmV8DavSZORcGJBZQBgL12TUka80aoZwcrMhFLzTHQJ4/1gnECYlSZgohrKUKMdDXHL7v6E15U5PDOUk6SBuz1IxYol1BU8F7uYbq2PE34apUNujb4a6p/aeh8gdImt0idrE1vwObgPMZswHQRymb/6jByROljhMROt+54ly2fyoXBg8BJwMpFJE7DE89ygV8yObD+YIqbWQzfxJHgabVaLS9iuGKXCxfwegsxD/5HidDI7pa4r3hpeC9DadUp6ls0AAi/tsY0WsM0yvJQCyNQbspPk1b+FtzlPvDXKa+vaP0rCzJs/S4GYec0okr9GWP/mkqKn9xswt9deCUeBRclzqE9plIj5NCTnISj9NYejGKoovUuYb1hMf+kvm72wy9hTsOVBkxX2uUSXtU/6I072w+NYU23ZSwMKVF3DnH1QvXgjoPheYWkEcxsW1UxrD87pJHcoluxK+f9wry37MLk1MSvqleIsrqz0IX8Zy3T4DL3PTkEcdBF5sZ2CN4nnqNKMHaMclhJhScr7Q7OmygYsJfjjDklvLA+K8k1Ia2k2joE7VDbixTUS8z/JftQDov9RtXB+Oo9ZBEmD5VaK8cwA5E6gd4W/bym7iGaLHyRTKvEqSS53gviv5ECXm/QFELu2PWzp1POTb+qLZcyOp5vRxdVxBHYbmJGYbiV7rx9krk6KhflTzKIj77cUGiSRfMiZ1QnCCLmckN6M7lq5a07RHncSd667/mA4IJMZCRlIU4q9nferRM2Np6Q8Ja2+oulOREm34bH7H7xbE9DQUevsf8eD13COhb4KZNuIEMSPYOgEf1xhxnF0gKy/hjO3zVvQ/lLfGl09DevV42EuixwVAYlViegn9YAFKFTWNAqd90hrYLeeAPk6ani6Mj84z6R1Mknn5CWDpvmzSOGA21Pvu3vELCTMRMxfJDJHyoIT3gHR6ucVqW1bKx7eb/v9Q+SDx8oc+tfumNa5jeIxvMXjh3URXqcA6/7HW0MEUUgt8OmcLLL0C09UNB8NjeRfL8C14vw4cC+zoknD4ZBpUQcLU7GqGzGuqNNRCo78oiE/vdr621m2U4J8f0GqiVbwuT53I5RIZ23aVx8VzV67tapL/Zqq3pOrGP/oAQB/XtZ3J28gyVxeDclYi+LcSyzjURqnyGqujeIXY3r6nG7prT/nGxKLDXQcKcGB+OWxAEk0kLkyoNr2aYf1n35aGWw2oFFWzV4/Gg3kJbD8lzGmrkRiEUSLF/SgvscTOh+maDEP6LivyvKyVMphyapQLH9Q4TUoFkJNlHMHG0UnBqA0U8LVHU6exEhE+UDbLYC78ICCsUKGN5YeYBRidd/M7qJsC/LPuXSQ3Ris5eTdUKkDIFEqNdy271ZopmkNRL3lyuv/PwfjOgXeDmJYi3Qvd88phWC8gwQGi00G+EXLSEOCdrpBKZTS7yIDeUN8yFvbiaGLvrDbnCMwDg1PmcJFzueHlL2Q9bfp+ng75mm92X0/W5YCQvrMWPgNRJwBzue+5hnQNGgdMe/sxSOdRbOfPlMJEQIn8nxFFxKgKuZjAOs4LX30n2h50PVaRxb1M1bBD6lBp2gUWsFcZbWmcdHdUoOyVPwvK7tuMq8WyM4oL926atg3cZNfbm19W3/Lg+96tpLQjTSOW98/hGH0DjTYk4ekKbODNaztmewpBPpUfeUZ1nf3lydxSyLOL2+z+b323H+vk9baIckMYH/oZJolMSnYVyneOAhjPOgsuDmIpk9LvS9cCJB9LUeOLGG+jWFPBRMl4d2jkR/A3JLTeMVrIcgf97a9LqZwtJwZL828rrZUua2GO15cM/B2Jz6+sF0EHro75T9tt3jCeSwLwbcKYVQO5ioqgnmx/uDbIwZ99F89VeSl/ByfJJYZdubo3G1fQ3Yuv5hY2HIGaYRGy4CJGKXM7w7dZCXzOynakgQNsvSSOyPiTKbcbgKYnHtReMe8W6oLgFzELEHMSmbQr//A1WTjVljfJdEz+v0lF9YX+bBbukymhsSrqqRvMlQPG3Q1jMwX9j5/p9wk1etRjux9qGrw933CSQkaoEwPUyF3WarAYDa5W1R1IQSx7ijyWfdtUBAVbo7Ys5stveGoJdIN61ihFaSwKJn67ZaFNJGJnTkTclwikuox+L5jj4juve9SfWHf9hn9GMIh1RNP3qFbuSy/3ICb+yKT8sh+SuQdQ0twiXOuKG432ZfEt1O9RN5bI3E7pQkd9Nw8wMZQcoaBCwVSeNp9hdLq7MJQy5PemRVjDWIudfZPJ4J713esuSV+7x45c1jnmamb+iKt38KjGlkez+h73p2o2cbxwiykq5djlyX8LuYMs3u2W/tbC5GkPcZ2oOzrx9tstnmHi9zujJytl1HUT1YUCVnRfrEw399hXBnXAkFAPGGLTNFEXKd+OsioDvX+ujDMx0sOMkKXl2uOGct9p0oGqpxuK5+7uN74faGw/sCEvogTN16CcoHzeudgtbWT6LKclBX2bKeFvN+b0x9e/cpfesW2qx8KkIngN2QJjEdCEL9oYJXLJ7V/zk6xlxGXpHnoyOQD4ZcjUeQlpOpju3wpKzFtTAdyLACMoHuFd659Xq1MlhIcbdlXBnNJCbR6vTZJeNrc02sV0sUwEuqFw8oRU3ME6KFURXgVuN2nV6psvmAm03DxOwp5aj+A6hw8OwkVKzTDQxuAHkiKmpuzJVDELaPHMxYOAQNbAWKEQInXwSwwJTaff/YUwsQazV5rywITzsSN8vlbW2cuZ1LrNbCmEDsrqDm5ec7xFOY9E/xynpdt5R1CTa2jx5qzqsn+UJEhOWn4DiLPx2UP1z0rE0hStTafHdWg6ONLXRJUifvaNpcUgFEswDyHMHlfgrZcm81tkWygotebFUVBagELA7VZIMhVaHvmnyhN+5B/EK5A+JuVGG22MC0lryxPhIV7wMH3kD+r12DwSp6Q24T0n1f7pRoDZI7M9EAImU036iM5URw9xLTFBmnJEAElrDWQseJhDIcMN0li5ovbS4rns4QH0t0c+tAVTUDIl097YSmtst5nR5r05WbLJbU+w6lD+KIQ1Ia2l6SLSY3B2z1sF/H6QkaLPrjD02fEo/H5TgPu5+vJz8Fs7Sjz7Oo7XWFToo22pJkMVB2gtzXMk9MauuzdtyIYEjl06Pqr7+eyYMw3cF5+DKN7szSNT8S9rwtbtKjy2mVveUoaL/spoTKtYSHBET0jhGukEnCX5zCKlzTjUcy4QVNAETCoJAauRZW5WEcoxw9jwphlOr1XlLJQ0JMWR2ZVA+6LNKgwDBUdeOeoJqfVbvVgcMD01uuzN+zGs+4cgziagcpUUpWhFIFIBlk2KTmlcehYm5XtpmxOMc6EKCB5oSYqOFiqLCAXG3EfX1pDju60Vk08rKA06xVHDPtS4eUQasQxQylZEu3o7CXaZoZSUKis0AyAecIVsSUt0YAPakSD85KlenqzgeKOeiZlxY44/rAPlQiqfGdUbyNVmaewRNfzQsrTi8QVa+tkSM3y395cvtC0tybZKUlL775gNOzsDQ9l+b16PY7N6HuxgSZeXKAH22n2Sm/xokl2oobHQ7S9rXK0M5LcV0/SYTSVVNb8IMW+RaALRtfKvE905qbhN6hDn/AoXkBYwLdowIsRKItc2oIE2KegpCuD8qFPD8GWP+/1RX/1e50Hlg9vj4dsAe7qUB7prYwk1eKKq40z+gMNW5MJVxnRAZcJxCoJc5TLHiT11yeC5UR0n1qpaHgenJcqnvBN7qn517SiAt/nYkH3cdl0ROr3+gPYqeSy/6Zsag9Zr9ZAwGNGu0lXJs34tlSCPdsGqux0ksYGr40jHdK+qYCSjSRDuZA9b/m50n28lOcBR36S08E7m+RC2AxJMPRjHe0ygZm1asZvYc0kS2GoWckzFzkteJBg/B7g+gOfsj1OW/DlQYh8L6iEFD8llXSVVtlG7brp/GJvHMU48+AgoOV8mMHCMC673QTlE4pLYEn9eh+kul2/VBoTHcrVzTrtSGgaTTlAyw+ZSsGr+dy1Sz0KxwuDjJd1JmP+TgxHQT5A4sGxYZEywwcMPCV1LZ0V56CLOXFR09MHVN5qQyedlpzDPnF+5wj5ZrjsQ2RUMAUTELMHb1tyi2ouPyVrv2MdvJ08l1+bXUN7hf5ti1vxemt9sIkxidI6/rtKUYOOeHZkd9ECjzzcLysb7boF7wqNmNgAutmH16T5yOlfcQjHNA9O/+wzTXM9f71BIh3srquG8ivr/CerNJ6fVA9LCn8206r6qr2bbpwHhHoHq4qONG282Ncoj9VVcuKz77+QhFBbUf1RY8NEajbsfDhC511cl6DPsVdYpubQd4gtpTF466/7EizXLCHd1JS2Bg6MPVWJNdIJo3X7lx9qzUcXcz2/PidFg7MQvbBWsiCfLbS3vIFcZtBoHBePO9CMRKE1Rl/9FthQ1U4wLGjLdqg8lC5asoURakDoS35a8GAUNpJZr18hVuK1tdNSoLSs+B2XWr2TfepxZpiML+XdMob2Hst3Ev5DFCV2y+P/Jz3lmk+uc+xa2WfcJNHLLR57uv7T6ziq0526R1p5HswnXdy9Vib2wdbIbS+4mULDjZIYm5MXC66UZ2HD36CHJqwgRn1UfFKZMrxWS1m0Er4xlbxSFQyfMLPIxS/fg8nA+RVtX8p9igAUcsYo5Z551Sr0jjrQpCSV5zHhEYYvGfVkOMUzbmsjNjcTw4mOf1okSr//U8+e5XGXPqh2vhg6ZEjHWghVklknpWsOOjqCaZngLL94B4ziF8NNKMTWrpnVnsG5MeA3eHNP2orAGglOEomTn4Z98n21Df8XOF4Z3+k+iOMTL4pxo6MSbYENrGvOTASGqfDNOfBUBy2JF4x/p7o97Q2CdduEy5BZ7kOofC3/dUkuolarwG2/vd9ZHsy45pYOkdHAkiQDTy1Vr4b4RMFo7jy96W9vtoKITCrezpRnSmezrTiIWXqj0A9SoEzuViw4xKAY9H8QpCo8S2m5b0ibtZqSyjzNsuLAETT1iyww31FSyG778I0njpdFM9Evnw1AYF+hOkX+OL1HDrtAbDdxgzf1fnUwdBIvPefk0ftfnr9wzwR2aZegoNfBoNYDs0/HRZxtf+XKGhhgNPS8vJxbWtPgtCJcAee4q+bSzMS8fsZSS5OhE50x+U9+LYk4r9nc/T8ShCplldJfNWMII7eQxz3tzvWj/pddEPvbjZpNVYlUZ9nFKDzmvkMscd40wMBRyBqvy06ggCe+NeRRcAB/i2MlMzeU+W64xvoUeDao7FIU2sZknfHEzDIgsJ8XYT80Y4B/7sdzpUTsYuXHf1cjzoJaBm7Hie0IhdtEhYzplOfaxAvgNbJCRWqYCKY3qxPM1MpgradpzGW/LgtnbxLl31/SI1rRR9mpRsd8iW2bk6Fw84MHxjKVNeABAH8hRnBWJGhsuDL2bU/hm1r00F1Nqw7UefOfdGzOWIA2zTb57SJgTIMjnjKWrhuGo5SXYZhBx2DdpGRCTiv/NoemnANF0KIShdOtkrjuPC8LVeNC0iInwaSGiNQwjgDu0j+TcQGQul8g4+kZpI0UoMyPAaLo77H7ZhzCk+Xm6mPqtRqk+yoNKR4z4Uu8VvYWHlEEHY56QatzvGb9biaSnQew/kErEunJB5FQPF06nrXWjNRSAONaHcdTaMesqGIWWQD8MZVwBI1o+HDkXg4SmxU62oF8Y7lMlUniQWksNohqgdMholh8+9pMhgbgI7VjVZXmVFj+zo/Vdmh/qNgPCExtIhgTlKKkWtmWfnbe3tWDK0qLkXtH4smSbIzcN88dGulxFrAFGpHoB331bfOYYA6bZUbRrGes9q2rM+/sRR6QhkAPWnLfpyf2StSEMGL/jJrqdLN8j/18oG77SCuew9ck8HwMz9rLawhygUoyZl7b6GQuri0v/rUf5CM1Irwe5DN1A38U66BFtY8JcZ8fDs3q8sOLk77QymG6cDskI0jEYyROkaR2+1dwIubhSHjFi2VbaQ9NGyTs4fCxRjSSL343rTY/xtPso6Y8ipA5kvChuWk2QuTLs4pTfG4IIu0O1j/zq9LQCbGdZ5yV9V65lcEh20HW63DpvQoIYfBTv0ZICFaI/bEMWElz9sLoUSqsM+T5l9Q2NDGL9zBKzVWU7OXaItIUmBGlbybpGnACdjeOS6oXK9QXkvrfsBxrHUH3boY6CcVgvb/pPiU7t2oiFL2VV6ROfkRo8EWZMpqM4oTGuZN38iauQU2KbYjPY6Vi0WViq+0YauK5cfDU7LPypyYcLTPoCEdX4kdSbkZMStuAz5bPNMBkBs4bGU56OwAICsQWcKiMO1KU8Xfyl37i8jn28/DofTLQP7oHh6b65kfjOsSzhrF8ARcNxu2XHLddzhs5hebhZSJzDpojgnTmqqi95nSfLR/7Gne5JGzt2i9eog8DWl82fAjc2rlaeoOa0b3QTYUNBJCcCorS3F3c2e/SzaEQL/m4f1m8vcCbTwybYHP5AsunkRn/ld773NOFyFSTcTfF9Q/T7ILBCmV0b/wBlHv25ovLOBRY88uCyLI2egoC9VdfV8ir6rR0NDRo5Qx+QnhhgtQp1Eqm124zldVsCpfDLsu8GZZ/+oOvtzRDdc8i3/N7s7NSCyw3GtueSli1fStEAKG2Mdd+iZUnU8wD5Lzypa9qUVQ1UBLvPSg2kekHWqABWA+QU+Ok7vsgkAoPCU8zYHVKxUmKUnZEFDw1ALD7cqCg1zXp96rJqX26BQ8VRf0EJwTDGHVLgAT5hsol1KHGDabfFm5rq7OX6H+LI8CWlF9LsVFaAoPekNcPjWb4tAtpgZ2DFxDRKmN9xpVF9Npv0oahseGXF/504YX0a4xnQEPFvIfGv4l9Xp+0ixT6+gMfOBJlsoUQ1NdWlLzXaE7xu4UvGR5fikI7MRzbY39NrJ/k7WVYJkpmk0lqcJ42JvXTvGDlV28xEQ2MS1Z3Z/oMWfcBL8EsbdD4hVcjXiA4B1dzKt7YbademNYBxOJa64A8hiXrp3Tukx6cOxx4mrUKoEg/mcv4mYl03oZc2ZhoIUFE4Beoh9XHxtegaXGsLxKWxFl+Id5CVnTH6FB+Pc33BpBkJh0K8VZ9m6kbPzhiiGym7tnoWNwWYE/y22Zj1KFpTORn7711NdL/UZlRdpPofqE8Ftts3ZbusOiuGOOpCmu3A116MZ228mIx2Yf4I93LcNmCLN7hSuq9eDPJhgF2Fp+nufYlubwHEZTapCfyBlGi8DzIQ6OpWGv/w4RKKGHgF1jXyYw3SfacR8c4zZvegq+3zy4pOT9WCZylwFbuLcEn62Cd+xPD9U131p5fjcG3SrHPg0FYLDoCN7IlONx9aUvahMYsFUt2VAmzH7KWjqs7MWA11VPo5X39rt0ZB1BuBiUX/kpr3notr3TdN8L9n/eYiKo1Yo1Dex+vRPSCHsL6mOYj5r7ewuts0DvFCu+MJ03kPbwL2yEAkU1XShcRTO+AaXd0/TVv6pb+OjS8iBBqBpPjElI0P9ThGDOAMnftdvz9e+6tRQBmk7DYUvi/GcAqo4LOPHmOqS2g8wR13xD9rltsW1KvsKKpk00wqdGgmh8HP6OKHTQZrHHfmHnGlIhZ6qmavhHSzpWNKnDPO+1iw8ZywUXKoVSySNLU+FEcDemlEM7gdznqsX1y6WJT5eCUopB3LIw9hNJKUlW0UDIKZXZUln8H4u1WlLhcK2v5rK0AsDCVTawfS2qnSrkSEE7CgXwKkN3+ThaHTQrpp/OpXLl9d8RsLK+gqKDH0lDDzsKZhoh+5RIfqp36VrWr8r/F05TP5rCo/oyKhDdh0bu9ylEYOo3LM80bJavp5TpJh8fhXOQ3nxXgROQr3KF+KQEq1iYsZ8ZqrduyzV5ok7dU7Tak2Hxidc2LAXiOq54pyuuwcrT54VFTUsvjKTB1knhsmc+9Jgr/PwWjvNapvdgFNAovaNksMWua+4vUFdgklkQiFKUg5jQzfiQTQKYWfz5Rn6gy63sDZb90OnwzpPdURCdBUNHSuxekOkbrbO1Gx3IEj/4pvg9jYsxDdRCUGt7kixN1Zefo1+w1zOesM61m/FSLhJ/4UF8mvmUG5RknAWJqCb0jkZvPHZuEqhbI4tXGeFFSHDDrwsZ7JljpcBiiqzbHjjdg39+6pJDohxcNWs3RkM2DoVASx8l7ZldgocxaEp2UZS+hKEoEUVKb8h/BHfmsf4CEz3tzv0lWrNhmHWzVFW59k0WhcwfwPP+nlSU32MBrouZF+vmHEHv4iS85FqwrDAh/Qhd7t9imFKVC9PTwDhMcfWwfTtmiPNkEc31SRVJXzT7SEhhOhdWSiDiKe4Tokpb44Iq6filQSgQgZV+L69zs+bf/Ha/BcTzzEsI8GVc/by4EAuGmTcyIga7pu76TS3y0huFcTLQSTwCMgw71FvGkIZIbsjOqWGm+4F1HCwcAwv8HzQN+dTaeanP6tqBB2qhRVEx0QDjNOXYNzsJL03eAfATldbq9CFFLdkDmU6hAao5vO37/dAxXSviALynmmVDk4ZRLXnme3Nb15QjoYjpkSko+3ZMx7zS4JwUeKA7Glzbk8nYA5hvbUkcUjJHM0opCyjncyh9XO0HVt8pM5ZH2B+QcM1cE7P/2nuNFZ9n620hZG73LnWgkc5z9IjKVEMG2EXY1X/Q7IgUL7bK8yqtiepjrPzzpTC85+FXRHDDo9zCYxr1BVy7aPyTkdhQ0AWXhV64BtF8qu7EAl07s0pWk1h0zGqlVke+Y+N4O2MaxPJBp8edtDG77WOVVbLlLoZDjErZi5frpPBtStQxFi0s34MLjjR0UfBBUaoiQvqcl0evG/Wn+9b+v6rRSQuhGpu/c8zWhVGqo9ITNx2R42ad8/cDuPs/gAdruVaKCZ4tHwghisxoowkp5tidrNQgwbIWRh/kgshgp92Rnus7IjfqqqJJzNSa+aEEnvYu8PUk6yhXgCOwrHAQXFj17XukDq+7HMXsguNpUUo5gVoor5WHU8YqRyF30nhtk2nE6P48K7kicxebEKDi5f9EeHhb6/kXdIk2HtyjAvr7aevHwiISQHO16CtG7BIzeMx+XhJehQlNz8Yo21IFGRnXjm8LOLD/bVyhBifn4M+qgW04vLi+zY4zwsDoOYYtsh28chSziRjzCpur3WBTy4qGOepOwC4nY7FdoaSiRuKTzVZ33Yk0AOimbjV0mvQkBPguxzxpms62aJiTr9h46DF9H6Jxr4ykcUhz/hMhl300mduClno0iHBGJHPfP0XMsA+Yx53QWI2G+9GLCQYOl1/Z2c+w0xkFRA7AJqpNOznz1Suq/aSsZkJWG545pVmw/e5zpiw4q5B7lovQhTDEK0JRuhhPMMyi/4D66eUuLzjDHKgxsDOgH/5EeAIv0UPfvRSABxLTY23eVTmBOyPPLu6Ea2n/vjq8iqZBhUCocL0b4EQ89h4SSYw+8UA3a3GCAKBrgu4Ly+HM+poi1dbclls9519p1gX70pbreY8RiHaec5fHoRozxkktHwPZGTRHdd9FiyrM8L1/dhGKU3i9vmcMOT4Yqa8NMRCLdMB9ArT4Z3FEtix0wPk/r9CTYea9iiLlVsRNkxOCA7DLLNKgEz1vVt+z3pLNZF7LKLUBQiK8wGEuUYb6tOuRs9wUKoJpUcAy9yQqaI6BNDf04gphjzrtt2InC+J71V8cBLw0WJl+Rbxrxv1FYPCFshUW2SqSp9nnwtngUijPz4OfSKsTo9j6aZMv0IfrLFHBQDMGmGCH3rw2NwORv2+4Axm/L8imat6AHNIvPweKipZaGO2Ex1felGiCh+WUGIA5lD4EmLUXsWVpc3u8qemEz5CUugmgk5RSgBbqe5DWAUcJVfu+rHlyGZIynyx8pZyKgq2QnCZuFwEJ0h9/K3PE4fOJyv7abXjdXLB/dSqzZR+AkZgZrqX0X4LbyV+Ml0u83WAHtMLHwPgTcCDcsWI/5tyhYrEV86+7UUjPlzI/MGxhjDSnl0YerwdWPHJgBrN4FJv+wr5nhTyheaZMX27QBM35aE89Ra/VOV5JNw8RwlUAieoKZTzsJG8eP3GL4/K52JdidPy4NtfDQXrhEZgJBn3hMREXXwq6LFS/n+ehzRrpSRbMh2PIqNHDSbQ4IS8DOMsHXOjBpeERUsz/mzrg6Qk5KyXth0dwe0qhLZLk8suHPJsh2F5yF2KXoYy+7BKw8uSZnYlEsG2C4N9O9jF1HzbQKlGVdrim6Xsf9OrJP3pxVzdTOOi65bzT+Of7ttraKBu2BCfqnuabtp0peNINSSVgkBRxWTnBTgC9ec/dcNlEo+hNm3Fw3cfmbU1VgYfDu/IRwviwwncqN/owRvYh0tjgp6Q8Kgczm5xR3lTehk1QAdgerUMOPnzbxBCTkUbaE4PYA+tgrkP2PmrWu8SHG7lSi/5Nhi+mRh9zgMC+3tP3VxeZI5NNqVrGlpTi+/tOrB7CMt6merohYOu1lhQZoiWwVGTpoDpLXztiu8ad+ju5PXS6WwS6oCQc9TOyxl/mysEoBrVVKH9d5Ww7t5L44Ek/SaUv3sTrbSuXK8bb5zfO7RWFwXvVX/MbH3psv+5BTc3EzaLPsQKeyhj43VpRgaL9WaNhRnEkyD1H7/NLFBFsN9JY1kyYHhCpdrRH9/yP363pBy1gnMlOT4hYXTULJXEMqhZeAENIh5Ffgnz20Z/pg/NpB8WFy0rkM2eqI1fg5lxco7FIUd+6yHNqa619saVAt9DFd8BYtF1nhkj2UgEvOZ/RjhF9LVhomWReai1fu37BOQNr/WmxnOSuPykuoJ7Q+getJSwMGJpLX6k92tZoUyjyeMcTEO5vszx6tzDWQwEUzDoCquZLJpVZR2+kGJhhMVmjXQBAIeIunTDAl7pB6ezm2GMVCWZZPttiT3UogEGImPga1A+GmAQ6kXdCBP+JLEDEQUtHjpAPCNRLXl1thf69R95q+UD1hHXJfTOXJBAyc03OwCaL/4h+yir0hFAUAuE2RsUgzZ/o8UZn266NEICSQVaRYO3XggoSbawSZD4oB7OjPz0aOZOnbc8LhXT4C3jdlpO2tIwgGCQtG5AaWNB2YAIJNJU7dyTOqRos4m7NOXhFcpvot1SLHKWrv3sZcZH1IdrMOl3Xtip78wlZwqU3TnDgiA1pA9k0eAXb9jzr33aubkqR/AcqlWvQvnEnEJuhAGCLPGXAiwKjqnRglqdLVf/zR6qUqZN5E5g+RsCLe5ClB/+kGWlE2q90hnMj8Xr2jBLeLQYXYEKgqxDkhawQHeEY3TaMPEPGuxlpUwT/3FmFxZXCsWkZpKp8NKLbm5iYmC1ip7kMV6qJvDHaw1q4kLVz/nPhb8nr7u0+5rpOIANGdAaNGmq7kpRKvW2rCQGf2R7l1bwfvlBKBmOhQeSousQDM9ocW4a6IdvYkHV/LbEMd/AfyBi4CajBuZCXvVsmdBJi5H5du58Y1ImK/rHMuNSLKG28F4JxfxHEczlIyipoQQXrk03GCD6S4stE2AAUSc7dwCBxXudpt2N2zEbyDnGlySZuReHQinvADrmwqKO56xc8+4zNDhcedvW+6lu55Wraf0zhm4RPNtuY6e2CXGHPUm6RjbOx85bH4mxePlX/VaELnxFiWhQmk6/c2c6pxgvMnL3KfDua38vqjjjC8Ntr7PH1jyZLzSz8QyTKoJ+BrUYLOfT0vtpMGSlnOYBFHtqXMoFODnElVZ6YJjydq8tq2QGkhR/zhaSCUTPVAy6JuU44NPbaXUssj9KSkzeNLqdxj0jCY8eUzRcVTQ42xrDK0zf4y0XUD2q7YfQjT7+B/NkSGL8pAm+QChcM/rDvjWQuqL8B+34sAakWH71G0xSTQ5eDJV+HKafXryVI+wHmhxeynAyKJDdyqIzzcjIR6OhrTk1AmkIdLaIG7CwPemgBVmN0R8fVbWauG6EB0/KuXvmqsd7PGtKbEEPG8x3pr05xNMdhc6QbkNfzhxhBkZOKS7vTTKmUo8wS+Blm4er37OgPupME9BEhzObjwlTLMkWvn33AnAYbD1tVc7cUBk+ARHIu0l723qFNNT2ttzGthzJNPyHWuyK9rIkTTAEW8v7cg/lW1E64gsj0HWOLVNgMI18YUB8Nzn/K9CeAf6bpJwGAwuP/MhGsSvndNoSBwqUlJzKvITQ8caXw9PNX8WnUYQFb2kQNFDZHjZJiLotO0tvT0btos1sMqZr+u09eYC4Uq0t9noUf6hoX1M2mvywqGKY0ELtzLJ+VlEe1HdHnWRvy38ktTaD6C6CfWFCl9GoDP7coZNAeeo5v7RPrLBHomu09RFWToyu6N3fohd89OURnGQpan7kT0o6MHlmGnqe6X27FoERTku6UwX94NTJCxDWybTQdz/sHq7c0HslqWr20+7VKE87NzOYmz5fCSBZ2e+2FrW63Jcep9YvfHkYTx7JjAWEG0vzwkw6TggaTn+9RwEgIZaCE52fTWpPdSQk7jz9RmhHpudZydYd9hxuTSqSM5/kb2WdxsTn4cl/XhxzHfopiTYVsh6IbINdfYl2XpMMQhpryxo9p3FYhthq7I0kqjhRedxKJfUOjBb/Cxphjo0vB8vV1Yie5Q2ZVNVTsdvteUDWRotOcl++QQ3y/Rn8wtaapWepWq33qqHrPYzVw+j1btcXNajKVPWx/O4EHCECJctiFnIYYaNFWLpx0gSstZD+FBnYiKJBnXKFETik0LOZwW9mTkpxKDtIARKpHNPjN/WK0td5jcDgdqZ7nkRoN9wlJ/HwmpBPmcNwzP9Nks2AMAJb+zLUvwd12UWsvGqQDkxlzvKJwthNBmk8UstiLrglPwlt+YHlZZ+rcAigDvhrNx+cqKrLCbe3V9l5Y2+fvTul3Pn9v1S8IOg2LD8PQCShz5kaAXLh/PQw2RqcOfS6afwM0ADqOUSscNQ4WuxKCMfIgR4o2Eumb0MoDs2rkMpzIosYZulAHasiBogT3mcvGsrgdEjtUTe4IesT0t66r3/cypKcuD2r/8yVnNVdtNn1lrWbVDxcwX2LYKtBzqVOlo5+om4Qp06QbBaVHGOvfsl+adZxoim+OvB9EhViFANCQN33bTJgwnflxZYs1/ANNcoAm+zj0njN16Bpfsn3GvsUVHGn15pj6aED+a2stDyT41quQp7Y2OqcVQcj5yt7P9S8GpZb6TBPubvbRQXEpH9fscBj5zl5YTN0sy2xmQFXzeZz1WeYwxtgXy+4pzWnb3She95FYpznmL8eRXop+3KvLwFY1JTIUriClOQD7gL6/N8yCg++0S16kp2PFDZt3FqV6O/Hk6s7f6zE6C/sxTqwwPDAKI1n2zWJtchCvjuN7+5s1PsoELIlgW72PClJUnfZdkNz0qnPxZ89XsOweuik1l2tGFgvSNwCHykUeUl1zXLZ5WSxT9PmCXWxbRUneEBjQ4EIxtIE62ZwUxQc2DTf8RFpQ01Xq/rt3TqOy9mV9xz/rf1iRnLCyIA9HE0TFWtSfmXS+GMIaNh5e0idd3Vb8zx5Xy2j/vLHvMQ3V5JwLPFEm5z2lFaUCubhW6Qw2PsqQ7woFtCqjI2bgGho3zml9zxJHUw67uEPgN6/b7yrLdw5oC6nDAx57YLmJEmLTdZ4Q5eXd10mXbCfnYuwqPA+QOubmPwl3xi+7NEKf9+4/tUQTmph4LHIxV59ai4Px+r+Gq4KBasBKYEBwxFpAMSxQeDQgs2OhHXrABuenKOpMKAZfYDQxO5X+MWYTIRO/DXpbTmpZx53aNx1ZIbA1ys6FRqvYasvn56dGTdW4ccQvGv0B8yZQxcDiOumM5Hw+EcGOafbbJGCVJNPfTdAz0OdqgyzL9eUe8coud/Vji5MC2DN6BH0wpRR/Xpbc/EKN5H+7FPsLrxgybL8izl/81Ja61zGwFJYAUcsFmCzm78u1FT4S6vzzPTj1ybtRWLW5B7Z5Zcu6uY+4LieAsLWrG1Uo+f0KF2teZt31DDE1LmahawwSmZVFebQ7pJ2ntpFlpoh6bweLM5BZoYZkJBQVTt6AcbDEMHNgObD1/m/PHvD4Dcu2gVpfrNx2e6CcG/4Jwm0J6ssmxcZUXBy8sxM3Y0t+1FrFVtXW2xPaC70EFaCE6yD3e26aZavtnzdTtx+ebQ6nS2OXgswkHXCZeQnCoo11cC8zHkqe851JoFui3QH2td/g/i6Yd+Op2pIvXFD18dpeQ++l4SRSZlzVAMrWDSLe4Gf5QojFADox/KxD0X7t75V/YZOPAszRkuzPwNZH5LFJvY1FTMt5lveMeZx0j6ZiMaDwPTxdzL47omtqOedTEgFelj+yR0h/06wqC956EtXenf3vhKh4nvXJUgjCgWGpI7pWsnVIKBRdHIdaaw45bTBW0ApY7qWepN6kPywvu+CG6n8fQNrxx8/ZdLTzhXxPCfDU9b+tjpxdxxwprJaly1pm9jhh9ZjPK9kHFRKDRhodsMgJ4QjZBdQ5fbrqLOVnWQ4aC+YTRaOvYgj9hxoHd4jdW/NiAoNhsvHqqfyuqEkihE3BYWq35AD3yfe8R86WgDFopuT7vKA1If1snqdi8tGG6JUDYiG6NUVANgEcGit4qckoDM5PqLWBrtyzuYGXkir0M3IvKSy/pVRXS9MuyDJgNf9twANLfNZm6wXNrsFtUjBtGiBpyl33eBU+6GkCejODhQnhIMB+62F7vfiQWS1rp2nQ4XOD3W63S26IZ0N8jJWEztesYTqamLAc163WmuQ5EyUfuGPlIn2o87zNqwv6JRtu4z0TaygVCMgqavtKyCSt3zX/wWo+tCucdpN+jDYd4KWKDG+HJ7zDi1Yi4PXLjpzOS1T17R6o+vOFNyxgw1/q2zqR5CK9Lupn69VTALzmDzjkDtMequsNM/TMpfNfoYpQnC6+9i6oQ359pFLdUc8NCqIG6z1nNPTl5uByuSwRmp2/XhFaXHM9sK5NrIDh/uijFO5UjhG8l3iYRKi1FxEWvXd8376SZKU3PXc0g1a6o1QfRSVqnR//v80z1zuAKpAuTyBdWHS3z0uJLNKABYcZotxdBneO6JGbTtPtprpg5ofLcUd8/0SXmsKSSpweg6qwKGkZAHWRAcr6aNXs/gr8miDCb+RB3PWMmUdAaZOLiidlqAMJh0arT8uIitxjuOphww/WNCAPifiTpzdZCkbM1htu7JzXL879QrxCrxysL7akxypDIo+Fvu7SijlaGZw1xDE8gSq+o+ehuR5VL+GKcXmces+9hhfpk4ukKaRN8fdq1vHJQQR2nDJuIXFd48bLSTJokoPCqYJVyLs/EVjUrIYVLQqUfRcJoiK9iqolEyDnLzxrORMeY/IOzAF8bAiOVLCMlXFxTsIP48eynjpkpalQCMXuwuVpC6saZrysTQKHAt7BVdY1ZjZZ8g/4CaBFwQ4M42Zg6hipK1cODO6E2PqsbzGvqXqpkoeBHgBhV7NCo5G39gPX80O1kSdG9iSRMHxu/oLWfys+w7zRAkJiGWqPTiykfAkx5G346YuUHpoFTuTXqwn9sfCg2vtXHOzNvjSIh9/cXqF7nZL5sMafLRmQs1aOWMRT8BBwcsafJZQyZ59njwmc/B2KBJBpyuVhZOkd5K+8ujbKZeIsI1WZc2CNRHte7YYWuq7H7acldhjhuBIlFlcRJj/cA4ft33EhVnjF3m7Hf2cCiVsb5CC3gQBmtOR4mwOiUcTzdlTUhPvc5nh7WVEMoGvd10+7t33iijGTnx/iuyKxJTVhTylxBuDm0u662yvc54y/FGQlRTsdDLms9PIYnQCYVgf67c4QxcS3GaNifxrZ57ncoT/XUZyrLLnzzy8cLZgfWzMOMiC8jAA8NpsqdmrmE/5Y1YgCPw8Vt/KpBjlCZad9qTNKoH1u0C7YsZD+b4q78n2oBflMHk7/1ghh9JyeE5QCJNveoIaALyfI/yOZOyM/dF7HXDXRs+EDt6uUmjFhPsVY55tSVLmbWn5X5vpoSiiHWlLVL6R+Codk/2YSvSexesr9XxiXvmdyYlsE+zOVhAxUGfISp16ovpzJynjhYcaYJeRnHDOsTCYgUQhHB2naZu+jv/PizwAHm5eRoPh4zz4MuhOnkRawPKI2ZSjhqzovFwXDyVgBaMP/fsxG+CUmi7wNNicFdTb2uxp8zYEx/3Pz9oW2WPsphzasmJwJm1dAAZVx5D3uRbMzdCeJ+GeaoIA0YmS9by6784SGhC5+y842rrMGlch0Tmx6A/C05Zd821efrhIgQRLyG1UK1PJ1Rzul7BB1/8Tl5ss5gVsrMybqYcYKkdWVT00c1TvgSpyTp/vx3Tk0I28R6lgn3SS3OjQnHrW3H4drwBBEytIGOWT626EeblS3wUMBpkXCwttpxklTfYamdxJMtY3t5DmFB0ZxhHcYCr+Xc9id2EcFFVnJZVik1+d+Ut/ebLuq5Ld2qdq7ce94NRROy5wM0YOv3QrQhjpt+FWxaVtsodq8hEJ4UJwnp+0KW4yjFYI/aNinL8j5HCr3w0oONTEcZSk6unrKxXCT6TOYw+IBlNoVlIhifIOMRxRKnTRwPuy3rdBO9vddSSTYI5IBPVihpQ2soyLVgXnjaOPxJOL6vAHpf3FjYF6tCcWqNT1NMieaT/4ggbGjLXa2kSbgW5/BK6Qa4fr9fDaA3QoBsGRvk/6UIQOfXmHt6N0FUeTtH6zhuUu/K9wy5fHUkHDvN7imolN6V4J15KwPAyV//j1ilzz3BZHzaudN7QzdTUi2h0a+FBM7fyUIEBbxdqK5UaNDc+ym76Lrhz1EH9AS9ZZWOkUsSPQv7meX9nRga0+7uz87GueuOQwIW6H7Lc3rZWw9jgEfATRQp0injiCHOV++5jeNVmyXv8KK8QNShOKJXkRY3jZCGKv/rZrEDaUlV6gUFmmNeJ1K53UQ4Kh9R0U2uQK4GG95tvW9BB9qgrMyspH0xB8Yfy6ZxkWarB+fxHc1fstPeMcfgmO9zuFzvhjACAXgwHb9V7UBz8Rg8ecAQ1r0S/ByYAJ1kCqM8aamvAVMRtX+EeFNUu+59GWCHnc/V0qGhQ5LKW0e6sfRdPtv9tChreRBt3F9I9VDX/MdCVZER7Dtnxl1JMZiOs8KCqq+kQSJMP7rZyJs6vFNafWGcXkiUM1F8BFCPylpCbVF4O3/cYT/K1QMNxLgjGND6/yGNE3WW9zPl20EcurIA3TSNs4CEex4GzC++Ft73EekRSSbefJmPoQNU6xJN9tFU5im7Sj5rgjflV2yVGU/Ge9U258moBqQ3FbCWFNBWqXOPj1CRPbweByrKrEXXYV4J4m5mM62dYeHima5xBdXlgg4lFrUn+HRuJMQJIFUJkGI5CXEsTbpIroJoMpA50LCi73N/qfZSHDQie+ozA9drhsxByhrf2bdRxk6Y4i+5td/8MKyIa3osLGj8Hq37MXugcNqToUZ7wlQRFlHqmGKhFq5cWyT+SlO7fKqpmCBcdusGa3lXo1UNLJZsr7ohDFy55SPgpK9n+bZaKsjMVzEJ9ijaedC4MaRd7/nMRTIfe18d319DCPDGVJNpP6xPgkEUXKZjJT82yyxf3FIuEcvwOmNHXgSGfoWF6dT7Bl3oCBQbkGpLTMFn08PEBmAGKrBr1icKjM5RHvfEwq0n4rc+DMwR6r5GCzJGD50Fh9EvuvdAprRtLsypSvOt6YU7VlnHiTYS1NSh2VV6TGOsrBOUgIC1So3PWalyZA/q+2hxro9dddaCpDxn8RBq6n/gQxODkuUwx2xluz9KxNrycGB/AonXpynMwcaYJRnT7GATpY5X21GGSkDhcMUtduoYAsjF1f1VsWNSGYKAiR3c4GRjDPyi5hopf+XKb4MhwK+djnu8FFV4sMT0b/7UVc+81cO62WFS9vttnPQVDJlB9B/MBOQQrEnfbECVTFeMYKeDY4VvQehIy9gKP55ysuNzVlQFuT5iElTPBwOe188UpNH+y+ypC8oryhEgPOpxJOSlxi3fFu4HcOlTz7FfXxlH6cY0YGwOGygrv/drnvHceBXB1BVmLjRSe+bDWMHGkqKX7zCkTlgY4fuBkdZfNwsS92SqydJqGOyG1P+VMgJIE47bhIxX+bPtPzsqyyRDtToXd14+iB8r6fQ2vPQvogSm2Kakrr3z0Tbgxiemxcz7G0j+B8j6W6Ce0eXbcT3XghBxRnhfthJOXZqjzo5fSeHinmZBmUiJvsOS1Egc3AvHk9FBM7YLhmjEpgGBTq1W6TJNwJdjyBN/PVbWq0MtvvEw8vXWJ7MV1IYMFuzDoK9MqvNTZunoOBy6lsPH25SbyqSVD/p62yCj6AUDYIA3f9HJcc72PkTVJVoxdbaoZXuZCgqWQeaFfoQ91weaP5PlvRhB4qj2hFcK+Z8gzlkfNToKZQt8zUy0UMZIMgve7ydh1qAilNcqThZYhn0kWBuaF7oij0GcvoGyuBt6sUqnxXm1OKmg/IHCjn0dxeOj0PHoDTcNeiXp8tQq93GdB9JAGBjamTBU438Za7Mj5Uc+Tf49k+3R7CKrKbdAxxHYDZxYKY8lUFt7b83syYIj73h6qA1+WhiUcvql4BAMO9OZ0rJqQTCVmfO/bZRu0kxsBpZJvruqhuHqjm249oJdqlxsXoihQszXI5GPBOipw8Bn7WWVqiScOONWazaLU1XfE/PqYQLLTnURYPmBL0hAubhdLDK9MosXGhMq1bsol9HohQhrG8zA1TMU80otYOMdN2HO1D56hgAniv1ZlGRP6meWuotpuDC16Sjcpmvk3BKQ+EvkG9lOLdg5ttIMc0izRphVsj7A4boQQ7NxhsDNu9RNmzBsGgMheA+wYHi4l1mm5v5DTepBy0EnxDn/zCa7ICUbMQVww7t7hj4BDj3pZmfE+R53YXWYoWcikW6FC0AI8N2cKSy4gbMw6ibn/SfjK7exI71BXvO/1GBCO7n492RLU9ECMLQxn7U8kaM6vYyWrhdhZ+aRVShgJJqdyjuz39KkPlbvKU9FxTMurwhzg7LRW3Lo2WayEshlBoJyCt4n/pzTOTLYh2orEO95Mn24WobKJy4jL+/UwF0iL07RQHVpiLnx5/9hdPjMbDqvHqEExD5i/5+UFMLMwae3KESnpoY2Azz+G0QTiUjfOsFTuL++rbr5hmvW6byg0iGrsRD9dZROADmiJPO6rhQlTjU824PDNfne4R6WMgeAwG619qOxfGMCO9kiwo/zWf7TbqRXwI36MOLfzU5ybgVZ4xGAE4EDS+jSPLWkRrzkzA9IsPJhmVnRrG/xPTTtCtpaoHUrcBMa0ijyDrc3QCbu+Oad6qNt/CIYlmdd0dojK/1HCEptt/HYMJQmShZUU6wU8sGWcCRNjQT1QuCsDwgffu/o1GB2zQ7Mz8a0Bq4N/6VA6xeZTQXEMYi7OTW6E6gmGNrtEbMqQhNsf8gSmLPUlj2SaYSHxpmTzXp9YsaQBRw3NixKpXBhqwe+K0t1O2XSccgK3EN3fyUGG035PYvIcOJ2zAddnEO+r0elplnEg0S41dhmnjiK4JnTG+Udhfhj9CVJK7hcWMZecPEurjUhdUe+k+xVnEeoGeCdkUqe6TvMLTYVXxQEPzH7RFFmrCtqSOQ7F6cQrtyDmJ3aDbqP+QCFCuZAqIriIlVT74GNyc4Ineb8bLyxSMQLT+6w5SaSROS2I6s3UVdKKKh3eZ30qAWDliDgpl1eb0owDROoR1C73sL4RGQrJ06clHXBFmquQ7+rUIhG04ZW+BTQ5TjvBoakfBsBH0F6JtueRW7omxxMNtZv5iUEiAPN4tSMfYbAz0GQdyHQA+YQhmYRTZM1/WJDFzoKPW1ImqtEXbC03rEidT+rP/KmXAwLLNpfsovzct2DcIacHcsZei+bUx8zQA6qFBhl+BMs1Qoih7IFjumSOp/3ptkWKRebKGLV+Tb8ipW9JCn+V9d6OTbAXd6NVD5JW/+5T5Ryv7mwOmvtIWTr/ZvDOaClk15ZGQi4ht4i5QBk2q4ayGua0U2cZhDpUNmW1r32rmuPPClqjqihAmur3fNgifYyE8SAsv+vrqbr3Y/AWX3CusN3Fkh52pB6RTK4VUZHdVqt8NEhEt7i32c6fc0DQvRAvq2oVJCwTRjWXmuHNvcYKb3SZxELJXsVwXo6rNH22OjLXLmBehnF0ZDKvPyTsE0QH3h1BP6+pDGCyrMkrxgh9iFelsB1IHc8Br/QS44K30z0oI8b1mpNkj5HEmqEZTUlnsutQmRm0TC3YCTcGnpcfA6ARqXaF1xoM+LD3TK0K7znGyYQRuaKz1FxYc1bushbiI0D3SrthroeIxMd/Nn2diytoGFyr9BJrkXu0JuXu6vq/XukLWlG0ZWx+SO7EtyRJsZzlmbCV/3I5qnKJseO1LaGn9KiOoiH8wrqApXyXZJdq6MEwEuMbE+Qyotf1+kLIOWeBwQA2NHgCYNSCwLF6d4k8N4Pw+FNY7i+oI3FPatALGrg3lCh3ub0BclSf/la4FNUfG252+Ey517xJnixymWR2aKfU70jeeIMU1j8I1E1DbBi6VZrFxO6j4tq2FnwzgzHNTRXz4k4+XpnjKxapmi69WqKvwN8ZLqV/hzlBeM8PkmE9RCKNGeijrir7tCvKiaIiXSiTQS0mHveNYFKjjTh6jPZKM/TNkbCuO5GrHMfJVtUReOUYsV4hj0aYjOMwKHiQTv0wv0iiT9wQrXnejM5MV0OzhCT+3nLqfG7vVSTKr3ahg07v0I6NenjUqXyVySfv4y1JiPhV0a2g4Wm5wrJCCgvO17xL9YMjELlSxSzqQeQ1TG3CA97EDyrjJspIxFfn4ov668vF+0RlcAXlZFvB7fgvZcP+ZtemRj0tMeQprMNEEj2jIAfiytd+GOkWouAySi7CRhp0bnJTK66pPtLXbu8D0XYZjSPWHKAC79N3vhqARA6Y3dulyy9oDBAAulM7KBeX5hlKCqkWQHnz+hKb3d971qSs0tvgLPDK4zplQhf3jgghM+P5oPUXRzec12VRJV7mWX0uaYlG8/BGRdpxcY30DzckBerbuAkomI9y8JMxjRWROL+DaDVBFBxkJphSEpg/6o8GrkI6z+9gG0gaCFPdXOTB4mWWRnFc6EmdDxyZdeX6bUwn0WY5g27wPgauKmOggGcUGTuQAsha/MZcoXpxlPbKa9lH0fKv4loKY/dIdP5PaQuvjeLCJW8HkxIvc/W3p5xh5FC6EqMyc9jlC/k1l8WP/RWksS/beRDzL5eC+txTgLB8eClAr3RwKpZa9P/SicjcrKYrhrVR2xzmxhBznViOB+za4CZE+5EDfBCK85jkRKO0zrOobaAw4kWdG6srlBw1Mrww6Cn5st8EDnyMtr6ytUOZtWQTPDN6nLS8xpbVTcfLmV7nnUrsdaZ/pnYtQ0sec1c6HxGLxHdMGYY/zlExz1y0btmzAQ3aREtn74S28/WIGrjSBXp9HUu/sf+d9u39EhgkIIkplcXNe/O6WrpNYr7Iea557szxuKVCOAe/dVUjRnrxFLmaRVRo0mGlwvB6xm0YAD1mQD5UuC5cx5udVJPZ/O1WUnmu+cvdy3bD032CUDzbvKTOky6WbVcN3j21UEDQmgZnaJLBMV37hkMZuOQ5ceTSnsQs155mt+LlKZmQJY0LPmsrj3xeu5n+0CVElKhSM1tlTyAugKZBWG5+AQjagJJW0wgBx4ie8K7LumGJy9Bd5O35K1FJ7kIZQZuJeF7kd5SOIKsNdyaofhY93EAJWStaG/djbCiW4XXwsLIcMqdUqK25zIGtGsx9tsIKXP2LlzYLQXSsR4UZpPM6TgvF5ekmIJknKUD1zT4YItulKBAakJRZeD6ZHQM/1+eFVS6TXDsoVJ8i97R7ZsU2Hn7rceW9NNqZ8a7EcXli4IVWCgxeHA5GK/bCheA7ZhgBKEPF87E8jarUcV8OBihGf2uDfR1C3+tK5cTcJYEQGUpKy/I0eNEHHW3C3b8JUW/XpICOSmyfr7hsXHxJYPSHR3iNfNHcHkT/fV5G60B4cB6yuO5FMIzSGKQRxXNAzPz9fbz+hnk4FEKZswT5qaZC8+5zkr0vT+s6VLYS45Jkpp2t1no3/nKLsedD1OfheALFOlOao+SLHgkEFyKP/VmVHVmqduiIIpXrcp2qVfeNNm0b2zWb8eufCHJshvaToT8Ky/K6r88CPFoLX2EmB+7mpC3SX8pBcxlG6pqL0navU7JqjF4n0H9IDKUpNvUyVLsSQbdjOQhTD4TLRj3tuAN8Hda60NsJLidxMmuowV8DwTBi8HEWKZneKV7NWj6gXq3FYs3wX2YLGCYSB+aJC3qScQH0GEpNTtj2g033+8iv3R4LM/SavjkUothjqbDyMrx1txtJFQN6NphlqtN1IIsjX5qqcZ+G+lYEslRUjVoYlIRoBBRFO73xA7EuCrGhkgjz5gqwySDDQwwbqujUZrGNhgOD5YmMdftcp5her4NFCR+XSGkOi0k+GolBFRT6IJATWw5+e18+xKeTX56Fqe1KErRL0Lw00ZkwTF3e+7QyEsFNjUMCHNuJ1aWyLIlZbToL+XHPk1j4wr64q79F8uA2ihvgxbnez5QR2uENarknHAhf9MKbCxvipk9Rjwgb/sEXsrn9g6ojmR4ChmjhoOlg6hk804hblk7nH6YiRTpBG9ZeTouE5PDBhnfHk61xT/vHAiLaRWECtZFW2SbM/sLmdQzdQd0te3uFu5t1tJo9G4fujYL81/K4x/S+3m0uWtaKyRbtBAIISJne+uD1D2RBuayZsmVK2LTVJ6yBXo+nn70MOxW2fMGF0+j9FpHypW7fkUz9XVmE4hDfKV+ynjHfeM19fVhqLMJ9ol6vH41k/jXKwCv3dJBXxUKDQbdG09lKwCFMN0vpGaPYzwOJ874LInC8QXiLMzcWoYaSKtDIPvj9mCVkOKTUadUF0cvDYLp9Qp+hM+YDlO3/0xuJEDY2bRDVea6t1J7jNtKesPpVm9O7y+1alZuPNNHIEZxJTwxEfR6vcPct1tReHO9shxd0lWJ/LVbewPdvDWbgNNpHXsuPF+3CCqf/7+PwUBbSN9j1jC7Fon3D4BYYacrWU560LreNJp7IoiisuW4ZkMpU8BSBrxY5MW55KRvcfFXfs1jsofTpn2h3KUNLrLZ9r867S5rxVAnC10VzNW74pv58dJs1l49XtPtyJQLhJaeQTqGhzr6XFZdRYJZY0uyIgfXv9peQHihChld2YQ8+9s85DfNMjXR4zsSs8rfU6YvVKny6ExkKkqhAU/j9r2Jhj9wfDbmdh006Wfi7q+oi/ZWy0s+fwdCOIvGDBIumsiCPRjr2+7i6McrFwZx32MKK0pfV4+d7i+z/1pymKmKnrFLw92XSVB+Uw62em4stg97IHdjMRQX5oHtqNeZTpY1IMoemPvnhaRTMSW91as/1tHqrKYkUQjNfaa/WtQpHPfewdx3saW0NU84X4xCbWomBRb+D1i03nOnMIdxplhZEfbITO+flC+S+/F+eZPJ2cl110PqTET0XSYMjBNM668kVF/Qx6961K7TkapRRelikoPZx4CGzKVEGXqHQ5mkx5fNuZdG3HROmRkpbS/r3Qgdvz74nEk4tjbPuyuCB4f6oab78JrZ0ls+GtGC+28hD1aKGCB5xnJjGhY/7cBoPmSAzOjHCpNtBMPWPooIppXJy7Y1bkfYpTp/ELNvwwOOkKHWLKzAMA5fDt//irRdu11aPsqamves51jeZHDnOYVwt4HGEUe0jFpt23Tqetb2AC8TTTb1pjbtY0Y1pZ1whdd/mbVTbnDW1Lg8Uf2nbDfnIqbMTYCj7sy+NWsdE9f4izU1292yQIhSrpQcm+miS5CF8MLtyq8JYQf8uEZRb+yGNOO439ZUleNJLf91rauvVEZkyMosHxGibBHBmO4lSphDY9ZBlOSrJEEwBTUY+2suBKvfRTCvLIU5kifgYU4qfhMNJeDE/KOVF0EG77kvHIA9eJI3fhx7UsXkP60yuYVKquIKK60cl2E1Z/lXHL55Xiu++hczteT9mf/rlN/x+jg+2Ke+6GAf4Ja0C+1Ag+UrT9ZUZc6xFVDf8NWRz+4/kQ2B/gdNaxIlI0ucLosdvSSXOSu4yIp1ODLWbdcneiiHUjENq+PQpg+VpkpqTdjhBq1Y0mYMcKzRSLoQoAo08guMj2q/BkrQX87SviG2B2vG9/HjHZOLKQAgpv/mES2bgqnHCd2G6I3rJn6JALqztXBKlklobv5B0CWpiUoBKDyjGmiky+trHQZfBkm8eb8CCS5uJbJj0LLcDTIlehO19fhtEwZxNwfE+S4Lb/LfWsXy0a0A/sKy00LtruSPBlitslmKOEG0OoC2gWBUajfOIdNddlrNaPmCScB/v8i6TiemITvHfhfHahckABFPvLEFYwW8qZb9CScbLMTfFKUyio4TLcLoieBHJFs6K8j4h7bE5c+7MPrfYVJ8PHvZSXE3Vp2tVSH6vmhVd0mOQiN9mf62e9sfHiDkMVZvB99fxAYZB4O06Wnbje1g+HA38GNTSF7o6hW9/c1WCbOUZucyr2TC8nM30KM7v46x1lma+rDBv1O0rHwRSajdUmNRLOk9RdhDe5wv6rkdeh4sBkywcEYARUmfTTDAqeKzaiM+elhJfFK8bk6Zrd2HfxMqdC+/3rkSkl43MWDRGIL1eTZeHZOlwku/ygiC6Q+JscIlm7URIvDW4YX1AQHVKpHoVf0+WTDwVCiM3p98lUrGdVoKk0Jrsu2hA/rohMt9kaNloZAh4OpeZfkJFTb6RPKQsWIn8Eb9/qD2yMKJgisuwUFm6pic2dFSQG/SzQSRZ93s27x44y893Tu7neGzu6bYMhu8zudbgQ+578V7RN2MTezz8s1Lbyt4waVyZf3i6AjYZ7qzPDuh9utfYrpFYyhpORu7izUoJRI/hlv0iaZzWSjypGzyROOOdds5XOf0AL4M1zBlpN0Ifl8Dd6svpnq0qgT58ilF2j2GHNOyYh/0lUNpm2mrL3qNHqzvIYkRo14h/ef7JMCJBX+p1GWwA1CFYtzlR3pWPe8WOe+m74EbGQRH0wvFEMlwF0S16i3RjyrMizIhJCoQAVn26t6YBe3ad+Ocytzy7rNlVZtGuJZ30GWcX5Spu7rRavRyAryts9zx03PP//WhuqV3XR+kYu8IrjBf5bTJqaR85Y9VIfHOm95PIpmfNRjM5KyCvYCueYeHLczXDp10VbdLuIc/US3EDEv1qFI00QT4am4Z/9DGA0NGVmkvS4gf89Kez2lp1O+cfOXP3vGYbJZFtyxLaJvfCG2bhKHUSTOkNRYVnKN+ifEbL/jbDra7zq4fCgMCy+8VkPbT868v/UBJTJBnrou+jXPKHQN13knODsq8q1WoWULM4fgfvZypiPETaL51NyX4x0TlrJ4FEO2EyxnBX+iS58jJTUuXAGZsEuVBb5L5WrgvPUcEBsCH7PIMWtrJZ7zfUF48GIb32KbcMSnPLdLraXpvuSnC3/IvNRDWLN3kcmw5Sf/O/CEHtTAyhB1xAbblz7TgCUrqcYylsyIZa9/X5PIINv3mWZrrjpeIvykEkDGAvxR2OzwCkNaQLzWfz/G9ZcbQxoPuuPnyH62T1ilQ5lUYU6vt/v774vnGldig0b8RWXZADD6pIIDgRzGrvieIh81pGH9AnR+ofmPzYM8T6IGK8qiIFAoHpKR8AEc47Fk89f+W6biLkTTBH5fAfP4R7JUphkV/Cocig7004ik5C0DUt6ZVOscvHsBqXriyfCzi57SndcKxJOA6GFciu90tZ33tYs9QitBz4tLHdayfFT8dI6H9/Z3tDQqiCi2mFuIP3DtLYkyD3/9ko5AIXpHo1x9vHqbDzY/MIDXwCtgrymJDwok5X94LJN4SfxWxu4R0Fg7BvFMUNf/MdkRXZn1pFusrg+Q/8QZ5YmkrvZzrjF8sTbe3GWPYpoGAs4ZbOhCDg5XLuLz4QMKg2pAIsKwPiAEFnuBNw4gako3W7lOUWfIrc9dJc5Z+jlOHDz/M2465oNabwWE1IAvV5A7z5UQeIrK5Y5pzBQ7hJbv0CbifZBAQp8bg05wKLnK8wepvzc4z7qz5IE0RTVVpygg4xA2524bUq2UerPqjXXtv7uD7BkvI99AfI9pOeP1DQkrzjneyIoDePjlNYFeHvYy4NqOkSn48uwqAvqKgx2LuwAaPZitTmunyU7FCs4HNy7h8cllEswDXes1ic66VYnQifgkba+JhXkIutgl2ShZcBisq20g1JlHs3EHBbIMUtQFw72Ti02FKicMydsKQmlQBTfnV9B31oG5YtTwwRYWYh2aZ7XrzF5JvdLflT1VyudnqePGbOsNjX/Uxwyx8DpDtGSXUt90rNttysuPPEluyU0DuAy7ezSmkWCZ7PEaEAaoDpeT1t0GnXxkvU1ee5xZp8eofudA3NpBDjEfRjY2upfc1OMj4nsSxAVKptPJCAhsc/vj597khhQxh2g8u8iJ6vjXt3dCia+2NMn4RQn1EpJx0NquZHXDo9T6VFrRYHDr0jvmLQjKMnTRSWTH/mG5ye6dYwrB7Z/1G83pKla8yqETmqNq58ODFVz4dP4ukFQIxWHvCIoe/g0UQRWUZT8xVNh4t4FNX3/a04Cbqele1L8yk/QkC87bNdXbhFBiigwVNQBMdfllH/qlOfyuwxajPKJACAKdv/a36x4Ca9MeK4ZcfuJylu+SGshJkNd1pwbJyuG75xH3iWBn46hlq8x9VVds9+xmyDJCjJalq1hv3vncZcbWflr3x1OMjfKfO86hsYiMJTv+gqQqYlS6vx5vqfECWvKqEAcW6XoR1Pk2LQdrIWeKHKK4Kg1HGCNSkM9gtMlT7XmZ496bpJrcfR5RanZmBQbw6wXfkCWnFrD/VF1EOE0frAjA3qsvdv2Eq4RJHRjfrI6JTEffxe2u957fJYOSfaRGZRBZRy8BxiN3aDyGkEExJtIaaD0t3LrjVouDY629LMPIkLeebgmNz5FaPY2LULbKoW2H3fWC/nqKpBTk4NbEd/AiQyot2vuK6jIKcedZwXVDb9ZMrPTYQEvShEqCuEoSqbqHp0WaPiDl+XBz4U0XPgzJUJUr+JAcuiF9FMu/2mp/IOQjdb51TDcXzx1wxmBFPEJ9e2FxxUNYWsDBYIqIHNK+af8+a2Iov7DbgoZAHXVnE0PseMVBdbQtYuZc6fwAbBSxv5teqLUhUcPPwa7q7VdWoHU/1MR7a0WB9G34bpMD6pOpVJhtCtXoeL01BIJxEmoKD0ikmtz+lgZ6ZQQfGRA4ayrn2PTPWmmyGYb9hqjbMn2IfhSS/Va8dYrlPy0aNF198/BF40ImQuZmgw/5+ESpkpNUoFuPSq9hoqCTdWKLwieDFRq0vfquFmnb4MDyqRwPaIJq0s3eQTwFbuTEFXvbROSI6QYlDN8o4ERxyybMcdBKyCiVvGMT9NuB8SIob+gwS9sV6VGy3x9S0321+LyokR33MKq4aLzxPwwrKLrMUN8RP51nl1zffDWPtBfmuOpjJzE8m/9+Iq06nj8lbU2sxY4sbkMUDLqETxJcFNxnXHTh2XRhNfTQ/c4l1HSNZntWCQ/qkaZfex817SXHj1Qi9NoxleClqdBQVmT+itbehEQO48hCAMIqrDpws0IvCiwUkxwbLgEy0BzRGnIdfMTCp6Q++3EvnU8Qh38qpMwfwpjaFOrDh5K3QwdGV2wb7T6YMfsd1tr+/QD+BGNnQfVRJhgyZC3+dHGCW7JSBtOj4DxpICAPv2QSeBdPjcfbGhIbDUfgDKQalO9A9QUcIZB+2lQatzeheA+84EFWtRMTrkvloMHOUz50QGGbFhsoCYvlnHaKbZhXziTht4oQDwzwnY4LKev+nAzmrjnaY7cm4pEAy8Ja4BadfIhYGPMW8ZnkOZ4W3YomA+2OgKShDXdEcnmKv31WP0a2gzpMc56DlREZ15qHrxH9N2/sgELdLQfmWtUn1b5uyTjBkoGGdxP7uwnlpVFbsWZQNVmWbMt6xhTBhgNEGAIZAQjuTzqZcIjyOTqqOYFsQRnNj+Cik1Rm7fatG1a/bE+/Piyz5LOIW8fL6TutGkF6rsTSlaL33GxrRe3Z0jXTAn0C5nayMnmxDlWXaoPlVp6yDcblsAb2ew5VTyW+0bIUVBXi534WbnKbyMEILtanKSyq2A17Qt39Z8uo+TqcgyvrnUZv6AY2gxDruHVBSKpHho+al7zKHF0IOR7Gtgf1kgSswFfu/2RxlBMZKvpOVXw+w25DHMWAXzhwZHHgTy9YJF1lF6CzOt1PXzGuqyDCypBocWdhT7FWsRu4htpnGCmdSjxCQZwJWmzoPQjVK/yMq6LWlvGaZc4C0m+rjhxRoVedEvsFIOJ54NfBHmLO52JUSvgBmzEWKQSaZjtxrScwzOsLBG/WrrxpwUVJsWZdMXJjZy80uNdA6wq9/rWusda4rl/86MTihHpf7zk05eJqDS8r1s7++ZqlZw3oPisfErgTkvslZPnzXvBSUCpj0LR3zMf6MkVu7Zeu/d1w5wyXWTk7eZtZF+i7xy4akSxifYdQldYf61IOztrg+1pq3sr8SPplGuqV5ukCB0vsTSRyKZsrLCksakmDxd3oj2l0P76JM36AuCufAmw3T1OWJcz9XEEcHhQr8zQKkTLt3or0AXEBIIxE+riHcg+Q4vzFY5Ey3pR8dGTZUDJGMKmBDPABaxXFf8sDyHgHX8aCi4Mxud5AtGE+mhBMLBXtlpKdVb0AoE8n7LnWfVEIcgc25ss3zmwWdki7jHIG/zi5H6NdEihiceEjhTGcb4GlogTUJJUXeih5Hf24N1XxkslU9jalR43T2MnoUlceROINZ1OPFqyy2FZCrhi6FbV9Ol0iiih4S0oMFw+8ykNjqcMdvrQKt/3fYMEGvcBej3CRHnUArayAineK1yO4D7K81QOor6reiIG/WjQMKv185XOiUDdbkD7JTRj0SDSZD9aHzK/+HFr3qvixdYy909auVru5LBY1fzk+l/fhoIIQ9dDBVCQoWIS1OG78vRGe8vpdkdnH9M86isaxsBn0Y3tAfbaOnp7BLUIr3NvslVbGWd4pB49p7WfXKppNJycrJiVB3NWGNgPIkE8NZe+TlxhK+qQPu4BUKr4tUxQUq7xNyKXatdvc31sCkECiiv5m+pIXHww00djsFMMWewrsV8duTysyNQtLN6JyDdbuM6ltkLq/BTGA49Sbt3gRDiuxMJRmXl2oBrbkQYH+Vheg5CLTtWJz5YZTtOvYMu07ACyJf7Dl++FP4f1ifQCWfMxC7ot+VaOSYTfH/fOdv5yngI9NZYPOVcDy3YP/fpMdd8VukYA2q2RDB+i+cRWxRDPwtVyubl1Y1DzLLVgO/DUS5VPuwx4uwbS+TUq/gO+HsGSMdhEoxEctw+5Otymn9e4derA61zhf4u//4I/xLWTR6aCubG5di0ufwhvjWOxJv9rqMw70AQBMm8KkqeiRQwuPlEtcLMlDLiWkg8cB3qrSw75KRPvj/y6LyTatRGS6vzL8uypyJXX0nANWK1M3mhFXIgrhaG6juw0zXO4r1/Aba5zjkI7yvhX0qZh9LtIyKRfP1ZgmwQ3jp52VxkYmHrCpwf1wWakjLGt06n9I56Amx2NtHeIump4RlRd6OFeraP4qlNvLSkk+nMmHD2C9xR45qZpaQuQouhNmF3tTaU+YCJiylculgYFfv+LX6zk4rpCKE+/HppQykyMHeWWyYJ7OQC4GXDII/iKX0L3VWiIv6XLqTOWknD6KJiIRe6COyzJyGuBX/zSH2An9gf1iunSc1lx622blnlIb81y3UGEO2e9dZxvwU4chpGnjl1EKp1vBXaS6xnhkR/AU3ZpFnn2EySOlPUmpuzibFdDbX8Se2RTSwxODm16KXn8CWmzAiml1L+aOnSByTBs0G0jXc8ds4Od6RcC8ZmCn9BSrBOPJ/Xn2eIIC1PwxrIrqFW25sFLp2ASTslCAsM8fskGC8ly2WbNC8oYn4H2owlBDxVFl2wbkT3Ib1aI/zYMXPfxUizPi3KGbk4F7+5j/Pxq9CwywmejMLVuwGJMr6tzndr8XUwa4mWLb71LAjm07NZafTIFtNitY7SF3rzDcGDc4ZQqTdkaoGUOvJM9pDUbWMW8AaIKbvFgKdWYxNuT2TWbceycIsrD/O19u8uA8P6OOhRCVit6BSoNUEXJIeptcPWyPYzbkHCCf+xK4yQP38oDXTK5GN1hmzvQN7F1/RrHsjRAkK3a/Bce+YkczBeJlJnlqh89oSJD9FlhOi1/ZAlsKn+VYJ6ufxH+glsCqSRC1q0rzO1hqRQprCHwR/gvOWaEqNfj2LM8ZZN7E0vhH5JdgFKQ8nPIBeDcZ9Njtr8bXmigKgYaKGDyXmqH03WUuVJGDTKsWpC5MqIU6PGdWAxpE1ESPHri2yo47FwUhYkWMNLZmkDAahNQHYJc5mN9z1vbFClP8Q9gSydojZmsa17iyt9mT1J1oNX9f66XCJzaPrFvrS17NSqShVkS1FRC5NHiRJucspgIk+pzaDuiT0BvZNkQRGPomr/hGhyZIO8gBbDBH8HmJN9qziA+ggsq8vjWttukWX5nZKOp+yIL1rjKxdfMO3V/tXVgNjGapLh4MlXY9psT9rZdaRKq4J8QFGJZ/ZL+WlkBto2uC3qUZRFs32vO5rewfQFPBPlzqz/qY3hTey16oDAug1RwpC2sxa44fYrlLRhLA9oU2oLWoalTHVQaHq3hBxlc8twJ/CFGkY/foy7goT6Xhv9yjaOrPej4sasrk4dsl2uEYwBHi5zipMhhWrwAPvwCYcgNkH20VcWegXnhdio0nplqoSLAMQqMujaYnmb1hkJSTwRSizbo9VX8XsqU3ZWNwrkRt68xbmlstxSIOcGYA7TGrj96KjtfeHBG6eZMa9cnzXADjubJnWwr71RKOcFqjY1Roen18d11fNEg30u/uMZ5gsXBZAlNmxb9GjnE9Esgvv/PNd0EIcR4EhzlUgBB1NchMvSHea3c2ldyJb7OvU8vfRSJ86rpQY+q67TdehjVv0AODg3YHaqRf+DX31mrhoNxweuitf8D/F5ejHvnL/AleG+VUhhJlvYXuiRtHnFERYXdbzUEn4hnK2m5s733x2UwsEF+pWQAAC72ZWtHnQ0Wm8FFYjfhGHjdQgndZzl8N9Ux0c4K6p/WzFrsUOV9B+JugDus0s9h74MwXlFUbenYqIGCNu2ae50w6LoD9ajbAWvNyiKlXtGrRgxhTcti05/kNwpmb/y/qqZov9IiZfl5EbOaGa67IuczND8c7yVZPd6LTHqlXTT6KGAYDSRqE+s6QdUghxXHexjKfFxMqnJ+1qx46bl1b6W/SJNXI+rx1s1/T3EOpaJkadu6tUgl37Rs+xeqLDj4GyTBL5U2gVRJMX4UvpkuFxSX2h1oRhsV8Rp/5jCZIiROsoihlTCEJoDWoDCHHbzhqCFzakCQfum5yU7hEUk9LRYa6eIlZJZhd2zGuP7WpyHPhDyG3T0rn6PnNAcFF1NdBSvZ2lqpBmGCWH80RMIr4GpvevOUkk6jBjsPkMpc//evgN4NyWlQkyhA5MTag25Ye8d7Yeh9jFBDUodUzIqdR8znpd6n3rsyIAgS1h3aqA/3secp2ZVQeYpcpYZC7VwkidTGHrYlooZrqLtpdxSC3+1dUwX9R5z/+gorjRjZFiImJ3UpTXPp5yZ5w/027maL8GtD9J9p6fTb0J5q70e9rxtHQ5bzSGT+UCzc3J3hczdjxfXLg9SsT70qnINYgBdyNhhgrUeLvAwy6+zxNw2vBS/8MB4VU46j/jMxvfrqsmnpLISNAYk0ipQyh/A9GfdYFCjGkUBTB+VXDj9JFr2JMSrEFSIj2Qd13YCyVgqRTrwofdqxXlhfTXGm/j8v5fZ/2a3+bsDltc9K4ZLcRJjZfeiRsfqSbfEgoC9Vswkro39RJFEPk39isI408ycIewTwc4wS7MtoESEV/9H3xbUx3VdFBWxYG8e+3kxeJ9Znfoclt14nj1gA0J+jDg7bA/wAqUETUv1+MAfgymrmyQprVHZny9bTXhu0hjTTJZxmzKurMw8eg9PWpyJTl/qv8d8/G292XQ8XZMIcKEVTGG7oQSiLcMzwHpgX1ul2ENzlgxgnJc1y5gjtfQ8mVQuiy6xlyZUW9cQtsrr/5slt1VaSkZKOMu3e0n7H2JoaTARXtTyltbnuWyp5FJkY0L19qtu4b53zAwsRTlSQI4l91y15eF+/XDnG/nS1pIOPG/lLu3l/9hxrqMHUvb3PqSM8T4US7+25+SyfYmQObzP0LcI2/caJpOVQ+tQimuxkSF5xoRFg5fyw73Kld99y2IA5ZEJZl7Wkpu0ISxSN2uyvnzD3aGdJOjGzENFqSX1tCoerxYicZ2YwdVOChbirvzaG0bQ9pIKnm76Yz+YF7XhU2g+1R88quSlb7UCAOgcou3jGVHW3FD0SDYnlbKRRdzpk1VhUe5HayPaoSuN1il2t8AD4LPrzUVuvDqQWiTrkseHaWaZ6mMqDdydj4diAPVh0PdmTFEL98CKsOwokSRrktQTTVYd4Uquq+WlBvs8NafW/oLxUxvNFTXzWRA0EP9+VfTO+SmvFax+rQ0ywqMRZ1oipYW1vH4uGjLFne69CiWdY3cpsm9tRkAevddfpq7e4ScG5atNrt+Oi8AHax/ToD1Gyapj24tDnDcMjrisjBUEUafFctiqqgHDQiCfTwkPRBx62bn2DiRH8hWmzst7xSzsiQaLl8+Zv5JEjj+SupXRut1ARotucTElN2vI5Di26OYdu52tGY8J9avj+tBHUydTHbwGyT1hU96033kPQleTjFlomphWDCTODppIgfyCksGw0H9/Zg4QUqhJ1IH+F78EFaBH83VgvOXamoTt2HGBhjzayd+p2VXZmBopIudcOrBF9zUnEEznfhuYjwN6p1HZTKi9NQIwfX6UQeCMyrP3yw31Qd56UMIQYO+bl2eFvEjbpt/1a4+h8Iya6j8UchTq20NpX4kGl63YXTi3hfgD+lYcENAdcZuuaCzPiViOEh59zKMh5R688Dyt2NUZIXddLIPCIZfSBV/cY6yrc24U0KcgAXdqN/Dt95Bnqgis15kfMWTdmQHbI+vdb9Is21IqM2RvvQEedPVh0yqni9bEgqmDGPK+078UU720F1R4IYofJ6onCjyzWdzQjY1qGDES6lAGRlbUx++2ZmIbVmZp7L2rAEckcEDWi5Jr1ypKHYi77vI+DDnHGgEJa4E/zoBvEZTDKlXCJVDsCK3d9dQngke2HaA/bd62OxM6mpBRCfm2I7Nmca8Mluv09Muv65vJQxN0woWQRa1vDC3T3CxGSb8zU1cQh2CLdMUWlQGVRoM/QGlJIxKSC3VViLofWzV9MeDW7PHyGuCvRSpdxjiy6wJpTU1jsYrZiQwbcEnM7ioEKoMvBDqMpJpNaxl13v4AZP1mk5thkWfuhT6lPPSZoI6Lc1wt1sR0sRF7kUSvHZW9olXc7+9qGVUiJnIbYnS8BbUFuUDOcO/4UfnfJUwkVa3I6KVFMMr9kSSIVhkukC9FCJWzA+0QmfOEyz/Oo89RSn2Fhm7hlJEGZz+wXh0IyD+4PCaRZPdKN8DGz2NS8fDWMIC6Ummc0pZbcfgVmcI7ly3gKq0h+aZwlJJUa6lW83Me878RkqrUfny94TkulJHsBVU3xRAa9T2wFqOO1AVBTyEh6EkdmN6EhcWB3g13Ld8q0kyEcMm7RLUx16Dv1iG9gK3zrS2QwquKPDBT72jTwKcyQYj3KpqdcPsJaz5QJyRFbd4v7rZZGOMwiwNq6lKc6Vgpi/TOFVnHqfYrC2khLAavBuU97DV6ACWJZdnPkp13IA0kVY205DEOAsveTvd27MiXFN+qyMxZ/iHawzWpERoXXu3NZiTdWHWyUxwa2MizFMP8tGVJsNU4+9c1zs0kCb8DwEd5AqqDmEv9epSStA0KaHMxRpMlaef2vi9vFuhVxWDp5xSZXMulCFHHp801m+cuVDEp4lFWpzuIo2HN+y+2A77/xbx3vO+qgqpyMYO3dr5I67dFvy6EBZqs1VX90/XPCmtUM34BvFScp/i9yhZrncV7FAE7GVdv4lhofK7RVkV7tr2FKDqAPs0EkMaP4WpAMsPsZa/rKBpLWmdefHsAmzYhHZhcP+/AHUOewEaQFfQqcft7fdNZDPB6q8qQPA2yEQP3NznS82yYVkOzEJav4cGmoT5nIeO/uKXS32mblFs5RrR74HnlAkhNbnthZCSPWh9QI1ar9FHww/1ASddUJXsasEEYQFUDrTZ89a2/YD/v/QY8oej/ZE7AI2cid9iJ3mwDuV6MnUkSz9FMKi3ctas8PHGvObAuB+LNpAs54qxvHiZ82014qOoB35ZYpI56r7ZyJi/WxD5P3SKRpYiKsIL0yMAai4BtVa4cxL7K7Bilo7DnwMc654gjO3UtIyY5alCeur3AvMveScn7LeTTdk7NzYpLiVtv2alelmHCMhuWhcVcfLJSIBuJBlx3Gej6YhbjiTPSqvOodWydLiky8fIP9a17COGtCiVJBEh/fYUKKYInXslg+82EXc96cb4m6Xe5ZGQNHMP9c5Wt+h3Wbt1vjD9gUSWRToODKBH9ayBOk4JEdY1+LSgO9qBTjCKxUcgkej8zjC+3W5+JK7ujwuVmp55rv6yUt9afEjvf6DYyxiqxQEaoWunX4ia/LkWeP+UcQIpVV5eZYfl3Ng8MJZ4hCU0F7mca3z+zqb1DCwCjqc4CcRFpx8mneEBx5lNHLxLuNhnIKNciABwhivyAKyW32BSnHAbXi70gZalwIN9TQX5Rf1cJn+Fz5YhaRgNZSVjC2VbvBVmo7rTEZ67+d+shUW82gucaLdZSzZwZ2MxkiGhXvT5S3aViuYpiU0kxjCGq+e4vWt5GFMAbplR0CC/2WlfAA/Mxmh5hwXPj/KdtwTC0P0Wn7XAwpodxG7OuemIPNR91o47PW+pqjN+RJnG/XMZL5VtI5pOefzgS0TzE59VGAoJaJX+m1SehnrXcl2U9csqmdhQCLReB3F2mJ5WlqDA0Or7tNIioqadNN3F2mDJ72ZcUSKtaS4l4hnTOIhjspMpSkeqszrYl37MCylUxbmObs9BRNb4KZO8NouEja4ZSY4K1Ww4LnsweRJ1DXrUZPpIypp896zkKlRdPzRjjYBntG3aNjtWhqV0sVLnq1T1DGHS9J1aAsgDhM/pZ439kp2G0ppQJEJ5rs6SKWqzFeZsL9HiSlo48EhZw1GYjmfa42shli3Pm76t3mXmYdZg3Oo8AyK6KDBjnxqg/OAVnkzsSEKZsiqd+C0BRRoT8+tbf59X3NvceeYXz20kMdfzn4WN/hgacGKIKFFyoze4JOVlnQaYqWUGRDXtesrskaghDSqWnZ6WC+kkr3RpeXhezvQpg8fC5eLbf2xCvPs5QRR/W5bmwufhnLT6cli8lHnI7qNaLdmNHD/P53LyvvAtoTFIm7qS/ddkP3FId6eCKHSIbNNfKFITsZxOLRFteyASKcrH+1yFi8Jwl0haGHueDOrZlSNJK7E9j0bbsac7tlmf8M00txJ4Eep6PaTWoUIfwho/Rmpp2WSdqQckxxT7NKjrPCyUte5KpWTu99Xuoz8Q9NILwcFnRKBJT7sjmZh4PP3dK6at23qE6qIVzI0fTUihGc8RWgzd2+hNE8FoL/d9tT/KvnuZwlvb7qVnEJB6IQIBJq4yPEUHZFe4fPGq/caEpULNSsiYeuPcXkuz+jyfWdxq0C/Rsh25euLARb+ro9V9Gvl1Azsuee1tOvo5cNgMLXxjHhJLdYSoQ2fOO0iiELQOWTzmFEv5CuxbvgvluXvyhr4EPtuFAg9tmmYP0cGZqz+vDAs7nLrjgOPD200yyXflYd/8LzSEUkZuks/uTy3ZgYACl6ZHxLqETaQmaQO7BOteCUD6GarU0cdhYe7mHbowSElufI+kvn+t811UK/xaujiPzGXFHrgdKf4uADsG7xi/xG6ulQadGo45wt9eniLMM7ip9659CDBLgHtpMJPo/MoNMzU5N+ZadpsigLRjhpWpIAzwnDjF6utR3mbOOmLqiTbxtG2Dk6jyTRFOsE9d2mTGsiDrzF5XK0nTpMuNg7manqgUic9HbuvmsE0VhN04cZ1G0fHbrjPmkKS44OcM8Ny1U4llGtZ92nfrAKvHjUGUnmAl4WpylRy+hkZzrUTXUNPXDZDd3WWeNbLoRs+lubk/r85Rc7+zd8/Tuwt87Y3DPzI1RIrCdkRj5saBDmyXwWyIyByBHEm4H+hdf3EcSn7NUYWyUcaLkqQ5q2Sf/AbMp8dKumsNjTqWw0m4GZ9/Wwtrbhp7cyx6eTfr2dALM+9c9uZGsTIvkpp9CCuzAIyA6qgnQ8q1bKsZXj7vagBWINYyuz3HL8+mqOeVT+yx+387SMl7zR1f2j50UIVuavBntuP2vcYQgJe7FPWiY3dxjb97xl+dEKA9raHlCeRTRH1DtG8f39txFGFaxqxaWXjDJqiv3j+y31vnbkvAAhVYXH6ZmQHLswwiFmq8QD0CI5N+l05hMuK4Y1rvZGDIdHxZGfxxQaaREepvDr+w1JvV0EqCjM4w8ScjCRgE8EMsqCLkza5dXz7/ki25qyU7YGAPGzdA6PiFfNbGOa6pfLr2ib3YaG3nAR2QLnAXLKobHOVzLKLTSifeeu8VVm0pPuNoMqSoJoMy/eIDgHLrwstcMbl3MxLeFK96maDcTLI7Mpmfzuz343bTYztLmoMTmvgIM8vVDfoRwVVIfDBFgGbvvt5asi+ODY2uJpbywTxyUNoGzqYBz68pDAm42g9AVz8mE0n3Ko165EXxiM1GJLz2UPuyaZNpZo3ukoHQnv/XKhleYBfdQRjXsx/NngEz5aGTj2l0eKjErLJSTUX8SNQE00v87PXB6++v++WunrPO1UoUdYWP2QJILY+QaMlXY5DXbpgJdQeqY+p9yAIzgYx3ChN0xeB0J215691pvbsMyCiTjcteNvDJ6RQKxJQYTl2RjBfVZlp71qNo4KHS7XlnnPBAPC4EdCwAfg7RnUfYSrLps7NEnJNhT65DXempXNaMffloVMD4XpIXjxhfruwTvcF2Q7AQ3JFMluxMncOhkq/XOBXd5RpRzIYzjQvqDOLzev8UPLiDikjXGGMv3A5b8DBwo8LqE9rlVOhmJv+FqEC7JGvqEPg/ZE+ky6lhuPBFrvKpi1lmjhJUJk1eXF/DYy4mcS7DLcVB1gQv2Z36bDKwuJ4dBdmOhCumHn6UOdZd4dNhuU+O5bz1igaVeap8R+Arwm+T/no04l3tTvlhutCORWLgSOFc2K7XBlbeGXnYX3kSuclRzcH5MZl/DK+AhL++UnMXsGF8fMeB4ihXU+Msan4FGFQylM99x12vARBUpcyQ9rQD3PJ1PIASbSWQamhTO3wmcdh9e2O9byhgW6jbhK8NRyLCJuZ/mnkLrnqSDjXK8bPRWNd8dE6zGWFNCPMvu0B9g3S9lSL5tWxls4F1pRzBKujbnE2BHJ3Wc0xstBqAboYnrhPYHoiWbO4MAhOUuBdgscEFHSbgg4yGIen+Ame9P0FTa65690xjrypd8FZDmCEuOXmq8as0mQQN7YoWJ89+b+pvBgPGVfYzrhFcMHe/Es3d8fzgrKbBZOMM6lc+cJuq4zwlCSPreM8CdG+2woFRYBu+mGml45ew2oT18CJeg3zlRiOwW2q8fg8Z9dDtCK9uRBt3mYG01/L0GIXMTpFwb2k++iTKNDa4pzaTA2F8iFNW2u8IV7Cp2goubOlKFmB+LLHg2Vm6lb7UIbyJzyUG+Md/rMZAkYyhoHyyJjgq1VOTzveYkVCIzzdlV06SnAwJaFs+IBYYlfWN4xSaAtrS5nqhG2FQrU5JVPiWeDLb6fJxFUHTR/b1WJSoR1ly1BIGyCA79KcJcGuFbepy3dFMg4H2IgYi+MWIUsp6cEJ3ev0jnEqNiiMxLAWyw77gAsw39I4coWe+rFVMXe5EcN6INGFO2cnE09RnLxBaqdqELQgy8163oHmOgNaSOgWCG5hnDAI6jDttqljgXpkD/dpoFy8SCP07vNcBwGrOOJhJhN+g08sdvQc1R4+IdaWsIxbfTzf/3BJG9+0wB0EMm7fOJ2ULhVRpKgBTG48w3WtSBVY3IRRn5yji8DBKa/FfzVZy5E67z/7KDxyAxqeuMrEOm3TZHzEBR7km6ruUAUjCR2lUqNsL8vGcjnfvN0EAJfQ8Vyty9mzC3i3J0PvoS8eBIw1k2XJi9/YT55+bOdK+wQNa1iDg2v3NyKnhxBWouujF3Qt7rg+kuDBn0VbT9Z50Rxg38ydpn3nc+vF1Tv6CM/PsEzvWZ7KsN55Qev4apQlyShJuiaeebyllkI7WVex04XhlxXO6f+BUU4yQex5LCQ+SX8DfN86+yVnV07pSLKE7i6FWTUgANwCXOr6fynaNoBmhYM/BiXqrBCkdTBUzB8rBxzUEojZIgjirv/Rk5gYmNVCR8h7lbHEbwzWb+JItwyDDc/JBdEYYaFe30PafzIO6KwWKjP3JDAuedluGAn34j1bZ4sC87VGot/M2BQYJnZy69OsbZ6qfYHOuu2omBqjRNCaYof8tUC0xUC8AMa5JDnzdiS2DVhqGm31YtFYb888S0BKuFxr273pQ9RXMX1SbAmrt7pXSwMn2m0f8IwUsdigQuJTs2+1e5vtw/F+577jR3TcZlHpZ6ZirYYEln2/749D5Vhkufox1WoSzRLfJcFg1Hhn9iVaKjPuBWgV8K0ZyCa9pVk4wV2dDDDUORo533rfc0h8EwhCRvJc1BRawF4vH/2mcylzHqtRCoSgusAa1UYp49fojmUo0rITazL3hUjggMkTYsMF2+PjX+Or+HzeXgzHSKhffNSq8/UziJyO5qoW0FMuXFol7S6qL8sR3pgNIIzLFTzJ/N42SQelA3HqZvuurWJ/R8VtiMuT/H2x2tBB00b09MQ8bxfvQdGEP88RHpkKl9Tn2JpYMtsE0eqJV5efssRDBd2CBNIpk+7abQ5m4kMGJ5uOqKyiVQHyKsTrdZcM/DLMeLuMJDghRBMCR4H8XSEQe5psc3s/38cvAuiOnfOnYFKTrLC1wrPWmhQY6zxthf/h+urN1lN+AUOxetAKoKCxPHnwXF+rweNjISN+TCgYJ1XAiOj927VVRbQjaHLU0WwBtvuI8Olje6vOHyxOyR0XzryIad34hx7tGd4R8rR4MYpyp0ljAadhB5z2NxsLOrzlmSNuyi5iu/UX34yXJrV7Kz6Q18s0pXsbf87ndSoRp7gI1ozgIUTzb2OXFmedgCkIgz1VSk/RjZdtEhPaafpW0EA+Q3YvMqBxy01QRTQcZz18Wq1pxb9Fj+aNA64JzbDk5taYvOa3bDZFSbwFBOBE9/Yi+JpUwEMiWgQKG9N7aEPbGaacROGltTRi1ZXhmyjm8xC/EI/JLVreAbtvJF29DqWL/4BO5Wpso3U3hrZZZjcTbHi9h+m00NNLb5oOtPjr30MFilG7YDH/c0LxCTY00SsaFsM+pUxUOrG8nGSxy9wMOgfyf7r8W/fS+vPuAffJgOIr5w5f81bVpriqqmle4w96IiMSKDhY3yBeAiFbu1dqBn2jRga4no0yej54i7vueHmGhnwUaqdEktLVDiE6Ooq6sfVDRMA2XUHxaLdK9U0Wuisj0hm+rqRJx9KVzJE4018HjkvapwFao8vPBuCyzVhaeNhuXmg7VcYEB3MrE+J7c5M8Rx+n9OYbVy3ej7pLq9ueABGBPlyHe33uOz07V+yspJq9ZJodHfhS7eThT3gFvzJqnSCqTPZqHtq2p4LbxxD39rkYvbhDSX1rGjNiWxhZSM76IhkLUJbDFNJVySiNJsA/YmLh/xkK3b3HfAkeJdUMoRX+RRkcZMBWW01/qAdZpCdsk5ZJdO2CtGayq++PdjkSGvePj4z3wCU0wbWCcd0w6MX2cRw3khI1vD9m5dJe9i7g117ujOioopfWnWa/ZcJBrZVGjLfJW7LOFFuI/o6RMMX+v9XWlV8wOEteYpVhKfRvfv4qluqfUkfALVGzbF2zi7Y2rv+7hXtRwyWCznwDNp5NhnrNql7gWystn2t+Oy6wyyUtasn69j7VyVe9cDUVl4VbQeEgJVp68ugPNoynnmq9GEvnA1mUFO6ID9ypgC2grbeoNQElOIAcqqow4qxvdQ80apTeuKaV1GMhVz8BvLTvQstnyaKMBsGmK2SU6+uitV/vBJ2/TZeCr+XonKzrsE6A2knVEOsXybuYQp5ovUOFuD9khS+JG/mB5FpFlJaIhXq52LUCyAzarQ8wr7L5mTRS4Sq5Gg8YdJenOpGHSGNIKgQSZh81DSNXwgbdbMdjY1fOAB5ogoA5RDku0sQhqDuYvUa0wnUslPpOEDwXqh4EbM9BZsG9px5u/hzYgROzkkeODmxKv6FvGwZZsjq4NTSsZncq7iQHJB5menqwZs5BCnjw+4s5lXn3zFX/YDU83RYDwLFSQCsnUFpxQi8mB5xdeNXalialuSiECPwT1vY2lBCl7Xa1yr0ss0aNeT2+m8vABPl7bVQnhPlo20JNoZhNU4fGh0L3qg3D+VMMfs2/UzpccYuQlwCThpfSlt9LbCE6G5l9YOVVdzLckLeIDvhOq5q+VHK83oD6K/Zfrn10vK91unvg0RT5mURgLYHBnMOPd8D1T47H4/6w2yqVllf/zLYNiFf0SLWzw6uauK1G8xdl2ZXhi0Xeptbgtzlp3cReRs7y7Tm6HmtUORsY6j4usAQV+C5uMgpoUZ0+CWIqlgB6mPkg2/LfQn35U1v1IrHOJbQNtyAY/iJkDGj1Rd+2+4DzIvZVTsHxDiDJjxAPTjMCc/tPMTRgNSHWNs/D51pR2LAKP9YHMcEZG7XYp9jprP/iNRDdGLcrhaYCXFpA2q+tX2MXujTKxdhoWp0g823mrue+mQ7NaxNqbt9dwbmEGGO5y9qK2VWaAHOjq4CFlrg/QovctuxObEuf5+V/96jUFeXIUGbi/f3Ok69q1i75S1cAgAQnl/HlYrRKumU34GcN9pgsVMKWNiGpJuqRGsV/OiZAQn0FQZSy1kXqCPrnmWwCv2EgzJf+ciYZyClPvK4ylO73VtxgKsuBtu3Wndmc6Er1QENg1ESQkFFI8ec8z7nqcVrkDCzQ0wa9kXGobGESKP6KP0HawbxJbdzJn4GW7FiIJ57XB9Z17smUhrXQAzgbLjzgdFOa5bibEDUaYfDn2pblyrb9sf/NEE8DcaoWIkK8vn/W4tOhkiS9I9TKTlpdBmLwVD35ojZQdSoGWJPPMlNDl3W3025usgbRZbYl/icxM5+m5vplux7fZKXnqLlvOt10Bnqr7irYo3ZBY47F2LCjGWXF5jfasIqQ99oQxvPENXCbF6BO7+zyae+Algkh9gND5oPcLEJThdAFIbekkzoyYD9KJ2Dw24Y88018iF22xEEQ492HNkY/RsAb21hlF/A5Q0O6pAgIyxGtO2vI6YTKbQk8aSsusKGK3bwue1uArW/vvAon3CC//KYo0jPIxGOBHm5Dp+PllIIYF/7v0ZQ+juSKPv4kWZaP2Nw0n2DYsjBr1r51/w5s7zPQ07eFp8t0bL7PETXXMbkbtkXS5bmnapOg+bz5S+b/uGR/jZLSeN34BWgobfU1qz3KVB9OKhDRKawqe0NqB5rzELi1KsV8inkF5IRPck8QWeh0hqmGS1i51NjJskbF3NBQ2X2xi20yqM70cTqIydkmD4EiU8GPI2TU3zcmXX5f9gLML8b8e+9VwT/kl3f/SexGJ/EOmerDgT3A11m+OLIjDHiRDSkA0HcvSkfWI8Uaf3q4UqdSgN47UO2sbQ3UWoDHyC4HfejTGr3kr3vbZLwXXCvZoSfelzp4t2v/Mz/sSOPSpVaebl6Jif5cpn3i1bptu4W+yBhPmxzHukSsyS/qfOkx9d2nnLxm79vlBG9c0iUdM49qdK3j1aZu+TfsIwcWq4XwevpUFoq/meTWFBW9vziUhwiG3JoMdb7U+Nf1T4lxRgpkY3KkFqINpZeCNLxp5o3jDohqUkVU4r5R00yKcKRFNRHMr6UlgXPyVo/CIF2bmU6Q9zL8vAJIiM6Otwn1Da32fespV6c1xqawSkPBPoRMBdWSWc+2canQZq+8FdWM8olEViu1acgVaPgYeV3S/f4iEcaPQEl/9El2iTRhaPix9hToVVXZ0EN93IdlGEgb77RWhpU18igqLL9fEaiHF82pyndvUqFBo4jHKm8gczXzB0T+xCJ+nMblM0in+rSNKNPVscF8PA9JjHMNHU0urSH1qPOZSEjrivPVO7Famx+g+T3cimY9s9gYNQHcxmUoiQVJC+O7ce03Vcl1sIibCpejiJ24Uf64fad2PMG7mVthI5A/+d1REu/T9/8DHqJlEFVGdzvU5VbpSzpYiA/OiN/ZRswgwUPqGCT2u3gZ+yCn8QrbXoPd9pfPyv0JiZKGH6GDkYjwXyI1c8WqMYNoGA9gd1V5w/3ni+IdzBTtEygQnUWcC8EEq0hw8PVnfxuaS1vIQpVe6VJOI+3zo7SjkmhEWp7pRtEF6yATryfA5mOViawiV68UCcs+Vtd1884EizbG8lhMLgde9leKulg6AmbY0vZQsurmqENGhtv+2pMvhg97RxPS5Zy2FVATYF+X8nvbdEsQRK0b8F8ngn4hcoOX3rq3ZHGrMe9QgGI+wac8TgH9pNyNJK9LY3mHI70VN7hNib1oHRL8OA5Rv03wypF3MYZbFcVPLjLo6R7WVnmVJnIIbIbbP5zUKfSVYDrcBQWWXd42+3Rorrz5c5njz39K0kvuqlp65gTetaZVvOvJV5KkZxoxPoe8cq8utdeGN4upMx3EvTXUjmYd3/TRs7eVpSNZh8hCJxgJEys4TunokZyJxkL13tkJor615AGFKnYG3MYXruBLyckS4cZRFW0I8wz4B9kQHw4nfMaTedBG9eeTFebvW0jxuHKBf/Hld4dzx0KK0r3eSwbrmjAp3P1JLkiCrGwAaf3gHzzga4Gv9c5I+CGQWwEtu740R/Z6IpJtR3Iaiv4rbs6tztjvvtHPbvhV7lGEYwlUUnLGSFVK5SyjiOdTrP15APc5muhQjiycSUDsFGWNAlVm1xutqVtqK+9gmHsi8aU5XTecujgjdl4Ra/jpIXEnYx7X4GEPyDI7GXgQnfPM7IexyRWhtHVvRgT9KaaNYYy/IIWgH6jU6cNIcKmM80MjcvMXjF4zwlQ7/07jgHDGTjP5YNFMmyVgUbl3wvXnk45/bvfCZoGZyQo1Umu6ikDxXrrwYvj8XUmI1Hr9CKhwgcXsO+GKPo/XXxwTdDW/lOs1jXKV6nkiJ9oPwDTLuWBG2MR91iLGlFOtJlXOlszISWKWGUBygiyuMyejtA6Wal/k9++uncZ/Ti4FVvXw3nRuZFGOiIe4t4u6r2EsXhwPzL/db98ga1Vo6BBmGVLoB2NYFSfjKtl4u/o7FIvNn0bYZ1iRgCF3OgPH0lfwvV3QLvOBGpw2nyedbby0iX4UIsXqbPjrRpamJPq2Bu4EqvbAYeEQRXzDJ2bPTseJwb7XzhkYiXqbe5mVTl7FK6t+p0LHGyPH4H7IFVBTV0vN7nmscrxk63dJJYldWtL6O1+FPYcQFPh2B9ev7un0egzHn7TZqAKPFobLHvczprQtCZpE+1dQumKQOm30Ovu/gy/ajITonamrn0QzEh0Z9DxIzWNHqVb9BqDFSzWSOlAzZCXp9MnffBy7iZUhxVFIGhUvly1XcGCLxUClSNHTis3xf0rkzPQImJh9dkomReDZAMW4yJBVkXVFsMFo1syyVivx/h4Jo7yiFprvwiHiBIla5a/WadarCe8U00eMSWgcsVHqB+eaU57b/RqPtAHTCzqsq/5JWv6eWdpDS17nCpbZlzH4JkmQyiqKWtOj2S7xh66EowRodONraGNb6CKbvOBxhKfOvP3gGdSwTb8FKf1F96hanlr88FQZ/6P9AXjQ0VNt/rSsSpTLSgQkUy+yQWaxtVQjUEXbo4ZbsCfRj0b7ozOvhTy4/1+FahoeuP3gyo8dyR1yxzstz4XF/hBjVsQ2+8gMRl88KAJ6OdFEb7L6IJ6mgm0Q3pWFQB1sL/3aCXhXfWIGCtmLHXLHtuB9wTCEROgAlQHmHKSCTOxnOnmg7zESWftOEij4fwnF24159E5nKjC/IxlbEXiKmKnG4sFjscv0zFf3B24KwEhIAvaJkVQ2jBSsIVV8SGP86ITuqclTfToMHpsio/l3bjRGP8B1lk8EyAbFQYR3EAb8qZaPV9JcbgNBj8ZQAgooDdk4zQ/cQqhkolOs5ZKnOm5cJe86Fn7ifYnfcEFfHeCTPYPZ/v6z2NC+lMCJPT6xerlO9SU+ojWdd4RFA4qGgbCMwnubu3d8Wsp7ZWlEt9oR868p8up3S51F2OKN2E5j5mMZm3J9oIPvkOPxgDuvRZI8q7JnbHgPGXC0+EuReKzKYlElIx+WDgUjP0BEw47+a9MLFEhyb/TjhmSoymJF3oF7FpIyCIz/VwFqy0TBANxyiNO9nWzb+6AIAkgTF+jMihclY9iqr5fQcdX9EutIGCGXTUUaLuRBLQ1nXxIC7ghYhbdZkeomTLplWAiz5+RnO316TptqHri0OS69eTC2SY3iG6ouoCpn3XKrDbm9sE0v0uYcOGAvw6UEvt/ExL3iyPVhbkZQhs4CPeft1RkEEaHhpqC+KiF9Irl01uJMVVz+6Fp1wVmXh1NcAc24xFkTN5Dq3ALkn0u+McOw4cwIzaMVSM2fDWzZLmutf9Y9OjJgWcCldWCXjU/vQP392y+cMEVnv6eM+DlfAnU+ioXd0BefxSd1wj11yDKCS8Gsth2DTj87tBi93YqBwbEvs7+uuFW8psHdSOmmUYtUXAecnXe65Y05wNy5MkR1j0N+7Vc4cJf32S0/NePMwVdEPBdaHQoW9N2zYBtiG3rev81uPnfNwp9qOv0sxGaz3iIzU585k9SYGp+WyHqnLdrrLukw1BPuULFKoDgo9VBMUXDjtQfJSYQXKzudaFB3QWkeu1Bvc1teZN3qoFUQyaCJSJdtZFrfF5J7wMowkxLJeEVxqrYrFoOJAXVYvQs6CiCHkCBIAm2K/S8zRJJzyhGadmDZCjurDxjxLKtssl7F2yrus7Hyp2wp+5JcGoT2JSpW5q14S2sXnZV1fwEUQ9taHm+21grHACiGkQ3eY7dZvLP9IxDWA6jiA+tHzFIRJwUlQ+TbGta5bbY+1x2UEC2GGxpTZDHmodMrCXKBnUbPGcog1biboc9cW4M63AXr8XUDAblXdmpZ/u9cOgpymVCsRNEJRs8Y8wCxSA9iRe0EvjnNsdudGNMDZ6aRQeM1uyGVTlMhnFzGh0oeIeXCgT3HRbyVSnRTn0LeYEd+0C2NJOnJSc5K7TPhRlj83CRO7K3z2PEaguZ4d+qJBriZi9UTmb8kAJ62WY2i9NP3VXCHJn8hIgqFi7wZcCOXdFXYKDit82KRx79MYvXCV7bTzIj0XyL9Yq0hL/rh0jmvfGZKaiet1I6lQzyFAOF+JmRo46KrcozeqwKCSI2VHL/y7JqY7SkVI9eK1gUmTJHPmLeREPVoWYfDBLRQxKSnQlRptUfd0Ml9u/zs1Cm5XCkfamThdL1pwSJCMuyFZKXhYqSFENIsfDbN2+A55xxVUPm6EPKEy+kfkIkhlGswwaGzCyiadKR/TuYDVT2AW8Y134p8M9gMg40LtfU8dwbCACBLd569AsajPx6D7HAtNkVf4aFWf75Nzu7pRZUvrF6ujX1zq5OzC70UJHEs3hNLihkLdxHIZGSY75OEOL2ZKOxEDfcc3kSkztOv9/Ik+Ss1pwPV7fAvqQqfI+QuSa6mVt8FRlRq7t8bvVVELmOMlt8FZFLeVOUSifw7EcC1BEvEePRwYP/+ieqgNH3naubY1jByzGATb8ew+VvBb+zbgriL8VPtNWmYJ9VG0I+kN4IX+0O5Yn9TyJd0h025OFGFtIB3FwRkA01g18FBy9A3FmDkOQPPjpY6bGSkn8C+PmSG59jQU3HZEVhSQ2tfsx0VJVkYWl4KTQPFWlltCZ9dfk2YCQNs98ey79ME1iAFCWrAY1XJdiG6uq1akq/WmMehTC/SyD7sSexVM1UsacihvhAfjVT5OmGGLuTskrNZfRbBhJJK0nTMgsjeWXOzlrmUGcyyTPa4IIa4yFKRr09UiH6hAsn8PBBDO2drVnPUF4lyWfiDHwrZZILRND+G40W8NCzPVUaceyfnl3Sq3Iq9H37vaUZk6Xgyg9hSq4px7ghsu7+v1XqxgRQVZ1x8e45Id5dU7S0KWYsI1STWWhgI51M/PkX6M0753EX8x1eLZLTpVJrPyo4joDsrDI/AaQzHD9wxr4oSm0fsJczzRKdb7DKIasvSc7Mq6qoRc1rmQSlZLZ4LVCO4L5S+Mikwfq5fwk6fzmH4hb/vn/iXQcJ9JByNRRZexWOE92okFM1suOl6H2V5BpzkaaBmnGXtcOwh9xJwQKvOQWEhzb4NWL/x/jk2XQwedityH9+syvhv+4BveWIrCfuovQBKteUK4YkP1UdEy59mgNJBF2OeW5G4a1m2VUorGrDuxKa7PAIkr8nYgGIycVkAfOfSuq1b4wm4hJQuzYR8bbn43XApNV6ZQGV4V5gi+N+9PdOIeIYhmI3qY09y9bB8OoepMcEi/E4fA4TSR/Y3WYhuw8ej6WeLnjCs2qjBRpGg30YtbyFrZZWQPQ3qkAt9LrfiEDa0dFFq3yMEm+vaxWFBY4buXewUhaTWIqRkEs6yJFlub6IPqcU3c31ndUbXaFcxwvWOBsBF1VFcHRKEebPz+a0tDevt2eg54XBrr83jQdotwwBmEtMd284zTmg9hSE/rWc2AYhJLqq5Z/0G3xGsLDKjKuid56QKKTz2b2KT06mVK+vwz31ouAQPTh4Eo5u0sbU51NA6FXCIa4p9gHLNlyhwTZw8W1fyXaSonJRTOXxKdkBdVCvluPJYaLav7PM5QoMdnURPjRJcrS5i8TdtquZVAYWu4+JxVLHI0Pt5lbHT448MT94L7j1Y8gswnkiVZF+1kX8BDZZ4a4JSYRY4OrZxgsu6kySfpJBcG/cpDhox7V2Nk/6sNLzpxXWXUxOjYPTFPxo4sVKjQX1aLL93nu6BJPQJu9vcjE2QcTVLAbD0INhp032hfHA/6A2RRV2/MlPkjcB7gDjJt3YK60h5bBymkEcOXmZ7yVxoxHoIbEf7ps1rlImmzivxRd72331B0AZ2i7RxuW1DMSAybXnt1F4uP6RBqQrjyumuAlVRG5zjncqpFgPwoma/22h3eB4qNeOwgylLE3pGi7CyjEN8OZ7rl9Z2u5+6DcqyiC7Tna3+s6RGimhBBoCzr6ibmlfDM/1wwPu3aEuFFY+bxme4MDTpkIP5eQ5ixdcVSua0BlMMBChGZEN3QZq+rm0SvbQoZBmbEyAV69ABRYdt2k9u6uTzx3dQ11AwILqjYX+2CpyERy0W6doZ1dFtr8/OenleH1ncFRteDLYq9wTm01YRjlGPobSiSsEfVJHgZiPk1fms+nlbMD10FytyeG85kFecGYC8slF+eeeGHRy1btcafuHsxEKYao5MR+T5BJY+Z+j2Srf1W0xIPBD0Ln1oV5EF5J09UFPcJ3VLhM5nmOLWsbcbEjMix/m+Gy3XioJiRkMflfEtsUUo3bNbWyzbGeGZO5NHUIxr+LPhmoHofXiAzG5OG9d3m2m/OHuJwEMTJjeS48dZOQgvfsvSKVkoTIVtLPPWjbfZqz3bhYn9zeWZV5OU5MdG5/8VLqZXOvm/hB3ShXM+s7+ehOh2fU/tmq6yuz+/WpNcYDsRsWr1lh4X+LUK85bIo0H8l5vkROeY3PgUfQQLdmdmBARDAyfiQe22tDkrbc5fShRSNPjn5IXEhWy6NOekGjzibVODqlHB3AIpbK+xUoIv8QFoN1iWIJdSOjVc1akjVTg8M1v1F0HpPydv/WuAkOawMqJ4SdEO9xhmQZeIgl9MLutszQgkukSLB0Yhu9tBnCb6GogUY233JoC7B8xEsaQ0bNRYvaKkkLKNaaAJA7VIdpIfYRlfehGzlYXss7JZ0lr3vzGaYOd4G9zbraydBzgoffDyyQuiu1YvYcIXrdjtzGEi0YmO51Vy6OC9ss0OT+dcw1HmDno0R/r+DrLA42/+qVM2kh4FJqktVAWYio3+RdfuaoitltTu0shwpFg8CFXF98Vz8Nm2k4YJzkcMMTdFjMJfFj5G9kcCs3V1VsJGzIJi1UKKjrdaXI/4B/uDUxCJIwzLci5eABTw0/a1rOE55BGcu6lnLrrkxbc5LELmRN4TZdKgpBf+AjNDV0De7ZyWk+BhLpisVnleooVhMNeIB9rfLJJ6Nhp6EmJvxpN/tedqSZtT5oHOxiqM5eUKGuxF6sh9PMbQgJzfUiwSv3RYefU22hP0zmCrYY5tEKOrV8I+jmJuOTmNXcJFbVqNEv1JVgalJFLE1vjQFBuQ3SSp9rKeStrb0G66m2bnTpHLBIoVpm7F//FWme0ryRXz36G4in2k5GFz4wXcUg2+//dqdE8X/LRvBwlhia930Buea7j6REzxbkAdA9wXddDafwiikMRHL8S5Gc0Ak0nqpBsvJrNJZVzzcmzQqnHvV2Yt31lKtCzwpL/pTZXMUQTxjPAHyxUWiQngaSsMwfEjxNOl2lJCmDyAUCYbRbmVmL4zt2Uv33ZwTBGxS50X9mfJdUzCN1nSzCWl2YerePFOAdZSMYnDLHqAH3dlclsNZJHca+2K2kyVbhJqic+jBD1ePwz/cVeex0u/Fd5W2p+ORevBk+umogusxSsFzv5kFRU09P383+wD/u6Bklxfy4X1+W54SaZCVm80DVvEuqQ40YYgV3KYO0z+OlmhZjL1lJOvUB5TznwDYCdG4zG+3gjaHUdnUlxwAf1WKS6VKQTpKJyhfD8sOEG0kvqD/r2kAL4PVnHeP+H8pH81s6k4wolHP5Mk9MoxBB7XilBF+Fh8eV+8aVJzII021WLodkYcvJr3dNOUb9kfm5TB7VA/dXjdCI9k+rSBYUYhjcVGo5XThrbbpuBOCvQf1Yp3sqeD27Z9Jt/6dJljMndrSkhXVr/vuYGOzqd2XtT7dY3iZw4Yf5kzOKZsSX7HQaSWlWneihsp8P4iCt4Q0y+bDl9lgaNRESu9p2J2mcHPaWIKCnSgORL2VWTjIAm1kxE4+9DJvq6ee1AE1yeev1jR27ha8iJbICR4X5OjDsRpzXDy6ifkpN9w9Y9ySPNtPt01Y+RbzIdag7mjimTmcemy3GU/yui6+3/olGSrLVwCbK0vG31710ugIONJjyAtVaA7liyMOHRrmxw0ViCdaSKrLfKgfVolH/ILoQKcROEfncYqTAZIYZbI8r67PQn3YjpEr897pwLCqQKnTQgcAONNplbSoj5oCcbKTVHJ0Cg+L7QXxIS5Q/TUv1Ez08jYI65gimqJgdL5GdTxWQljMrhcPIntSjPEdIZ9lKV/wJjh1BJoi2VHWoLSOPrjwqzLhmeETT5rtKSYloK9yk+QHcGcghcg3JAMtagngh5f0wj0FdvDqL11hTUisBcpsdTnruYHnMs95dMwfWUs+HwvKT32tCusnhjAele6gDOAwL354U2ZVhuK6JIz86HQwFtrO2q7b6omynOYAD5B/d/YWsPuYon6DVa5M1L5F2kws8oIm/0GGeKtwaI2+ORMbLiWCtrDTfjRHj68+zsIqLMGDPKvBjLqgvLIkQzFkxufv9iQlOx7jnYAgYAw/RkQKyIfpYLYPEoRebtLnLdVGXnPbUI5JxWmAkLV/cDgzM9fYXSke1VH9T9lvTvJhd2Jwg3D7LoMyDgery9emUJMJeb/4kFwF4EcgiHvMrCrQU5UDxuTr+c53j2t1bEyR6PBTGEyCv7kXYpK2UufslyS4TIng47SPDl2eUtDjjb8ef35XWBwVf6Rr/+mDLznU35bC6kgSMascb9e4V+D8LHsQIz6JSbXFbz7m1dQ7G77cMkieejjEu/XRG9fOwhxOrkAp4P9UV1OzsQ2e6Zl/057BKhJmIZyTKkIo3KLCIcaosUG9HL2GUwROzyvVrNEjvnaktcDCW2z16LhH25Bzj3rAlz0Mc5yJXL9k89Zk2rSqZ/5SYV+y9MTu21YskBTavK4RczbsXF6q9uwmg2kAQIyqIFwMv5RsdOrNifCqJUkdUcqRbjva0r0E77/VtxAE8pMLjEOSZGAdfZmknLJW8IHjZPcs9kzQToGvrh/S8ULJC9D6lCtGFafGUalt33LlwSbdl7Qq2fjSYXBqp//mS/rJCiC5YIhEFJbEnvJbKAZL+yRTATPkqDmK32PnydpzQlAO40+tK/M76N/QaFsFMKmYQTMUSiW2YwVShAVTDJlomgjazcVsRF3iadAfOJnq8T4dWXTTLoeuFGRXFmbw+/hLBgFL3aVJ/cmPIyITqk8Hc1PVBiIdfYdKVRiU69ouGPHS9Zid2T0acnebpgBxzHnSBVo2cYpyi16pR+py+qLAyHFcmPS3fFMbUK6zsabdOeI8/2aI9a2CmAT8vyJIQK16ChX1l2C+cGLKlY+JbviBr8Mwmv4jei8aN7urt9S6C1kRyd64Ka2ELidmCn5Pt0ZisLtHNdb1EWZL/dCPACdrQx6s9CIY9UYUpUC/C+MStqzdH1h44ZMMkpjDYE2hiHCZTKjBEGcWCjWzWMQrB+lBEdu++FcSDgnCDKOW3uzgpPVAG5rBBLpXRhhewlB5hMPVjEoNuk0WZYSWzrUfF88r1/K51iZJiWCan8Oit0wM1tieLXrNLbwatFfmbcPcMa0pev2aK4U6nFQLhbcapBtaXv2/nf+jxh3SLApBIhJN6iVMmC4wsMUDMvoo+BiKKbeEpXvcv8OrKFGlyPYvaFIS2qkMuxNqkxGRdYiCkLeelAZbpU5Zqffkyc0obRMaogaya6msVFQbXcoUWqUyIWIAA85wanNXsVdgrWb1BXzyM0iA1W61ZT8H7tU63tlqmI2MA0D8pFJBB8uI3cj/ikqjTYNV44mOyhqisKKQTuEZNPg5txmPC/5dBSPN6D32cWv+XNs/3c7XjQYDBT908PV6yK3ontLTB0M/VyKhJ9vG7S0XPGZjzTM3oPPiuD0vzzXAwsmfguBLS2V4qRFUS5INj4sTORznu7QlSK09r8rvDxyeUZg56PXKmdklklxlkarwi9NlEJT4PA/uOQIbUmZK79UdPdYqFrnEAYNZ7m+n5mNwj5xcYr10PkQdIH2uSvMY5jwzPD3sao73hv1g+3gJD9Ak1l/JH2rW9NmOkjdLQEP8wlz2MJjQivmaBngb0oCGNUorR7RQ7pDEAQqJZA26+p5ofzEIDCPCsmAKmRVZ3o9qh96ImOfR959l2StILegAzLw1Whw+a+gImM0Ey8D9ymhKzbVNGXKYHTVtsRsPsqq3VHENaIHf3rbrtyjmGuP0At7BdY7O6BcIO3ys4s2ya5qzW1sLIJiIuFn49l9hn0J23EWIZtSjySDv2cCIiJPlzYlgm5bO798cjINXfW24ohzeN1P2hlYXhQNoU/m1+zbFw7my2zwg/Sw9WPsNxtzudDh2/LQ+2FspAcGjvbdLMbGkaWLODlem96x961rlRcncgJNX0R6sMocf2JYMN7DKZQdYBFXeggHkLlzX9eum+jhqUbyEfmZlXqcYNBavKdSA8S5kv4sXv0PrIgtK4E8ACwdW8o810vM8D4wz4J0hwPhJya4v0bGjbsfUXI5CX7+RLJ9+OzdrmVOCYDPhClj4LT14nppMuOix0kkBL8BrHbcii+4n0NtxzHTtMhj/uwGHtCuZCQRb/DYRzcAOdxlLc21WAKM4jSjiEuPvuTxbr0lhlXu+oK5LX7h55Yn3L5E5ZAzJ2nQKDHrr5lYEHEG3tAAbPyt+Omo2cqGyn64SxqefnNUBCdH4+sE5FTBnaVw4LDQ/bRuJi1zz8onqyLGzSUhXotRHHu7Opoo5lhK67/FlD8xNV0puR61KJQxMaoABmdps0VwMhkoH0WFT5I0I2Z7NuhbVJlt9sGazCRh2RnOoQyVqvf798jHgguUBTAMIUE1IqqrZ8/dV3IkYs8KOsr9Wr6E/pB6nye23BMrbjgY8n5K+3ZpLxyfUIpJyvysYire9X7PE93f0J6ixkFE5lXBUeCLYhfKLZLDbQGBlJGm6e5FTm2Z0dN+4wbz1gJmEyQ2YgGgQQhB3JLZyA74X7IELCs/IATLPVDk+X6/xVuFVE8YZT8YnU/tknjwJmbgx3mjIQp6RMSXA/l7RpNyyp/1eCToEsdPzK5Ug9Lsk3XLndDqkBfmb/opxpdVko6c3xPERw1UUtH9pSVbw2k4fonrgXO9Ds50z5tiCVml5l8huZn3rYWr/ttDHIitS6JQHIrc5pitADkDhUJpyTG5kbLJNvFMW73t3Zq3UdrciDg0HTR2uxpLy7vqJvKPxVatA4UVYasjC4f6x7QU9ADaIKO3mIkKPOTb4yTVxDYT66LoRypwoTglabRVZg+XVif6vACN15K++Fht+nGQ96e8noFKpzfjYwoQcDbAguwdGQQUIsQ6LZr4kol6T2YMubh6BUKlDQ/sTZOXNSAXu8Cgi4cUbU0woD0UhY1Ltci/hTJ1UCI3tofzxf75IrytrwJYkeCC8AR48mHpSDEV0RRfDpiRJzC8uPbLMi0UwJjQqKWqgH/qzSBVit3jPByrat3ktyyNT8r+krjoesdWcbXpmFHP7ZNNUVV1K4H91MtvFGSsyeaCVfsDtwnsu0z5if7HirzlFRq1GP4qO+urbJNlna4cLqy2rA/8pV0/4wl25ftJnBYidJkcOeyLTS88pawn8zt0KA/+F6ndecOznCFl8siXYdssXWGNTjHRK/mPKCIVE9aai6/zcUV6JOQgWiveHeAKl2D1Qlx5A6ITZ6hXUlmLuyvkQjlKf2uPc5fmJU0Mvh4UXF+25PCuokbArh1822tvGafAQtHrfTbqe3MlHciUoiM93UgeoQBO9DYNKvUrENd4D0JxuxW0jZXMuNghMrRsFhXZyCk0gQ2EiSL27qtXJlqNQdyzpTiPx5li5iVqbDsJHyWW01oeZXjbZLXuFqlX8aowP/Co9Pj6Ze7g/CDsXRWkYh72UFJs8YrTmp1BmcWa2dKo62ASvVjCSy2noeQ0kYSkGY7XuKOr/dZSpYOhivdFQDDbR3QMQhZwTghahFGpLJyJp8hDaownYqFtpH+fnNNh5BLXXY9OUv0oWRq+droEPoUL+pZxypm17snaLf1fz6xt9UxzM7un7atnzngcC7/C1/bem8jm7oUNe7Sku0tlHIpbpXEA0nEs72CAg/Ik/SbIaAiDAm7WZDOkjCzC77YAM0VKeBirz6nNWXc9hCTe9XxmfesXyT1ysWOr5+XCW4db1QdfR7TPutW+LYTMRhprb+FQiKLLujU3TtIaTNU2+f7IgBZYD4oklRe1v1dKEk1sdjBJo3cYY0JgrbpnKGV/BrhifBdMqtsF71s19ONGx1ax4Vpo0/YHMSsErDLuKiFaFI8ApkmqBNWXb3esb2ZkQF5MGe39Lk++R+eNzQ12kDOjy25FeUnulyTCoZRy8R3SXxES83AXqAcdw22hNcT9bZHD3Wn5yh2SEaT+UDYEbhdebgZHTKcRiMINBlE4CuyIp314WQ30DBz1Upa+9/Daz6YzzMP1zOhbWx4Wap0Nyr/Pw3bov1WzyfN8BdLJEmkj/OhyG29X0DfdOBCLM15KijH+40zN1hZIVJ/qntBB+W88grJK2F1dVSLhYCiEFQ/w6HIxuj9SBq7IKMV7gTZHK1O6IArUuUSxgEioEiEN1v1GEpWP6WCN3xQDe8EwyhOJq/zrnA5ekU1oTr1txqAaJU/jQKMK8v60xJdUf2TyTb6IzRnqY5qw8a5nZh2GgDqtiN6hz/ZT6M9hCrGmMKvZfQQrJZyXgQ4cCLMoCmSGGU7Njvm2DP2sL+FkB73EcXtaiMgCqh9laTgvMcwEHa4iiJnTWRlGuQFJaDK1TxSyi9kkWKTGax82EcEPWsyS1dwFKcz+qNgYJOySNDvYIApGqc9mSIdRZs71K3po5W/71iZIjAdCvImdqMKJUfgXyi7XVFW4p4UWrUJXCBh0eDLv63T6NlBBsLekQ/7PISzyi0qveB+aI5FTHdRXG9JGiWOgY/cOCcZsVNRK+uXsMFBNslvmk4zimWHuaExbUs+nT0oyKqGSnaJe/vMhERZG8bge8ub7qaiXVWk5waGWyHpP4sujZ+/The57znKLQi9DvGNeIIMzue0n688VxATnMRSuM7Td67TY5xq9jNCAMdSpq6Tfljmu3o61ejAv5L2uxckjd3w9Fnuy34aRF+WL9wi4yoeT704qZ4HTa3jOZ0VB0v5vC34i35rPnQTQDcOiuXRDlDzNooW3g9bIpz2q31VIMEIq01U8aiwazVAHq/qoCO0oHiGQdLHHqtp7vsY0OlEV940EXmxyaiGL37HDrtjgYJUugImD+oil0pCxscilnvg7YaalP+WFU69z5CClTBdgFYN3mgSiOUALb8dmjYnMyxGE87BelHSnI6wzX+epWudB13qpDeykkLJXqo0ydio5TScTQYvjpriBt/jfmBfS2lOJDXQEkYaSUTbsDXPAv9rsXvHD4d4NtM5KqWVSqQCLLk5p0P74qWmiSuusIhEzrcx3HYqCewxQFGCqtzzgOKhE44ugSdsnCMsM+zDLn2CQpq07HHWaQVwAwDVd9yVIulSkNsYGd399ST+F8D1/+MoeQZKSDfIDpg+Q4AC/t6R0MB0CpKOvuzIMehEb8S+CS4RTcXIRTlTDnP5sdoKuAUXvbt8X4C/YlqoeihqlMlXD7oEIrG66+H/OhkDCMq+M6xbHryWt6G7jUiRVEHCYdQsU+oKZn6WNO9g9EIevGBXJ5va5fdjqlzUkeklt1uZGlbW+a96ryqCF34buBREVIPmOx4Vf0ha3zNfsrVOEP9+umNyIyF0sI2wOWHDAc6ySxIcYcwzy0FNn9HxEAqfZJszksikFroNfpQveib2lQNXkiIjPKQEVMwEgRAebmbzQ1q9o6YEtUMrpXE0DdZmjS26utjmsqlHFhWql9ke4N57d82XYYuQe77bndL+iumO4YI1jZK3Gd4CoV6it/s0mkK+TvtxWvtyYBMKa6V41YlC2R1VUZwc0xfalRmbmzp5gw735CN7TRYJZrlGhonn5BuJ/cf2jWtGx/A7Lr6KJVbEig47uc+LmHAC0lh1yqdP+ZaILq1D5dRYSoioLm8S0AwY8Zs5RIK614RpkNQbsOiOcWpWe6u/1ZYaBH8S3O2tJLWH6Gx8CBjaZBQ2inElTgX+1QvUDJ8didGmR6FR/i7NmO6jssdm/FjpfTthxdD9h+jq++/jvE3FKzEYjrYOMOXiEL8gKjxzbVnXwGkZD+XZPBsPViIq8p9ZqoJO3mGRN44wElF5vcniAy0F0Y86xEP6pwbe4ZcMk3lqw3L+alCh+P+eSLUlmUMa4owWgDhiHkg1ykDibQTVxy487KWnm31cVThu6lMJuhwYAZe0/uQY8Usyut7TXPyXVKg89oIOvSGpmp37PeVhjhRcNiG+/VkgeQtN/lVI0juy0gPzG1cUVVzkUKuvdpQKQrIwFYGmlEIW1Edh9AEOG7GGqFwdsRuHSYpO80dG8MkAvZHEp0Z+xOi0bhhK5uO5cWUm8D3JvMCZozOKuwi0dV29dg4kXpk+aQ6N7n9e3BmePmpAcObDuGNfVvWsR1znxMhcEzwjPLItbFLMW3v4xgJHttGcbBbhp3SyXoFccH6iYmwJzVzOSx4aIu58Wuq12npi1hP3W9KAyRGpyeNzzeHW27g3hIBFkhEsGjH7KJe2i7ADjbgEM9PEOo7b474d6u3arW6srAzvxiATN5LaX6y1LNnDM3VGStbDKfZziI4o8QVjV3t283Bm7blmgE1f+Sa3cjiQlKY9rPgTCTtoQOW/GxsC5ZLNpF3X+75Pg4BrBjSCW4exfdVXWz4MYWNCLEAnUIWPAckpeAS4lYwwcwr1f6xu0g3qZI03lrEcvkLa4bsuf2Qt0vGHPq9y7Es7XFjMC2Hb7osPRe4T2UwzSxWUK694dHg+O7JVmB77J/lxGiRPTUHZJ+yWCX4Zj5m+Il5FX9eoqpc0sTBwYvbTIiZQinGajTyuTfCxziiuaFUMD0Iua9YQDzEm1Zg7yziGf+bp4TE8ps4qnuejdygs7x5WF8gqJE9Sq3UgtwkgGtOLqJzKSeIWXgEmr++fnP2Z+sffz2mDDzKFLtprGBAA7EN7YHrrcWnOi1vC71ENIHmNE4lAltV+0RpxdFtImAbp/imDA3uYe9BInxbyilywXauX+cbANezlcBn9hS6Ptru6stBMMQR3wNyyhQYIDRN5QhH9RAMnL3rH0V2OnOBf4eRD60+QRMt4OkKXR6/de4tuvBCWhV2+WlTXzq8BijuS2Hxkr8RD2rjd+3cxYSLZ6jJWVl920lyLDL77qQb6gViY8ljNMOoi0t4djzTgXX6buG72F4u3ihPdv609EsEwJBdST1TvvlgG/ncHqRUk6KyyHx8+xm2kbh2ZRViqH6/X1gdua2GpfDCOdky0J/48Xs0na1YuDomDfWIwg0auwZqiCJ2bS0PIBSuleKGbZeTgKznLDgB9sjiNga2fDaeEiwUoBXN2Yp88ITlVh+B+CbPwh5NS9bZqIkkkB2XWlXrNWQseS18TlK3xnetZcJ8kLlB1bRuS+yf+47VFiE1f3nRzvata/FOzmANesCBDrWXJc7OGOixzhmwt4ZGxFmiTgU8hsizFPBcVkYraIWu3ammwAJJFY2ETcmzHbkAYlqcUYoPbr0vHZJVUf8zxW5m3ZbynNSQ11wS3WSDy4wnDeljn/p0WR4bsa3o8mgt2pl9FxQm+B6pTJYjJLJOwqrSv4SmrRVaLnqHqpDXAq1HVLab9k5p+2BEXr9FQGARa5useUP9SIXVfcFvEKX/0iFfAihF4L3XU/rha7cntCzBwVW+lLzel/uGtblS4onDiSSkZvRHI+iKTxcDyRLmFHhC1DjFtnhuMnLfVwhj9f3Btv6L10hmKZCvD25OZ2ac4Xg4+CHkOejQjz/E82pe85dcYqjtGbVvFTUtQ8CmszON9oZ1wEyB+cLOQlS+V62fq/ikxU7ssRnIzGXa0CrIaxCNY8mfGD7Ldz8RlPxr11q0HQhg98xaxKQCU3/2BtZH9fq50ufxLJpITmdRBszhAEm9s58+zHt0OV84G6S/Xh8fMCdNxDqyUxI3K5PpdSQ4aQHE3En2DEM0yb5w0nAPYeQu6swl+M9GDlpfn3b3xUEzPYdepB14ErqgcmyG7kEMZSWBKghquunFhE1vwXHkob1RoWMvVz2nbV0c3qzDEeTLRC1ubQ9ilAN1cBD1VWd20Cg0g8wol/otVdds2o+0rmHyvuqEwI8Z8pChZWqxblA1DYlvPayG0/ipSt/cdRADTNtHz+5RF+BRbZVmO+xTeteUob0f0WH9NdwBXl7K3TmnmR3fGMTN0o9ibijPMXudsglZjHDvdB1kb7/j/lETcsR5csOzAKIUyy6LzkhoFs6iBAjT+WH3E3OOTUXAmDH1+g0rePcjkM0KksnGQfyDiaL1E9FKIPwbqKlXxC9MtWKd+cOssTtKB5AYSyNhjei+l3lE1jOnvR/Sj55qD01ekPP2cBMiIhXsr8FOWQjsY8gQgQY20/QEIumEZU5Pbv2u1KcfOUb6uIDFewpwXE2zKDZDyAEyfqPYbQgzNpv30W6dma3u1ogP0fQFiTVHREdQ/3E9TF3AeIcPouSbiUhGninPtPbvL9cwKZaek3A8VN3UDm3hP2o4B5ykvqTwYPqN3y4IcBJ6uiGIXgr5Ap2Dm7LEgtljtEx8mQ/cRFj0x4Yrrr441+kTYkvKtO28x856d+K77O/hR0tTxCPwoHoKuUDY/HjYfl0ieS3B6mhq5GT2pHjj8PR2K8y+RzZd1j/5H1wHXPJPtjXkJB/hiYCeE4/+mqPiPeNZl9Ux8qBLgOj7anTgtLIlSeZmYbjQMXPJRKJymuLPO8S6IrhFUNrFPvrl7V+Am6PV1kVZOJzcS7IQUwrgt9LdVXGMYqg4Qd+W3iej9nNWdztmooXMDm3SX4oN4p3bb2qVL0qG0lDrd1B0NbWuBvFRsV4FFjCGe/dY8Av+tOptscJZS2eyOBZ562G+9XVjlaR6+aDXUqiNl2nG48DiEwFXsyFCIP65eOvhwwRZr5vwpsCfKDqsUUu2KBkIyGpI605FB1n/azRwptxTfDo1B0N+IwzxG2E6AAvdv2ietnkzUq6HNCT9yECWcCW19n/MJh844xGT4xerYyJ9YQYHV3dPI1eXmKL3XOUA7n4BnltcLX9FY6KVuEKYRStKTwIbi76RbcMYk1z37RR4pgDnuzHyeGbI72iuT9BQ/Cw7ep2C8jm+iyEDVnyYyKlNd1FKUzm9vOJa7tg+3Oqu86Fd/3gW/KDXhKdCFAhS87LgZ/kdoQN+yUaWpfArUSRJa1UdpKWg2cd4qpSlZHeRrcGNbh/C7LpiZQfGzn+WbcaDXd+Y5Jbu9c+BTi+v5k+rdgGicQC7fHpvCJRPNVV5Iij0xjnz7BVKOa5g7aUWV9v/LH9RgtBq/yuybxVgMELkM3vJqSOBGSeLCUscChDj0PyY/fkSZ3vArlm0r8VkuoNzK9pxgmLMghXEnX/xW130oaOIe9VEf9G6hB3L75/bHyP0MsW1ik3vnqeWXaVdemi2JzbrVB4cqpYDv0tltXEdX4V2jfXvDcr8xvBVdkC1WGDKiW8VjeubwXh9S1SLsQkGvIfscGQwt/FMYjb7TZhYFQ17oQswUayfCCj0M1Frh71VakgfVv9I+QWLbEcmws55qEvLnilmjVJA2L77pFlnHM+in7sm4nExIj2zWz0HyfawRmXfnMVao9ZByoQI53WDFmkl/1q+CCRjEQp8iF8jFB1a7F/IO6lQj52uIJRNFD1jXpD15uPuI0S9Gxl+5sLXnygC6uKy+BL7dqFNYtmzoodMuZmF3LjyvohSIPvTSg7AOzTQkdEgXeZ59iTanQcpDPGQiUzGzkfprl1W9urOFIsjFafXygNU+4bTG1NoqtgKMpwsw5VRjMTf3si7Kl411uELA9L13WnCRfZqbLG3rzrYt2gjRoAtIeU0P43pi/GhSZfn9saieGci2NaCff97AYpqyxxyQEwqtxGghfA3LxopVPfv/4njN6XEeMqoVIccY518YS9ruokC0WXRMrCYrolkRO/Hy3Mn5ONSDUW1L8NOuScVtvT7kMQH8yRqdQG6i6hG9AzvSrl4SpqRXo6MGnGFOyatcM0RHbb8BFC9EBYFYwbiLMwgDCL3ATlO9fx/air3DN+8zdrpGS7rtdO8iySMNuahtR9oQdIJghb5UyJ6KO2vbxtsEcS0Y7BdopXufRTjk2OihHSA5petOKtRKbhnjQGrIK6qi4lFZHsQDbY9t0KOnFGkiCBNyANsfTQd+Uh0MvTdkkQfUh4ngB9AbOVTWoAoJXJSBik0iBcftYy+05KpDBgSNfDAP+nEgoiAOJGJ1RVy8V06fshUGQ94hAIOC4/kSSPKzR5ncTpyi56uvk5uQVKbB5ua7UWpDY5Gu/fI2PlGFDlAan19AktBXFTeOxr8QTqaPq4zi0eUzbvZMsqmrdu+T/pM0Rjyzv82pHcIbRIK6k2LK0cCWHJr5YAqPnItN2b4cGbfBQ4F5Yv4KWLA/J8bl3BdOIH3VfQ4w7gsteJgzT9qA2uadV7awYSxLNDkDt5/k9qqGKKxKMFArBnRjA2hyF57iQccLMQ+n52VTn2k+xxgyr1y81mahHitSE1Io3sPMXRmZQj2lGcwW5PjLfiETi8t7FpSFdDPOicF4Lt19J56rYFf1B8rxi2oBkWDUFd0lau5V4Y6e45cv8y43083GjoFRRJcG1+64CpuUZKanAoAWGvUT475gNaB7pGkM0CaBhvZJErJSiSlb/89ao9tIE53Ne+MlfxcAF8YZmVUk7bVys6VGqGEvR0AZ6m0OXbHy5wSWVJUL8DEcb1PT0fIO3xL3rAlLhkQvKzWy+VRpxvoSStG4BmhbFqSJne28S/VtB3B1Pm/PFrAjOgnW7Y4xIrimh3C4JqApsNXZxjbOFh4lwwgJUCdFZsmKR8OlNCBjRxrQTdNkzOd0DsJ699vprii7lGIxe3zOW+0alpvtzYmLheB7mVpILIIvJ0IXz2Q3Av/mP+sXP83rN54Pf9dtQS4Nwi0gOvN0j7SaTACrYtoj7JLk7FKFKXrhbzVn7XpMSqdobeRiTO8vmb6aeH20KKROk/IYJ6AyU/da7jnzQi6O/9Sj7TXSI8K+le+21+znz4KxRo+6C7+Dil/4u/LEyyVCKaQw1b6VN8/gp5x43mTQlL0aLew7rl9cokh0rsgv17cyPgSkkBFn6MRGSFOdWTqEJDXmfFrSk/9TczWPlmWLW+aKHHxf5r9X7OrmuZO6SmR6lyQMphR+CXDIzUTmNcwcJGN2dlGkRXeEKUzxRge5CZOqb5+ltcVYbphC+k/aM4RPCTSnoIwjTkf9+5i4gX7YpjhB+i0aWIj3KisLJvAsDemPEwikhMf9o3lWX9MHBuyfMFVZtHKiaZxjFde15a7ZNV9qQ4tQezsp98F7chhzIouGnUEzxTG9mjwgZDz0eOUzKzjZpabv8qUo3e06MzfqKRkPI4/Xt7Lx9eZO6/zwbog8NySPu4f0IfHFy2AtRNmvHlA8SBrRx+JEK2qBb3sQ5M1TOiAPdGmqipI6yXEZUGyJyMKMJ5/KQEWv8Y5MqPFDsvTuIi7JS0z/yn5ul496txqy8iktzcAps69bFK75SoOC62vJc9+N0NPMja5QMZWAwRbdN+wTuenMkAja+ibKy/TDMX/SwBIEqnpKl2B4IO1Fm0aDD17mIB9VCMkCy6fhwO+0QFM9XtfCRqr6utQnPIzbh7niDhhygrX+V0sm58WVe+laLQlzlD+KXWiVJG+S0cZo13gV+VxeHZQt2AWZGqmLs2gQiON/ZwuSoldG2YxwRhpH+slKvwbQ2vIWkue0C/R+rMhRD7VOg/j8k55JpnF5DrOtotDajg9Dv7er1c2KkFoyebMjFLLUD/PHqul0Gax+ujQdJP576wvobIV3iR9oU8SQVUTC088xh9R6mRKpnkiaEzDS7p27Vpl1QGlvpGwHr8lAaYEpwoj3XgLU7j69URjZnwU0J5DKwcpdEfjf08lNhM4tB6nhChEpDqhYc6jNGemOvIzV2RBA2Fh4W60SDmEFu6JCW688dobalZcFdClhcv3QQQQ0aFFmVFF5goes5g9hz/ILeuca0EwwB7JldH96ryoV0ntZIlSfTnknicWCr/3QrHR69f81YzG78Ji45veHDYOh6/4avR8rAPnM7cTWS50tjZ3HTkCIud9w6hNM/e8sguCt+d0AfZPC/VgpGYrfZG8b806hk39IdvnQ82199rAFKfLrrNY/abKRj4PCgDdUXln6Kx7hKuWDG/mRhFcHQV+P0dR/Cgvc2nnP+ahYPYsLdgYwdK5adxDmXbcaLJY5veVsNRrAfNBhMzeBX62dqiG3yYVUW3YcT1KMeIiVuPY7XQ+EDwFyhfcUYJm0gu4McorfHVcm3dYdkJyvjfnyvbl/WcqkZBrz+KhH7XpqnWfsTi/jUPUmeP2my3DtSEl39EPiVK5ymqjFdVuEWO+AQGkxPBNlRYWJC1/tx3yQLvCX6o3PZuKnbPhoVsC43Fi4mKiDDc7ApSTkAl3a0IMrIVlS4wGDsTNV4DZ+in2idA6l5I4AQz0I5yXN2GguTWVGcs7CdQ8T4HKuMulYDI6CS+TrtarHHMCWCtIztXf4dOE2R6NaFheAKOuEaCNpkAzXwN+YBxSnIvYI5GbsxEK1cyVo/kq6ME5c+QyWidZlIZuWpp66zShmnD3gLSrhoDkn8BmX/t9ljiCi5CtgjSEe+p0rQO8XIAa8U7G4EWWJyelZBmwDulsyukTod5N4JrsTpTaOY1xW+jRcdzY1vs/urXhU3y2wedpFeSvuvCXfl0ztMXt5M7621G+Uw/5DLw5MksJlKx20sr8Y4AoSAB3rXMX85NKGrrKOMv0EIBtY/FsxweNCt/Zx6rgL/2ir6quqNtejeTNO9qMuEikxULC3FDAoZqH/pmEixbylHb+AzPbl1TfgCrkVI8MpJ09wnCCPnk3GsasK9a+Ei/y30DJmVro2dDo5b0bPHeNE4x57fFQU1zz7CkhTQF4d4HO9icfhsITI0G4ydG86JUqUiPRdKocZ6N+6JjBxwbMROCvxc0IFAVbPDclJcP/3Mp/0w70eK7ujgYFjjsfTEkyudZFqKi9qKgvgLxgTrZtN9M6dcP/tgzctfVw0D+9XgtJSk0h1PEdNsIs/ODAmVwBiEarVQseeuEXvIwrGSn+/b3ekSvXrvQqSWXBGsTVDc/qOND9Lwdlioc9EuppymHV4qPg5yZ6TWKUWNLWOsK53WXWwnBcNcUO4HZE0qN+tlyVxUMM9XUWMbh5cqx33B2k4eyXFF+86xwrpWQ2Hfdabt7IRtU0tDtAo2LTtexZwYOEvIzYxCIHEnXEa0dhRZ12xxPuzOZERqLp/W0jQS2oFIQz1j1qEDpcNYHVEIB4pt/W5TQuehknRE8IVqyWU9ZYeyV7n+MZ7m3BE4uMAwiRK2r3bVrES7NEtkIXXQ/1sgV6TnVDdpIju2LEUE2DRIYwYSpRByO/4GTpt19iChsI4QJ9HPkSwMQ1bbTXCEGT7Pl43Y2XA0/ngZ7YK0tgbAiVInISUigqJz5DHI0G5whNLxxx+lxL1pGeEaLDsShG4ivFnc2xO+QkYURbvDuOudQYRwMdUf0gN3RuLNtbvbvIGKDSRq1rSTw6iDdz4wL6c1da2VLAYUSOKRE/k1Fkmq0iRyYRN3EovEK+qzKs7M/yrEih+ap30Gc5q4CCVtdqQtXZrlwL5cR4qhshbYz1pUEwtbNlzNK7Qh58/duvB/0/Yl3rzcWbtJ//1rvItGivgooQtDxWdlGbLC0qXYX8xuZwHPTkFN+hvVJTdQD0twfFXoJknrdo88NCnQXIokj/jMXDmUTv78L8WPNgczB7QDtj9ShOQB8tpH64nI3jnDDygoLbhW6LtRwT5W4DCwcDMlzd3NlPtiielJ0h/LZeIrfTLpZ7vv1CH3peo1VROOrJmSy8RScrnpPBn0ZhqLbcUYSzVCU8ikLYLxzlUdTW4HLA2slWBq5vViU9J9aH8xDIxK13THhu76ziZpCiT3G4BYa9n8zHILYfyQCGUf1hj9ZQnJezuMINexulfBzIq6L6Yu2lR40mMfAJjUJDz3IO5R6fPUP9dT1G6jGobnrLhvoslBqjxcMBeIeQ9ayUa1xX3rUNti7HfVnjEun98cqKcHmgjgfEJ+Hhk1Psy91/KmwRKse6jswsvP9rjBkvXU9AZf3wsAZ7JTEdc+lYnySeIrueyTLXi4Ou69upBBH7wk33WUOvIg01AApY4GD9sKOnkYdYUh919WU5ePe8QLd9oWgY5ri3AzY6JayRNtuvgvANEpCKd6OOsjDEZR83AV2ZkkxNUtRIGG+xCu4y08zvdhpCbaev6BAbs2gvu2nFy3Zp64mcOUL6dqj+FrOaAkVFfCFbVwMrpIh8PzY70XyIk1lEbSUj+XTSA7VYhuDYLx7Sg11TrKszAmU6dvTUn3q6c0OhA0Ued1pHM3jq0eewbFxuXtsihaAgeNsRGuy4qOijbjA4X2UjnL664FYlytJSPzyxkD1JghaTY6HSeL6vjclmrpjtyavVT7vWT4qMibR4CVWzliVtqgmrrR1dGf4o+GWPiUTb5yENpjkGHdXUcIa6Myt3J7SgqY7nC3DUw/IbtoyxD55Bqv4DnYpj3/eKq2zJ952dqL07yLeYWm2F6OCJnPphmzhQ9jB9z7HR7QwJH94vSw8LYO1apCzb8pR8ZHrtxdMJkN7bMpXBP1lXftm5G3unijFXWYReSzksaoY3xbyGsusXmSVZDJwvWgPcSRpiHWTf/FkE90rEpVDhADthv/JN+iL4GYlAjKTf5aCzZw6rhF3GSg7foVET/eGcRfb87FunMfkTkRC4MwKxOqOv22OuDXAMqHfLR//gUd7fcpNrByHAlXOxbTj9IZUO2gR+Mzfb68etZcadngxsZxLtRWeB7dc/J0plblUYON6y8HNz7uQ8D1Z66+uvAVBGcJ+C9JYiYuYWPvfBfxCjcDBJTo/amNvPfvUqUj+k48jOmMNXvS82tVrRyz/ovYBh+honH2kkZChxkVcpbfdsxKYZFgxfFGb9gDhbxqFOXQnTkC2GObNOYy0XOtwIRML6UcKkUs+GzebGdhyne7bmQObq7Ce4WRRSw/CbAneWadNW3TW37sYp2Q8Y8HM2WCUD3Lm16OqSNPzGkR1fJsS6ANJhuOaJiVI+LXOochU6NZNg4hDG5UMDb45/7azyvbcDmLlFTf0jnjcb12kY29GhY0WHXZwWffq4vJkVVbYOHcqQqzHrp5nCDQ/OOgKc4DD9mEGFbKMO/tNvy7YhTQqUDxd280Qj2M+OWN18XjH+P8K9UQg3X2WEhVZr5ivbiLcQhYReDQg1izD89loqHFuXTvFYacElckZFIDlxOQj7HIcxWFeIc0zpIZe23w8pSdSg0fLhYIu5YeIGSeg39xtG3hjCYqDbxj6kdtx9dllVF7bLeqpHAuuD5HhcrWXKFfNEdxjp13m15u3rEn7ljJB0fZOvTSSpfs07kLe80/mKPBr/QG/gsUFbLFm2tfPfaJ1Wx6+hbFmmKdQSPgV9AH9TN1ztPzzwRXzyl7GbSghJSPjTIsKiQumrDIfsB8QkwgqF1G3P5iq8JvQBT10yWBh9Lv7puTIeb3JhaosqkFgNx2nclK9lXzqXi61VD+spcbssDWufIr6fDl0XRMLnDvmQcsSBLEN9dAm7t/2qKwwnzrHxEjlo7IepFou/tC9W6CMEhV2UhMl9aiSSOBL8HG7OO5YqA1jYyxhRiR1d/UnFB94n0GBHBYJ3HcNb62kSEv491K1YvxFWA60lzk81xJFmZrBGrnUJU03WmePjyOH4pYHgHu5SYHGcB5+DH8X2/YsRxZvgW+iNmi3m/4XpPTME+YfQVVWdqO0FSqu5XhySgzkjkRtSMedTXziPuRwzbFjR6aLj1z7GtdxzElEAvpu52NraKjbwPxBvB+8Zaa0k+hLl/mzKYRDikIIN/zUUMDnvonKn8t7iHR+piUMHOJW+gR9oKOgU5rrq8nKhFO3QU4jBk7393a/9KtonxQ9pZoEvFWY/Q8ZUezdmbZs/ovQAZbIC0NA0JADKkTqgG9i6aAZUcrqP+bj2pkApThptm82+2Tk8xAD2Z5ywV5kQfleY+Ru+YBwo/9VVLF2wLb6E2AwWPeV5K/P4qHaidDAtWuhawT5XsYvgDj8ZocRfmnN/FX1zq6kwJyYAMcwM0mWxitF3xEtI1qMdEcOX0dSYZFBao2EIypeols1zGZaTda+HsR7esEm+T7xXqLYO4n9a/UX9UrQiuOAgUQZPdqEkmO7Rh/L9D9xVeYF5BHOtpIO1mxH+LRiYKmswzhXqFPuKaneOknrGY/enlopWcxCCHrxXlItD8v7bmRbUnq8aJkT65IraOZB7oMYcK7tYteqVd6a3RDSzlQtj4EkdRwbSxsxvZZbauYEqPUMunafFCOe+x+4UOHh85ZFkrEOH9IhERvpZl7OuGneR5WSM5sh+s9KuBbfvVF4FLqSgCEmlHHE/1K26eAsRuGdoQ6gLfstKaVBGa3OSwR0hfUBXHCQEpKQbTKfilre7W0jIyMPA1kxZbIaY01FHU60UD0L63oG2s7G9s+BYYed+b9/57p95TPfH0rsmdnZt/2zcFjLVsvKHmIXdYX6ojzGY6WGxKkRdbL7MjguPbCuJ+mxoEIBfUFMl9sXjHtkdHEQ+brvMpHywbhtdtBPH/vMw8FjNxvvLckUdU9Pn6j2dZfx72/n/mJE9ZQAMYB0saImtj6zDhI9NIBvTCVSq0oL+D+ApmbEE5Hlez515k9wldfLSo3hAqhWRIIxWNVoTtTY2YQTvb/nR2V9gAqgmNNcNlNdx9pwm4+N/480kaHzQ2Pj/c675OcxYnAYKNvdeQLWA12NHRUxSI//765cZz3Pd5qrpp11HpUfafyoDVC9vGSDVMMmuNwAoXeEPP1FMZi7+BUDIUEQydYq5Ee7al3a7vFFXMH82i3VggPQyYyTCV8B9vSsGpMpk2vJQiJb+Bk6GJo3BZtQsaf3nMAYdq4ssk/umL49Xivsgs+GXIVLursXsffpQi403YAbRLtBJmVmgKdRR7g0sm3LIIzHiFN5I7sXE5giGN9rkDQ1Y4aQoRYkO0ytp6jPePxbvTGoiA/ni6JBcaFSD8pxJ5Q3EMplPuHzhp4H6CkVecg5KwAkKM94VqE6WkV7X9tQsn50wUOMGsZ7jIEb1jFIGugxvUaghsMCt9NAhw4MikYFPJoI0T+66GT8pEgHuy03cN9ryi+B2mt7VR6/PmW1AcuRgyXtzHjvaBY9KNeU9cKLo7W4KW3OtVurs8KPxqLnw0q0JYqBatv+XNw5Ag5h62Efpfj+y2NalizrrKCRlQDqtRNfD38DI4ulY8lUfUoTuXzkhU4clQjIICefRt9lld+nuNIXSKCW68SwtRyVl7XARuWc+WL9y5EIJQo9mJKp8JAO9/if7wA1GMDdZLglxQrp/9qkvNT86qm6CMVe8+IhhifF0Oh/XqHmYqsmfxlxVtEgfx9oIU5N261J0B2Z9C1/zkVMOhS/oeoMTrXGQ16Th+bk5URK/tWAGc7jWYZFuC6kjzEV0dVQRwQm/HHdSc0MXLJ51N7xUJYVDwkEP1vxmQ5Uu0a1oAq6ubrRJ0hvj0hZWgHao0Z8GexPG0HgOPQjwZjq8KG4ufOTJ8zw6ukCreMz7zFTaYuY6SDY4pp4KKnxlWfqNrpPlLv/Fvze86LXM3eL93jFSbUajHrQK7aaU8aCynAFPMXinv+f2HV+zjkzPfHUCHDRCy+/4Roxj4hZb8UGOoud/6JlRXHqbgOVexP+ppCUAL8uXpGe4k/A8c9Nbbgce4MoP+PjJe0vi0bn2fPlIBe7nqn4eZj4gHmKfbXm/zLkrLJYwhFkjq57wGTaeXjJ1IwoXm1QuXH2jtKVNDcWm2SIJKHMGEi/vQWyxiDnQK4nyjge8gsjStYIkw4xwWvNjQ43nTTGcF/npd0daveK1JYSnjdmJNxupF7op2fLv9ekoUIT2ShNALgmgvTRMEjEe5nuIDlmyfc/BhAUt79uyCVbGIEOFbpkd1PScz6TGUBd0OGHqRk5B9RDkhVz0+KUmsJT5tJpo/USnsCAVz4fdfQxx1V088hRzEYkYULQLRgrsT9T6C8Ob4PZqPnlSOFuFOg7qq5k8yqrHo04L67TPgH2UgqCfDnTrpPvApSc1ieEhUX54I9pIJmyhC2/EssjxTOz6EZ6XzqJ45DCKJbrO6ZzViTR0KDciYHw314Or4h/ke+tedBeVqygN8iXu6MRNoTOJ5jlsOykoz+pKk1pHcmpajFqz/5dUduvgWSFAtSjNq54kjX585jseSq/56jaa5zaHh3qy+taweM2xdPpOiYH/1QKAluPEY44lYyCSHLY4zwGecEXaRXhqcrDS4QdwipxbyHXQDlm37lZgaRghXhhAGZbf8c/ok38Ilz66Dz0tECgPz+Jnv+Y0gmkMnjkomAIa9a/KWB+wCVGUW57BL752T09YzueByEzWevZzMczEXy5VnUbhfjrBe5Ibwnx5fZb7nyYWgXga0xSlsCWHwONORpI29mJDxXfmErQ1hNjt4ZbSAQjA50ZD/6rrTqI9LojN4wHWwgAdP5FUBs4VvYnHG5ETuqVkne6+5NyDgJqGymTHcPumtnaGIr3yTJ7o4HDitXIRL+Qx1Zu6t8J5qgg2B1FeZrTh4IujfCfPpBHdhJMRZoUDbhSXJSJFD7QXkwa2qh7p9XljBgS1g0TMSrEdRPSH4+n7OwJ/4YOlCQhpeyNcnDM3U0caLxprdd6zQEvHR28+VbwpZ1t6fECBvaIlLnyL3YVYXtQI6ctmbrssbkr2/YG5rrvsnMyp7H2g6ShfzkxsPzXqPRojpS0wpGIv7LEzCPsfUpw25KIr6xIbHcCeE1yvVqLDc/GY9iVxv17tDQ6OJc0l2QpYsbC8ctVh5+oltczf6TAPG99Pc6LH8zAioSImPYcWUglteGv/iH33s02Y6t1CBtgD/vxZQK+WHWDD2rTPrMFaXAqPdqw1YiFKobwSuC/LbWMSRJe0ND52ChMJn4nAeWgHvfiKvfsnYR/LXHi6Zjl8o50XwnqmPrbbkeTrZB8FaaSA3hNxjMCgzVMbWfj2bDN2CatzDIC5e58XWkj/8Xui7NPnG2vw/2ylrkSltDVSuAHAPcZiHDwqIXWG3kDUOTzermc2B2wOq6W8e1ecdwaFvm7O9iifn2z6tFzqOxK2XciHzrZBGqd/zPmykdydYgYN0m/GHIpZ/JzxBTqzkYNrtXEZwYuLsanVSVrD/ST4fuduKYqVDXWISbHoRBQzQGIAkFDXE26fMUBudBaxgdmJPpiG3mAnOqLkw/VxPD6ngNeaViGLhLRKH6m893QDm+91BnDTQlfyWU2sSF02NGkOZRjw1f7YWxNOGEALWFmweu9BFdHocBQo7dRjWXqQril2yWwIHv/2v0dwJu971hY1ncUsqFgyzRocpHfaqtC57zWbIHk07qGPH9nFQA8x7lmZGGEN3Ks5zS/sf9pC3eR2zKLuV6WkxjEMN+vEr6tFnVb716H2BLMWej9b48A16DHMvPdmfdCr6htSS5ePJZAMV1csJvfC0HGRPOnDd5NefOqbIZxxUi0OV6HvM2Usbe+AlpAtsRNK2wdS0ahf4QVh0HO6E0tpaKBvV8FwovE9dLxCTmhE3YkhDTCoRzOSKeNd40y3icvHz60L3brzej15iNxu1tuisMoVq25j+Cj237X5BINGFWwMZB4A+vYu2cj7hAh2PmvHBu8XslAt0RhkpQIWy0IgvlROiPJTOuQaGQBhs2/WOH6avLpasQnP/BNa6kj9Hif2bDRjccooezYLNvNhz8wzSIaVjRksJJH/gN6l/JtXxVcmCRFXjDsIpnj4C64PJFYrjo0TCodmrQeeIVDA0NIk8S60kq7ndEe6ESUV1g8XDsPfLecyiKg8xbewS3/JI9gb1Nq+3ZzrPJadh6Ua9mlTw5JKKTgkKN0IX84zrjF7eXHR0H+DgJu0jla7csK13B32J0T5awtLhicZRMS96MNJmonajt6TAGx+YTRlXwPeQtl+pY4RetWh5J45ULRzEZpgxxcBSxZh9jA/lfRJYb3R7CCDbHm0riFge/uXPUuvymnImiVETH3izf6FTcc9E0X1nWEWVfolIYH6puX8zww47DI8KfRUw7fXJlw1aRJYd3/n9gvBMtgK00swNShX6qCbBbW4oasYfSuneKsSP11oBA9mStlYtAVbciRzvrdX2HnrTQYvIHZRMmQguPKxeo1zvC3fnLs+pMcPaID4QbgSni04n769GFRa4W6UlKm0hwH0P1IpHbSC7xuQnFwE0rIia7uDI/esF6Pe32SvTuDI+Y5h4xK30iebX7Gp0kdykku46s8b62+lJ0PZsI9FyuhfDXOmgk3fkSC+LCIdAV0BXPrjM3CLM9R0Uss1YCRT0bCSs3lL9oFuXMnO/beHIxq6P+KXcR17u8x89mGB4VFvsX9WoLxyAzd4kxoJNuXbCmrQHCtr/ecgkQiGK6pjw1rm4NosQTdEm4bSs+WtJiJXBXcZwUWNs0G+my488SCnO65NM6Jy+70UTxv+AHzvqWQMb5+5ZrwAd2a06pZutQ6LlFIXeYirGqDkv6L2eSrwFWkRaD0PuPrULaGRrg557LoM0j2pY3s+1Yo06TSPMMDQA8r3ij12bW+6NdinDDfvK8NivACmm12L0SDkxJmLJu0DUbG/2neAqG4YLy8VQ+wIcTQ3HhU5m12wfaKUugECQ+bKvIhkgx9LL+q4CtqMuF9hteaYYJLkKtYH6GoN1+KKha/6zF4gGUdkXaza0DXVIRPrno6XAW9Pvl6KeofOyvx/kvQVLElstl4UnOgd9a4DtdNt4s6XAkb6vIeqRNUoWWs7CT+Y3mYQzeAe/g9MPHTdgqujDzaeA3/QeIeHMe+vcpqEfmHa8VS+SB1WHo8TVpti+0pCFlysDuK73eeg8zyIKFfcuHrLqnaSKQbMww6DcHkznnYPINgOXt3lSBFGbbQKWieH76cFhPzqpNdJeQzewnOpXa+5gnbZsOeUvzd5gQMyqnxfGuhqreVqrhBjUDuQBW5lSBa0TIT15tr6m+CzkzCzxBhJoDRX8F3Jn8npyfFuSOK58WWxBRgLhXBLZ8Z5w1p3iYs2ib9vc/eOA2w3BMInWlEsigs83N4oMWkWMgsP9/ccuzCGGRcFmWSgY2hGOhhxySrIG5FO2Bvsm+0jIpkDkXhnpJl6MdmuWGQSA2y+CL2fN4VfFqzM9lkIk43HiDMu7xrmirPfutVC/BCHUTHDCaKS6hpA0OoBm/P2u5xq+O+b7BPr1ktRIqu/QnF5Yz/h9E3NJ2MdntBzKIuOmhYjsnrjwC5uAiy1k7iAzuyJhv8312ORklLt0juNmzisI83U1pRYAkq1nh6Dy8VF3O0RYcpJY8betRE1ACVo57mVaiclAAsbdOfPzKcCRsEAayKXBTTqnN9RP/maFY1aoofL/1A3IXm0uf6OxcLtMFq6bJ9XQFErdUM+snrTR0Q1XO87hootcZcJ81BhoATQ35uK1k+Ht4ekAORaGVt10TRnyO67bRdUImjKO/2AClIm/mzlsW0Hv50gKGrTgNv3pQst2fyLOAtWMwzIFIZiuTdhaNvVrvFNfQ6z1ZcTCYIzbnTUDOaPm63FlrOv1Ov77sE4VkwWYOodwmmQ+iz9ZCpx+lFttmaWQnUqdZS7+87yNiGQsTSUKVFlYrLGvSprfyywQiwSNa96RxQApyFTzBzhuLm5fO+7sO5pzgsiKFmteUWw2t3z6MthFmhykeBJm94Pqedm2a/sPBHuVL76pZwtjGWO0Ptuqhx881H+w4y87kbY7MI2hniGzpQa3QY55Tw+qz5ajDCtSyGhZIt5siWV+UtdecmJesoQ5dGsLxJcHzcyYcNxzxE4k6xgFCtuzI2swm6cRvIJkIqWqgRHz7CeHxmQcDqcfpjkqKu7EbrN5O75wy8HFDgXZa6E9P92bVGUhPFfKpt7J1YsTNpd+I7AGn40KFwGWJw9sNS+mmD+5nPRZfpjKIT/u26SVJ54/adEPpJ1Y6b1HKxCF5D7cKS9kCulsitTjdsIG3SHezoU2zMaCxXVBN1AqqSKmbJWIvT/pOJ7ENpW5CKnVGPyFnWdhsmmhZTXKZApRCdIKn/OOIGqb76FXcFlOiJ+sYaewLpepB3LqrjODrqHH/fLMDHYWfE9xlbnOYQJm5Y48J+nswFlgzOfwZRPJI9bt3WDWUTSyA/unUhNg90HJYFsapdt7LVK02SNxJNORlYNtA79bQiQeNGFdqV7fx5mNQzZi7bApWTE7OXLnAedsQuFgigRNNwW4fbox7fNeeZAElnGb9HL3MPSFCYYou1kWvcrsHv8FnkxO7aKPrJkcE/BvV3rftg4b8FgkcdXKKr2WWCDH19aL7oz56kE0PwXgcmLggd8+6QtufeNUM7bYXmBZBXKZd5bgFawGIAYbZWY0L9le1c+Vv5AGs8H2MYFVAdV8s0qMcf9iPTIB+64/bFT1jdcSWlaSb5DhvCrGbjzWPD9B8u0VTWEZS7vouf2avvV5yG9HKIHbKrntVzK6IwjTvT1JrhVdV84d80G9vTiaAuaerifooAQ+SnnYFkiaCZ6dnaibuVfOKG8W6mShmsU2di/l33rY7punaJ/uZuqtNBMrslc9wQa8NYUlnepgGOkk8iMw1mI+cbbQkuo0KH5dain+8aY9YOTgqGTEkKri5c1nKL+82wZ2yy8UphG9VNOwNJLTeXXuyRA2u0Cf86SeZqf9SaHHz7/ejpx/ixqumTx/IOkUiyPnHDEMli6rD0OYOTI1Vg1Aq7Q9amGxiNR7oRfcLnlih1s5mAgAr86gbklAdt9zHkUXheriGgOnhrVMmCF3mBJgPo9Ys5FauwiZo+lUqF0QAgkUyiAMIrqD76zLk+CKC5l8PYkWvxUU48zoI+hp1G6wvOZrtFrErMsli+3jyTWnQQwgA5pN3cyHpjWA0wV3CHOfti/+sCFlK9CSxT8fQe3TFdaehrKhXk5iOpBbM80ighra0zO1W3wQnFocFVrQEWsxIvY5dRDhmF+nTIL/uWkSQ1T4ysET29mQSkST+nNVc+Wb8w5++b2sKAC4Lffc9YZDuMJl7DnG4zxR/F3PFfcSaWRlxBWZd6m2UjjIlrVu7oJFHNuJjpKEEVln6jGhivYv64yfUgzvI+S5m/7Doyf3YgvPFtkj0dg1hU+K3KrVjgM7SjHgZmXZiUJFTvIgVnNZ/nThU0rDEuznUNONMohSvmNo/jRBHGY0ZnP2OlN5o4lTnkQ/wsvuamvuz6JeJSvt5Kwxry4IH80Yg9bgfsoL9hJJPO/HXjUFdi0COUr6tlMe96IQMPZewWk06f/FC2hLd+KO01FrefSBLSsewbUJBVdBIrCmU0Tm+FDHniPjUBTrvZtfzf6WGPM+HbL7rL8D38k+vgfwQvodBbpMWbFrzSH4+7Z4If6OL75igUUbEmLqv1B8w7BsFfI2TDEEkywwCRp3FiC8EXrjlb7fTQ2FE/EpUNnRyO/rQz66He2UAomG97e7Tc+8CJocVaqtzmygvrEyKxs1YFlghIFdHKtKZQCrzDWN1blHCaGztXlZDc8o6KFekW0A+9MIG7B23XpwxhW5MEoPkSjRIrsTz7e+ymHH42jwxo7kLq7cBIvfAKaqYJRpFxBHN9Pkv/5+hFVh+PvXej4z6zu4HnFAej/45tUI0xDY2K33torA4VkwJrTQDT2G/a5xSPKEe3hhNVxXWVlo8DwV4bUdPq85XDpk9azKSSexj6gCEkXTIEAEOfhFG1arJsah1xkJAyBZz77g1FQHzpFaohBAgPBLX+bdjep75hj82f+f1uqDjkBZSDwH3k4oUYKqXoP9rV96ljIwq7MisTNOTRMgTwYtNg79+sOrQp6/nZ3t9yUiamBjAeotd7f+TAw+8yfx/5yxPw4u0IpDs+ASW51UBWGyKbHSOjLdnk2L7nceUJKhekTncAXdln1+qou6rvofNqYJGfVFAXf4tvcyXdRMbCTropnXTa9RQ84+p4xZ8H9nAZhlcCWgTeW7DH/1LJIfWul5aDzbxXYsRVc6AyMjkRAW16dGdsjzNGeZMLqUkpagt/9cx5IpDXCLL5hrgdlWH8I11OgUY3bAv/9gmyP1fCrHycYfBA9v1NxJPYvdIfgAlwgHEN2n2RtSJ3r8rHO+0n1ftRcMVIKRKnGANcGvqttd9NxamNw7EjxdEejFU5jHtdVIl/Y3IxxHnZBDgsQFeKKuBGZyD4NAxQdUmFDBRlnuYC7+TkNOSQBnqOuDk7Cz6DV1xzMS0wGqtUftSqCLJL6x29y8w4hV9P13aTwgx+Ti2pUo1BarlyNWrPH1t2elvgKz4rEYeTDCYaZiO2+FqyyhcT840WOIAaI7UViMzmLU+D0pE6OcSmJBOz9B4Ai/SaetbhLNi57Su7m8NAcvkAqbW1nltdHrYPNuWJepavRSwHGVkUlBeKOu383k5yKurpNFdbhSyHCB+LfsY1nVwT9EYr7IiJFXgD3E4GDCyMH46GnWjqwc4eq+enhTAkm0QIMyjYPC91Kv+1Bn4OcPKk1VOeEOxMHV0gEi0UjLQk7VrQbPkrkRSWBEjbPkAnvUyIULbogHu9Dwu88o2OeHsFeehAdS/rOKyx6nWOYSqs5OjYnGPCCjxr6y//1vn0bqeF2n4gcEuZcAOI6SkolvBJNf2PxI1gsvLhkX5fJtKRf8WumbAG42Rid7U5JEW87EwqUgKB5mSiiW16vlmIsSiyLsXLmbILroETWmqldJei3rcDv3NlcCKssXVva507oMlFgmLpLRlnurlAJVxjF15pa9q3cpGYoTmE2mo3jjO3l3PUXJvNtjNIFgqRz/N9ULTYt09Vn8KAu2Onu3P0GsOa2mErfn+mbEqrPf916ErrPV+vParllulptBVy5HUGv6hVRN1hnIjFNi1tQiDlljeUnb5fL/rP+/zGDu2hagElLu0RK6p2tVNptZwNg8KhwUhd2pYDWw5r2syJoNt0UMdICzuX/BDNw5CrFk2njh9/2vIIGUyMSIWlf/ivICzzD2raxjengDtq/PKDjDPdSUU2QwGT/kbF9Sm6gMOu/XbH4M9nEM8uZ/i8PQ9o1E0te8g+Q7PPpUg/qTR4QD1Mvvo4ksso0fA0IDiXX7n7yBCiv90uI730xZ09J94SsarPbNpa93orilw0JDnJzJ/z9gMg728lj7zyS0Hh0Fap5nuggOQBBjWdR09K71WAd9+8POesODgSE/2odNQZGcp9QFiSa85Nlmiwt2W7EZcKd9CsmkWHzAPPNvrBkUf/nYUdSZfz7CLqGZBXkfI+ga8FV/37k7+GVkEJ2xng19c2Ftkokw6o9DMzxxcr7tJfOoKlbkRgG5Z8MGr3Y1I/mdVxsIr1bVKDjtp2tnRYkNUx4UxFbmrgwTtRLnfvNjVot9aS3dKrNe6vSFJTlcsCka4LeqmysORFWXBDmF2Lwv5zE7PqabXlAc8MM2ou7DbKQ49x8OlPiVDqoxd5086MchyJ6eZvqiOQf0pP9lkMRcYLUih8B57dOq9FcLBbcGsRu0mXTuTE3Fli9ZHah1BjRRDUCEm2nW2uv0hE6wOocgOB+qj9M5Cvf8y+40mQg1BVlcIlmNtFxIzctkC5cOEfNw4qAXHc1Na9YV/xxTvGRf6zGTzp/3HW0O47KEu2MC2iHZ3RiQXSqK+ehewjI6x+ecL+XgbOgHqcn5PjprbZTVAJXphRTb73Xo2EIyDF0fyGe06t8thd2T5AOahyP7rdgocQmNcpe/Jto/3m9rzXr01eU7HbySmJCKhYX5FXMiokMDDQ3hxVkAzNcW31t2YVk17Ojk08mDer7IdLcZCeCkLmVe8obPXuBfN4gFquLnJp141C5W6sV4j8wsXv0XxiDyb+iHQjH1059hefnZU+twcrZ/EWzpWlaCRBcPFSqw3/cpkfpTjVb+eHqqZt5mTzSlY5OgnrqB/WYy3hf3rST8coyCfUumnKldLY0fR7RdjHGoTZC1zJp+O2MllroXp9tlXFkmrYA1iWhAGWqfpH0IKSt724fJS6j+egY2TL1Jo8w7U5HzWcXBlTi2UPDVSiUClyhCT9slm9XhBHZ3Mxr0Zff/LdUDp0Pct9fadYk+b10jvXNK4UxkjRPnhVWcXhFVlFbH1lmC40sauWrajIGcL08dSoDhHt6SjQZg8QhI0OT0jgGjotRfgxcbzGqm7Veq0TgqoKpTb6mmcTHelU8+pSVK7hpTG64gw/dfZOws/XAnFf6CVLPx00G+X+Di1I9t2QvZgootRqhsqUvW9zg4n8zw6dFssgouxSQkovHcFJj/llojf4emGrDib6VKOwp6EsLj+Sebv5se8BIkHUvjJlDEMVnjX3W89Yi+RrvU67dfl2ACINGsyL5OfSfDnz+WpaE5VtjQ4B+FBPQ8g2nY9S9Wtz+G8JqitGp9XnA+kbEKXFhCHHotQxbQxKHp9qErF2vGpny7dcGPS3+az4G4y/xSqYCq/b1zTd/jU0jda6R8rBXBtUJvtDuyM1JevCrlETVo7jl45W4CYLPZmNHzGlOrXV+yqFstvW+c0oubT5rmb86PH/YX3yR6tHiiEUNi8X0MM6ljsk6OdGrlRTYnkPmuU78mZU7OPC/mJySMfZgJHt6ry9P31zt2eVY6Ekzx6eNc7GneMPh54zqawD0BECohWdois8tK27UzfXYwz9Acm8M0rDodsTf1ZXK4MZHB6dsCET5qsYqjsGe+gm9twdkb79K2buvms2CCgpTYPAkpx/s6DYuhupvONQhTW1GRhwa+QoIvq9xrHP+ls+cXZU4e+oyYMRi9iWF2kLx+OC98ADhyCVAu95u6jEMZpbMbAz8hE1Z+Pf7N6Rrfu1nq1tmKYr1/9gA3jHFfP4PSvSo9IdrwAk8u+AkbWSeObLEy48tnd1p1QkjWV2LD1gKNeVMbNjummea2P0B0bWmXXraHQffpG7UMDVegKaU4XnKGt8VExHQBGhYK42Icn2PKw95RQIYjcfpuvdcxNt0WQ7b2v8MUz8mLuV21kOC4n3OqS+w5ZgTGfh3w/mzfmx+x0zJt5/TdxKTUNXLHSP5gCMtefTfkd8rrXxerpkbhVViWKOfporRv9lAY1mWcR6cNKZgBHhRAZ5ltHpbBWbKYkuJbWBWVi8ma/nwZ1p0fj9tKRtBkZpJmaJBbYWZO5QVYKA7SEgazJLc4j33T7/sSYlTqxDO6P+506sdqAGVTDswsiOYIvqHkI0uTViFHjDgJtRYjZFyqDZs9/C3FPRUkGnrIwGS0pSOV49Fy154mq/UMrDHa/W4DTRMkHSeOksTtoVrwJXsZfwLEy4oKZpf0PFhL82JdITTv41jzPuhLeLBgke+36y00MIJnsnH58mo3Hww76Qq0CdbqPMhHYs3EaOPQo0+PNrtbC0HrD6qGt/s1PrxJxZOQCrgG/s14OEnh1LncvG1AUKGjUHTFziqyVuyMsIO8KH0EBKrwAAYytlGYfLPcPlLOwNqWO5uZRmps8WJhdwuP+z5GZtDwSxbnEhOA18w+na0vyzEtIEUg4qh0fUjBlgt6fvvNp0Un9MgYfxOC/7QR8xhRUJ8XPyiNYxhpZu0jkMYQv9PQlZxc8eL+s1KYHFk0QgRHubG5U7Dce4aQxXTzlYsXFRUu8gTD0L+ud3vNaQrSZGP3LpAdLK3kp9al+DkR5muZ3Lm+qAg3kVoKMVbqLca9kbIsCzuOrczhQEA0ZHVCtAzLKBu9XbD76notPmQ+vjPAnUrqRoWxkwTkSpZbXdmxA9w2mU1nf8PiwqwQGWoSH8ahxWNsPuBLCGAm8jTRiT4rLdRyj4khCLnmc9v8/pj0WMDnSn/yIfR64BxY8MwW6aVQZf1vFaiO7wri5Wmy7zrExjvQi5KJXVYSDQ8ZdDxduZB+5UP/TCTWR51xBlRS/m8vPV9aUCvEYR73kc3W8V44K0yFzf/EyvQ7XBjTUYeqLIWbFpp9okQAOroHsaOYcCegpFIlcjcAIIvYct312rZIr3NymqcrPHAldkCWF4xpzTzV+M8G2CfHAlF5L5tnz2WEz/RyeYgPZTl8O/SGlF/D2I8jFv3ZJvjLoT9n8LiGAQg4+rBAYeeeDdUJ5eV14CzVexyrGX9locrFnnzTQE6nx/RYSdVeenS+QX5BuGGYzl4WbG9nw78mb8qeD/wAkELbcDb7Jpow98TeoiCa3oFYmIQla10HGJSlECl2PDGIrPa8YZ80XmblPzDqKp+GSg9/A6OhWt872sVTBa8BsYb2o9GiRWENMQPis+cu36Fiu/MRnI0Khw14wzpvzD7Pl7frYNDlKBcuyJ2+QsauPFxgk7X81ziGFGAc1Ec70UbEirh3TD2IyoGWxHvJqNYBskQwzTH/93rE7SDadbTzR21sazioVIOURE2uIsUaXQ5acEsm6BQYhNh7seDHt/wKBSU3bJnHMaQcLjSVGIuWoRdXvOi0k6i8/RE7ujPoanKI33ix/IUZ4osPDg3VRL+TnW+vB42QHhojVt1wUB7lEpRmGWmfWE4LNjealEu8PJ3NkOf/W80qO0K3FNp/TMHOAOPRuL77vzQQZ5iQs+eiLdUkFnEf2QSAXyfAyF2MUc/Bcbn9snZeHCKBR15vUpCAZjS8ZccGiJzYFL/P2mOLM9XG6W7LQMuO33cH9xXvZknhHbVxGRSM9+XXk57u5kwYyxeS2lTfyVAf7J11in5D7HPLDxvPh1z8XUVoo97X80D5H3KAvKT67PCnq7nHbhAg4rSvzJetDmnU1xSKirmGZDp8V5sR07MzlsIBF/IU+f/vRPYOxC3W8QlELN4EI2GItwFqXr7Kwg+dfVLlB92CRLSt0sAMxr4yCfq/Eo0TUTP/YC4Mg4CwCs7HCF/WrnYtUTnDN/oGJm6FJMHaefTJwjQ4oblqykOv/cYlLPqZPALwovdvIUUUXihrVN3QorFKFp0hRN4/RtBW9Y4dPUbOn0iD23zRtiFv/3E1r8Jc7X5jsoTFhK2LH7c2QE4nOu/flRHpgK+F6DB2NbqhbssYonPdziZjB1EUdYnH2RFsC1XgxZBCZrkNCtl5iv1efrgFF1fWH/HyfjwJCIYxsZHtC4BmUNbkBzD/7CDK1wqKIhU2QAaRQ/0RYQZC1DsFPtsVGNzTaAj5B5GAWm2H9UokJFskR8fGizJ7JwEfQ8C0CyaqlOmYBj1pmMG9a8AR4IMXsQAB00lc0TP03Gstaq5FMUgr+Ft/zO94ZDRHtdGTWGD776NY7tsL6lQ317RqeSWx9KktQFo02/WKhC9GsvRt4q7s5MlQMxV4SBAKGKJp+PGnlwyiPkru0RfwFj4C33GyRPL+QZHRzPPG4KXaMdWfmi7KmCpr/kFRc7bSyrP51CXYlbmUt9gI8ETjD09f5yd02JcZ8ZuPnb2bMzCamvUjkSatyivKLboDFj2HnNYpxL7F+uuZbCwaEa0BfZz6Ws6QBPzVo7uTeXBO+K3p444spQvVZvgSitMJaJys16dpWtuulEOPoyuO1QkYxrtksdg3wM2BmE1FWwoOM7ZODrNA4IQPXWIft0Ofj3nJIFadvl9utWCu5aNLGQqN0ZhqRrIh0UjnYX+Q/Qvq0SnlEIkW381EDK0cF35Nc5IWOxnY87SsnwlM92dk1SgDWo1JxX5hrwf9ZzIFnq2ow3Gm8koHa5Z9PybITnvUfN96OLxSEXxKuxkHeTvxnUeUuJOebjMU+DW6XzZjwY3Ih20h7EXMpV9WCNQZpEBiTn6QhujPttuJNel86ZLJRUyFSwxlWYOkF6ORNvbZBCQT1Ov/LNPE1zQcdoKYFZWKC+m5k9rxOhyRa7sjxdAcz5lc5Cg26+FM4u7OP+ZxTCWO8X+9FcLAjl1gIcALqT4TrLHijxAdJ2mcyPWXdyzI/pIWsVQiVrNoUi4UTO1U5Du5/7Um5DDA6mMiYoRDxXAvDNNRmR2b+Ac8KUPStyhJzEna60RVrFRUEK7iIjRnwE6U65eyStCwsl5ZAO2ajiLHUwkeyFiP0t4P7/nz8APB/gFO49ZKvcmEqC0vTXwPZvEiSlPbbVB/2oEE6AK6bIRtA3fMD9+6H958xIDk2y4RqFU4R5GLx58vVeaoWi8f+J5ntfO88/z5nOv9j5/rnhKzaIyu5g9qAtCfOnbIPNVcAgHvOCyhiHxLWSi2N7oLlAUOzbZj3VaowR5CSGZM+a8i6LNu86DW387CFgKBgMcsu5r+SbkgBb7tjdcYg3BzfMNgqh4MO5FSpzNaFXCAFPvHVMit2AmyUSRawxoVmDImQCZ6IAazLD/Y+nOh6341fq+IKIckiQz4GTAiCLtnmIp9nWD0KTzsNLD0K3Hxi/PxRrqJrmplquGhyLlg1PSkL9hXdygsdAznB/CZFSkJ0KKHeGRijvOelhIbRkZSv2i3Ks9UOwhUYYjbDSRVWUfX7cxeq/8Ju2hk1hA2CthxejdZ/c6mkQJPT+ieaUQgVY6Rw4MmKiXm8iTFc3y98WCIFiBHHIz58V5bhFi/wCP7139QY5jqAsSxCxzpKFh+xGcoqL834GWLng1O+SiO8YMJYsKCWC6hHaNqfNpWDarTfqo9B7upygMavzlFF7cgI1FyaD5gvqVP+iMw76cYmWoSFrFiTXfPFSP8nMoRGh8G7IENPHbH/XgaDsmFIdmv422rvdkgjosvZwriRfa8LZqVCoF21/KAw4igIurP2GgeStHGfu1Y+ZiigTqBht9n3A6z7otZArxs9FHmtg6PNFc3OhORh3HDzhn//igGlBrHWhs7uhDyojnEPpfF7SGpczqZm6r+O9W8GIpwMCFw2axTjzhT8GXCO4IkXfjGUF/BMcIsuYMHkelpQ/XtMbCggQu6zDxgcG4dHQ8F6KP05IX4VIJtn4sLT2IHdk4ATDNjgCTGCOM8/HVZ319+0TH3XgYNN3K3Q4fktL+oXMiz2kcycUYeuiCWfXP5GwgRmaaiOxEJNwxcrqKN0l+LOYEnQIoa/ja2ViW26xBP8DUqebQoIAoXjKAuiDVB3Y4GAWcT8z01HX9SfKDSeWRLL5tluF/cwGklCjRrrP1PgviCGQqD4ZY5t6UiXG7M4xJhde84pS5Dedka5Ej7EtRR0sdrQMOw2D28B3GCkLH6ldbj3HiaVqWz6nGPTQDyRaT+J3DxJXE88sbpcUGiOKcuYkhaqGGdu60LFvMkJuZ41tgR2PVZs2gHsYlLJi2c/9sY5FfSjy1d8WhiNkNPw8jZ3sp+qJiQRPlidQKx+HJIV4UZo4VitqEqabwZNj6Yn13Kqy3Rk6+58dfR6lcW/sSK7GvkCV8DLaOtgCB1UeDvY/cPzawabJQDVOHX4lFmhj+uqY0hwHPuqpt5FA1fxbEtXFP0Ao5CMAVg0xxPPwXfb+ZGr+tQoIfFjmFvIfdmOEJTM/PpqEuG8N+/FCJkxxh3v4OE9ALW5jHoRXmBYUmbZgGNGGA1MLaXxD9H/e7yC2ZbUSvNqPoMMCEEE3mPf9S5zK/MDSu4jKkZn+Y63fKl6+Z43uDxrERQMIPTDsiSB5GHFWLesw45JenMYsjaw2k6SRNuJ4Ei2Ob1BIklXfmqNBrvLZoH/RCBIP0OWxGlfCgsAleqx4vnV8mXqaJ/Z59LHfRluUf7QJASreJ/O1xWMlmfxe23T+xEaCjyTlMyWAbjWNuJBEn8/RLrsJX6tjJTXEUYYkrW4V/AngFptEsvyPQCZsG7giiVJv0nrFx3160KsV20QHb49bx6QxV0Pue/mEB4DKq5OiA7H62x7us4d7yOlNTvKkco1rhwJnfmR5tSGeojmNnhxNdEbeHbPkG0sIq0+Gc0ImBeznfYMjP5xOaBFaEfDS6IlknKz5Ed324S1Hf8UGrR6W+RtEplSP2af6eAwzixOuivB5yQq+DuYvs2kXovvmSjgEz1Xwh+CyCVWNq/0QVQCFEUtTkfqj7VyE11Mv+G8ciOs/TRpU6l85cZ5JWqVGJu9IARpHiwWcNGZIvo3tHExNrR5r0VDjLES74HOXeRibrHrAG0pzZ1uYKlzL0yBdWBDR5kiwn2xJUzP+RVu+/vARQesoK+kFoyhoqH7k/3dIWWPjSqP9Kqy+cBNjNMkGXK3pfvayF0Cptia4Ftd83KrSrGLiOEQM2WZjhGzCq0P515uTDns31A+zPsQiXc6QvdFTp9/6rKqikCHRXsKbiRsZGZVi2ja+1Lv5pu2HsFSvuiSlB0w7NXO7ig8K/vM7rnr7c+9UIJP4xtY0ZeqcSTs45welIeOfuDcZheTCA2/+xxHm0WnZt4us5cEcy79JlQuZMw/uAwZTxVyHokI2JLlzY7YpuYVj4obKc3enUZkRO42+ZDHbqtYqj+W2FTdtI479yzKSmA7mebQ6ePKNZMyasnLmqk9J5GDc4W03gLOVIAG71t6Z2EpD+hRZ2acDIR5ym682SkxelCapHePZZhrkpL1EET1cyYxFyAPydZuwAfD5bpw8z5viepgx2SyZjaEQ8H2wil+plufP66F22pV1tnl4PXtdm36Vt8ZwYwnC5usc1hh8x/nv1nI+Rf+PZ15/Gj9Fj8DVC9t+30OppH9KVrCwrNAPLpcw9mzWWtM/O6E6XiuoGtwIiA0My/juWKzOhCTk9lELkaY8lLXIOxa+89Kr8vwHWRKZyCsxcFGKJbAhYjGOsT3pIZGtKu7mfq8bBuzu43bETBMaRwdBnPP5NnQcmBkmh4sUV0KmW5/wHtA89SHAWtv3muE5WPZz69xWCtJc0YkzCU0YDlhu6eiZ6vXnS6nF2wMLjDiwTm0TO05S/LysxEfbFU7w1kLwbkpaA75ULR7gDo0KY+AIxGizpXdGB7rOkrmgAwMSFhAMIwDIq/5tFLKZTxIvF9DrCwczJMFqgOFJwXTVy6ptccHEK8diZ3ttxu9gIpoWyt3c5k3O7US4vi/R5zDAR/DFldkKW/0BGWIWFAppg8FDs4uNv/fkZfm81k0IT/hQJot8ErekCmfOhKk80Ni0YA30eX8uF7Y8jeoJG4qJ2ixNaKXaHisL4Prf31o4fKiXMV1w0vnhdn4dff4HLntTO5ZMbktEd/AxbKUoezRH2KGSwht3XtnkTVJ5InuiIk4slQzStLKzfjP9TlhSczndPHH6HuJw78fNDAnl3tueihc+coANv3bKXrCQd/Ov5/iv0mujcIPU6eH2tABWDI05XwiQSuf4InPSAU0DzbiKf/CRkGN9St7p1ZTFAg7F8dlMKvd/Xv479fOxaJtG+BzNa8MkmVlHrgJOLc0XDNxt667QW+w41dX0smgOuPmWHIhDP3sQ2Nml+WIkRrPv63A7CPe6oFhABTg3MIY66k+s7e82E1ERDiD5rac+Hz2dRiDmcUSad58/fyop+Ayw8VbBLP1v9FCsqyUoxjjCuQcePCGXq12BRDB+RxMXarczS+PXXLywMjPqLU/n8TmfPIipkM7LN74V/sSg1hCB7O/FwYWd9U3zJ9hOkC/XDIesjY4pchVtNuxx4HOmXRxFZlbyZe6DcsofcVErPnaENoLqKUjXGfR8PZdEnYl1N9URzdBg9DsXSSHXwoNs0PDVn75Ln0Uwl9iKiTN/DZZF/fbyxcUvS9V9Uh5+2Yztn9IfaDkGr9f1BaC0rDuloDhXoTBqHFeTY6i2n2Rce1Z0YgGTvMVrTFZ3Idwp/TDo7LtKJylA691l4f7+otj3xOHd1huuFIVeglGLA0/IOYNOPV5ccz8nlyGqQ6R/pph1qP0OWlOH42y2FYrGP+elkccrXfu4SxaBiIoalrk7RiXs3psl/Vn7Sn93omIzuLmGiVeuxUcJsButiNF7WmL02EKV0RD6gMxWHGSO1WzTC5ZcWaoFAJTzzP/RSI3Nzx11bL1jmpS9zi0NjJY/p2cCC0b3x8xThWnzOm4pSMZ6flo9a+8he9VYC0hFGc5dzrqjKBySoiUYpzp0l0fITZ/IZgs2ktLX0jHPUCTpw7pu71c0tH66CmVZFT8aRboZ/4jDDPNuOiXl4EN7ptT2jFHfo2oAfdFF8Jzi58wmMQs2ZuKjGaC6ZJW6BMZPKQ4leifBPIDAdgB3Opk5JVtBAhCOKLWdCBN41G3ByJk3NowPcGnrRDDaQ1mUEcgVXOouqB94XyOK1LAdJwVE7AF+uF6tETBfCjsyXL/MVuYvKALWP8st9P3LFzZyk5PS+Tntqe5pHBpL2ZoKCDo/cHkIWJUGTvk3ZhLRdlvmrB8mQgzf58SmO0wukBs36Ve8NVmhkmN0Bf/xqONIwoPqRXgyjVGsZx/IDRB+acbtzc9j/Ih5FbRWR/d1KG6ZVMjPqrf4iFHr44+QxQKBqetRsFSQxMcdPkuqMTdl3vQNRonWwroU7CLWtNFCkCP/NCqojs4XhNkTVxi8kKrRcYsuCYccwi6BNalOZQ++F/l2Sbh7R+xgmxdvkpq5vL+/ywVK+b9n8fmrRTl6fA46NDk4J6JWvLWiVQsncH1D1hO0Coh/1uwm0dVsNLS6W/JsevNWizTUkeKdB1ihLel0B9fP4dYErx1/hgBGVCEOTM93GDDTrNFTMQrFYPhSMhMFSsbkKuKVOU8nHWmxBeFZVZyen/q/BTNhiwmB38X7p9AS+Ra6Unh96pAwmcEFhxolg84rz/Q7v1iaxR5Ja3gP5sE+3Kr7dybnkOWIHHy0v15Oxx5WK0JyhIcIR/rtizR+waVhwGGi3KvIMRG4f5AEr0uzMuSusWUKPlpit/RkOHh9EHr+Zr82VctT09Opa1YJlmLyRSKoxOfiPnALAK3aX5iAXlmHV6ZG8myQTboPp+m2iUPnNL6wcjApNOSeZVwqEjbFqs/ZoCGHRwQBaU2NtrMJB0WQLU5sw8NGMTPN6eHTjTLKSjPuoNURFjNpRxAquqfnqTc+IpXGQuDlm88az3s57mb5rioy65aMMoH+90+idrY/NVMRdQzO89sykaanMulw/4rIynraZbAV84V01e7sRRjZ/ZKOVf2UpZyJPj33mPdj1Bu6kOPSa1a585sNuFxAlvVoujYvK63uZrnBAmX75b5xJgGzYlYlwQ3KQZCBa+Cd481X/YV/ucef0gn/FgWLuwm2pTdIO0ExaxCoKJU4PR/Ypo95ZN2/fblgIB6gc9LwVcHjB8NzocaIgtdqogtXnAUXHUVmMYQKlsBU03HTWqbfyAIHGroiu1Ig5Vn9wLB+fQ97FFl0MOVfU0ptkRwHsWz2aJfkLa2UTVYCJtVTLElpO+K1qkC/e/tSAK2yqNn1RN4UHqpAkpFkSlRaMbxkntxtx5GjUycSWQMFX21wsFjPL/bsWo2/Glh0JroY9AN8M3HokbjO7gVCSMSGTNutmTnmHUxc0723mxP7Usq3K9MIQBwgTjjXPKaCKzDUT/eiUgDhAxXTz6vt2qwHR7YRnbFeUcIJAvk7K6VlRjcig4NZydR359oxiWc2ZoAhlOeEW3CVAnoxffDr55TehOrJd7ifAzrx9EJFM6VfmMbfZKonwyOYFprs1usMXbuFMa6K+u0Yl8hDEXcWJkHft9ULy2ldADxskm1obYpwkvrBzq4egg/6HLcz9qH7LuM0RyDX9nzLccTiQ/S1OUq+n/fiHbIo2cLQ5a6Rm0ZBzyVaXExBTZKwwvpkDVjLvPuJtxUAYAmbSpWQqRd4Y1j10PVK8Qo/PUt+dpsY4cqxBMMM37SS8G4mfJZely6MD5c6ZVG6SXH7XET02PNdXpSaMsFQ/SmMay9Fs0znDwIi55LzAsU7Pk1my0usqTdPDqGYVUmAH/SHKAn6dh+LGTj0Nx+tT5EH/SF43IXBzl8tB9XXOtrstn1ia8GmUCkWkSQLur03MdwUHlZPRef4EfnEyiRfmCb3jwdbBchoeTdWcUd3YZhpGivanzl6+z8ZjuavkG50liXIjXlcofv9ovPi17XsOjeMz0SkgPlDpSD3j/KEJYB22Jwd6ELtkp16ufxU7PwZK574BGzLvCHKJXn59uMx9WdTXNcURgQ5P8utHfbdr8Qu0p/TP6bK6zd7famFxN3nud/4sLzsEUxo5yeS6Usr9xquEA4gRc6UbCWMB/4/aok+w0hVtTc4oZYW8ZV/IHra9yeh0xtOqppkQSGxm6r8zaVLWVw0bvaukG4AlsXHuV9JZM1LPnjJaeIX/6bQFqk/U16LGe25iY/qNSgV15OUedRu7I/sPvexVeKrlcjboqgqKMS5eyCCQSaWp1nvxKkAIDxY4bp0zCs2opwwl5baX0m383GTHfWqnw84Uu7bFqDGWgBFVPFEazM4zmNOTWGsIilt1wBnbPKATE+KThHzynxARN3g+SYrAoLQk3pjb+h5lNbD6opJ2gCP+D2jCed+hBhM2Nmi7vntJZq+inXJe6H1SVZb+leHBpl2ihPei6o4OTv+AaoXMf/hFbB5BQLOmDlqbE3G26ouIQdLik6p/umtRjkUNG6bk4uHq1CtVeMkKePI7fQH3z+opK8yTP0KADwQ9+LNoqtho1d8NSg8IWkiuCKghDtuNbNIiumMHwj+4c5IAVocGl+XXtEGxmLaBCaX+qf6g0Xh8ORECG7EOxu0JfuAuwzrZ0Fq89nq6EbLHoHUXuOrU00bpOm6Ti7hG1ADsC6zYJCQC9kxODQtvZqjn58Bv5ukV7ifrtmaVsahlaw03PYl+arY4wzGJBy1wcBXQXmNwGUCBb8bqj85J40cHFqdx4wRA2oWDCQDbAn+n22HPHxa7hExGq81JMivgdJTaQG0Wn4f/8XGUaGQ/FVaI2VqEo/7oRygbgoX+3nb4QUcDk02/SC//+8sp90O3WftXat5ND36k6SmrPDPVc5w6iyUbDTfob/ahsd27A5GyJ3sv+8+nERDrRp1D+VEAfyLetA/SwQYAOPrHk8zVASZVgA5vk8qlVbD0GS1IZ8rirXJ1jm3xNdC/abOHM8X/LzCxtCtVXx2QV/MHvbbb/n+O+5BllIWy6PzkQpYfuXDWnn9W3IA/Ff/Wma3unBTDOiJILntYGG1CW2ASzG+cH2FiEcqkKv969lU9ZDXGzmzrNV37Qa+nsso7zPgn6AoRK2tAAvQOv32Fq129h4mEKvlRI/PESEebYhxVI6okdVyYG+e6xpVvPSXUlMbtp7fjJOuN9srGE/33ipvJhOYUj+1G0hhWQI+NGt5L98Uux+OCAal+XwsXmwuYTZM8DCVmwLsciEjNDaa12GpGXIoB6TUk0LplXAu1TBfTJFOOAyh94I1G9JFTYaxPU+9TSnhabyJHnXLLF7lT5xlnE4ksAdf7tpyw+ntv0tAY8WL5j/ux8dSQbJZEJwPcxoCgbXOYmwRmYfhqBBVFgMRxbtD1vCJzEg0izXv9eXgjouu6WuDyCk4+4ieKAda3h5DNes9b+VoMJ/aM/vg5sajt3H+IgkDAqyjd0jKSueWraPXFWx8sjAv1OUxwsvtpFz2/dRFJahztAbIgvlWitmXumZjpMEzm6MAEyosOi1lGOXpJ0nwMVupb9nuUfSEa5KDGbWo6tW2e60KJeRL/9ZvCEZzCLLqIPMlD0zaOCQhOE+7JkcdYAalGXhKDFftd0/voEj5hyr2zrYKLAfl2NcQJGMEQSGm1h0mwl+TvCAyyWzLgK22EiEwH9cVzXRTvyfw0zRUXOdUHK9EHlm39u8DlZoxqW7L1orF19XPBo1lnetIgiOdlT2GfWn21ZhU1cWvqJF02h3FnKW1Nl9+7MnbI8KhZYwxUxwmQTsp6NDeuhYCS+lBrgAR/Oeu0hXYY1heCZ+AKDiPk3Hc1OWDR6hMGAmWBN6+p9BPvEEodgPBw11zTBoUO8axZMcZpNaYGuJxp6C1jVGAmx1X/so3Jtud0SZ4OvPkfZRrUG4mIlgHXGFRQPX62l4isAc63Hoe7YgBQBUQHyxDYNjAbxKHXEdwMSG7XdPmcZ+R1SszizvTjvAIiJ5OYTChKb5HgSpwvFAPbQVOwJyepC974nG/yxLI+qkMi9/pA/wMn1fdYXXDUK2vB92CM8qZtx4Qcw/ZweLQCC59Ha+RqoZ9zDkjFSCphkHnzMTHehEqEBUaqBnqJCs17sH6S8iocSkZ+JxfDR4V9nXc2zkiHPBxHjheWN5escFozJIa1sfVdDCqqZpyktCoKux046aynamlDA3rH/mEfZ85uumuVeSPKcI3KVq81YS44nqw6FqfeHXFM41hGXY2TWRo5pM8Qv8O6ewJ+v+39bxydgx3tqGCKnBG1X3bY6KTHugkuF6kxIoVCWZ8yX8LLtmSJOBlKZ2FaNIXEKjtmcYa7m2SiQqq6K7rNvB44sBpO9+8B0h+sdZqic7jS+Mv+M5Ral1wDIdsqKScT08eVlkpBJMYKyMawcSsMSdVMSsfJGmlWB7JBde017U1/db2UnqXU0V/6eq/95dtWgIfkvcuytUpUnu+PVFI5Y2OgI67UuLNNqb8qOOVmhp13jrSYdN6fOjX5uLwN8EizxeH1K6GUPdmbd1ObYVSBHz/Du2DvsEYZFgvuEoXlvHuwPK1rjDRnudKaFE29PzFrQBurKGFlcpKcEsE0Z0FdzAsnjgUw6pmIe1bx+PeAvOun+wj+LL29Zxa36WNG0Bf5Cbrr0STOMmO9pqzSa1fD/BzM/I/Re4iAeJ95xKiDMDx/95cO7CZ9S6CDpxpa7qZw6Dz1QOsDK5ebXeaFwZDF6+3XYHZSjXFs3twE/eSI8tfWVT0+8uMQMHHxehIFIJIIVjhPw4katJk0JnUxPh7IaqLWTs845b/ll/goy+eu8w5BmPxwdctAVDaQHgQeb9n/ZYJ7UddkGik/iIAPL0w8qDlIZVm5lllCwBN+R/jc+hWCs86rbDhVJ31IGCb3rGpg8axaJujzql/Zujr652qq1RF3Q0hOHMaviQFVtOabn9f9DSvpsDgyNrqtpKS6RFJaEawAxYnXlbq3W8XaGKBfs9fb0JByABKJ3FWLzbEvrUK0vfWWPc0+HpmZcXbMOVABVI3S5qJXZZY0t0S4vYiGfK/82K/AAVAgdPj6Yscnq9tiOrXIP5gv92XQO67PkGg+FNablE7U9FGlFusjCJN5LCnQyaaPejtU2B2UQLMqY4T2oCw/7FGIYH4k4S/fZTBcm0TOHiVFE0egYUu/8yybU6UqhlfQX04fFlDKuaAE8GD1rfokScUV3Pvs0ZfYus9Z0yY6ylP8gtgLIx9XZt6r1BbA3KI8CYGQ7/LErH5b0d8ef9bg7FWn6Yv5jdyUv6ajebV3FVmPx91SEeNESCoK11c+hTqRudPEOvVxs465kUrieV2PY0Wy9CiKoz2Q9tQ6IjWyI35cnr6sOFmYcbHNmNI45J4/u4sCF2gf/XtIqpXmZi1KO0arOX8nf4cWkkZpD9LdBqE0tJPZPOq1BRFre8iI/ri3xvNpi4HgG91C6US7PhrrS7V1ka8pVlAbO6Ccr9nOsfh46r5QwmS+0O/AImQDow0NyhZQOsCaw3OAdAd9CIn9YUhAfPLudvoLwkcpwIUz8NU3/p9TVGulbquCY/QNtEXqpXkgR3YiaZqu2qHpMhsx5blMZOl8ARb8Q22YZYhvAPnOKj+fHqjtT+AdGcd8adBCsdpTqnnVDkAyXBOUlhfTtfRkwJ48tkElsdsTB9fm2M9JIgzp9FYBgA7VXNWmFIwE4fmJ1Z9qOAMsFX2FvtYKiVa073k0T7D43QVGLgJcl/3SOy//Qk2oUMBmXIf3fVpy9BwvXTopxsCbOarPc230nTXfmt8bkoD7fcpWZigHxO821nROiLeUnLvCQeKa7ftOreTM0Z/P04WSIGtdFCWjY95c5EuHN7ijnCjQetNUCHZ2zSdlT5b94KsLDl1Sc0MtbyVs6CZsMqz4nKaBWuW9dXcVgThsDs6fH+iR0lPCyahl867Ju0HUODCUY8T/1s5THhHd7JtUAfdKvufUu4wyl/yVJjuf53mkmHHqGEj/SzOl80OUB5xq6mli2vMXBqFdTSoTgQF58l0iJzuG2tv0GWGhKltn/VnyhfnnUC0hv7eZxzN6lf/1C/JhMdxn5tfZgyRar2lB7sRtJmZz5Hw3kSXW0ayFggELz3TqDErPUMf1rqCiUXEbp3Rbhctij/F8BRhvNPRteGlnsX532j/k0uC7poKfg3jlIEUjjd6Ldjp/yNPkk02Gh1HpMOA/2wu/twQBJU38H6RBzDvFy8ep16vpak92dsibzPmGAb7Zse+kqiPF5SMjdWBK6Ie0/5yJ6/KhiMq49Uawl72/Cgn5YHgirepeHiVzdb0WvlW2Re60a258CfBEs6CZKvJ/aBS56hNpqt9cKKJfLwXvEQ8eCybS7s5DvrtBraLg2Vf3IULeTawWzxh5CKzL98/eSzABBt9q7h8MwBas8skliY5V9NoTOnEEwa8vkUBEojzd3Co1k2Sp+snDJDnblaNiKvjj5gmkkBw7I/eALJJ7T3pksIjqqpZIzSGYiZN+lTZ0RPXM1PJL18baK6apixu4aQJ09BiaMhLhHPvz2RG+WMJkNPozmY1CtQpiDSE3AaOXURZwt36gRk/J2HtH1oVwv0AsG/MzrLHARLKFURhQXwJAGYWNT8Cigo1wg2kqyOqJOSThTa/Eb5i5X/XBgEPc3nG/3xEGXw6ChC+uid3eORd0fBiuLp6/VGQ+BntjD9hOrkb28RYzMOnIuWPspX3gQK6Nsi9r5C08yt4d3Cb/y/Bs9y+7O5kfmvXU5X4fjGl5ch6IF+CXUlpUHowLNkybDy1n22yYnjRI22hy7dNIXtjAeDUEt6ZbNZno1FLClavibOhXYIMgZcC/E0tp/gUBa5eTawcRUNvaCEXv7bwbVikxQ00DCLI1r5YwdPspWrOU45bKJPkDbk1Hc7aFQQK5G5Ul6DJuOdas0LuQG8u1rX1NENRy6BRqlIayTh1ZRzzMazgMQhsUlrcZst2W5DX3yEDVADGuDrVOW+D5YfR4AGx4NJ8+Dr6JMfzIzvxMpkjADieywZFFAYufGPhp0z9TrW0wbRPF9GyATgiAHfg1dblRczFgQTgJ7B6qPRBAEN05EFkD4UaT0zpmDJMF4m8/RU20ef5pVDfcUoOXyMdGBYOQOO8fynFacIjThVxuDQ9CIdGGq3xlc3jrxsp6mk7NJyuBtb/wCJ+9Nn5jKdIoUSlD62mb65GPy2pdGIGMRV7/A3uX9zjZB3uN4UtdX0G/0kXG5jjvcUzPWUWFClGwVeBI/tstwPBFEtnJB8SoVQVb/Djtsnqoa1f7ivzU2cMNsojO1s6818rFJ29o9yeFFXV6W/7xk9zPR7cQjA77jKUU9voJrUxXeEDWS+NC50P46opDD4eZh3KpiZK739H6ZmIRK1QzosGfsxy5NkTmgfgO+V1KfZa4icv6z42egEXcHePhhqG0N2fkA7eikP6RaNNrV6UYvzXJUdMR4iwUvLF1M7BPr6WkJmoazuVflGH07Pg7CtblhCHqc4WWWUxAwYaxuG6bD+PFAAhmXxLbDE1biwBllnoy0lkTaRjBo/W1AykT8Ab04I51cVXrafcnKxoFMZhO8ope01+SGr7iUS62+tvGNdj3+2ILk6Dc4MPI8xXm+IkXDDBpJ/ooRpjVrVul3cntzgUMypPAcrzzXdwe/lmHJNtXkzqOYRYHkkhs/qOPP+jZLUBk8R8aXn2EhfptDgEEB1ONiZfgsvRtlzvuviVamvCqGzdZ1MfJ3T41Jb0w9P8q0Autp9I1YNXIZoG2F5cXH8CyZ4yKBSBo3aW3t/dAQ6agEM/WYlBxZBppgcrcHeHEwMIcZE0i289tbFhvwe7wEiFdfCSW2QR5Qa1t2wl+3kAkgZvCSMnTF6YVcK0k1HrUjSlUn16cf/U1zsGKocM5606hYuJ4iQhnvFBgsQzknvRMb6Fksn4+5W8FpeuXCwsxWGd6/zt9lwUuGbyaTyM1AL72bTgGscg0EmLF7mDvETfeBROQbtsPPyUIH5nDj8VbunPKKfiruJeTA2EwM1fKE7KLLZHB88B6GXcNTwwvtFp8c8j/JaE3mPQ2LtY9+NDGVzuRiuJE9OSQ3ojs4dqLduuzsfxTXHU+1d7vT8I6OdpfMcgBwjK43jnfpMlGszOUnzlgYFudHpwP72tk0MSHWfNyJMnrzQPTCiMMpfcVLTjTQZhEtbAE+r/Qq86/tr4B/3X+UQK0D+XlIwdmkEImCEuZ1znfLhpvUqBfiHXC4H8r1MNqMBPVIp8lwCfJTQ3XBqiksng4d14hIWN9Bq12dj9ihd+WIxSgQVyq/Lm5jyo+I7IHJ7JJcaTmtZ260Cz7sQReYrw2whEUoLApiyVBppQxpFWaouie2Y7JYaOT7kgIAYQyoDNt4fcakslfwEJqgqGg9WTuPmaVClmzm3+kHeiFdmKINieP6lR/LOZKuBc3G5owHNDUMMCDw+8Aj0JF6SagENnoDTGX44NQDpEK/g8iLTyiK9e90zyCW2YVR567EgNBP3J0Wn5kSG1UEU/rH5hq286Bu9gUcJ0Nff8OtfETz2rgDTF33gBN4QpwP1ZJTz3AigcF6M+xYa50sC/Id+OQBd0Zvp+3H8GWJ6dncEmwSvaCgl2lHtr9qBd/GNRDZxvg5QE1rm2nIMWPBJa0TOPLEr0VmBfljvBtQcBxm2duzInVzVTLpDEjzIxhBfwPUUeLXYviWgskJSkHiiOqUwHuKtNF4OJZjE7rv9Q+8XdhkKCj1EInYuZ5CTFJL9WQ1mwxpxAWodX66KSP25faw9zb/WH+7Pa9Yo4EAV9btjg3CDQ0gjSEgfwrdmRSdr/X04ejfuGhoxj6QJeUTsQOqJg7HCVSaRTNoxj3JOgYjPzZbkDbts5BTyXPYaXc1vtCzIIfso71yfTQ2D2d95zhV/fdGsSOXqFEupQdO5EtPSz8+kJ9Ngqa6jA4ciONL5vXIqB3RUBv9043WB7LW4OHmb4rsEHJZxoOXaom4Hf6gXa0wCWzVBCAOWWar1zXSvspiwjyhF/Dw4Ftqh//F08qPTBgXqFZSc06Ya/rtleSJHfuiksKB91Jc0hZ8riolYHz26rHzegF0+5M3dUH/alfPVx3vsBXRmmAAPcgL8UYNw6ajOCHjwsKdPgisRWrgMj/UbcQQ/91oZiqIMxUfkoJg53Pqcee8yvRVfBRRJdeloX2IFK7A0VyFeYrejl257ZQI0jYrZRQkZsxxA0rgBIUFsp1l5orolqbB9+yWpdv36+sJYoRbvS27P54sQ89/SyUHSvu/Mc7FE43zsLb5LboIWvlYHz6OBZEQNrCpJrIxqLcIhFIMIcyL2kU2VMNgFtA1vWl7gNa7KFss6apwQyQWXSb2u/v1bJsi0SxkenEVV8GOmxkC0gpYogZQqmqMLgT14+vzvw1gDDT8b5SF9Bp/5XAjkzZSDil2Bs1qrsiQEfSZx6zb/U7PXaA7sRaFk039QEvu6WC4aFjes9sjVBfv6xJPqD90nZrAjKY+PSxVDzzWjqqzssFqc786tfps/TVZT0jmbrbFsmBh0LR/GSuqUI+yO1fpQDJP3D/SkB22P++Go1mV4aAj4BpcDGoEg2PeerH/pw/QpTRhKKPz+JYB6Qq6kIcJCgCGd8X/n4cA4KT0ltwce5OCXwYF6SBbCI0h2NAVcfuJWYuIFomTLcQa4Tlw+ZeetK14JxxGbgvYQiGuwoiffirDuFCjrJ3EWiwc1yDUrRt/kJTo4UW38PnO9HJBXBiRXmPVaU8aEg84oH973fRc9lvXKYn+RUUz1tVpeuA/GD5YCI6Q4o+RpwH3b+c3ZZZ5efLU4ZiW+6Tla2C2OZrvIDpNsxBjNvFwkf/Z+Y+xZ7kjAYrimJyF08veoTkMbGfvKHAca6IpYbMsLRVdS2mS91BWN4jJYfLvzQ8uj2sslg78JqJlJHyPelzcsXS1tUrt/GukUuE3pxqTMKdGWap4ttWWLeVHK31GqbYNrpSycUh/wLe2YktXYCfA0Hbp6QBoAhZSXRr2qZI4gfhg/Rf67Zz/Kb/slIrd738+VLgJS5wtCafcZ0T7bldPoa1rAj1J2pnxF9vy91Gyvqo7l7jOl/SCEpGDQsUDEPLxxUaZQSdSbfFYhrviPQ8G2cLYJRx95wOl/batHg/RfIkz1yyuBUvF6KLbQR3utPZCbuktLXe6FwBim2lwIeIRWzSFAEF8gmf2LR3DGyV8hbacKfHp7qmqEhy2eyzoWsJnPdw08X5VoFF5hSBHnvKU1IuwwIwFEM6eDI9dtSi1MFnqbNbBbEbrBZfL958Q+QTSapF21rnzmPvqyjBaaeU0RsMfDwbGGLB8f9+BYX3CVO4ZrnPi9sDetEnWFWofsK9ONBkKBgbzhVHln6jboe8qzrr0LIUBXkA8fL0s6iXd6j/IaqTfE4xlKVSJC9XBJIoF1iBbYUP8HpZjkLweTf9E6dpwWrV7xXmcD+WwbK1B1PvynarBgX83qf9nhCktGu6yAdrSEpHxUK9C+QW2LxT3irx2qYS82EoxfWidQKF7mBjoe+4/WEQT+ARKeTk13yywez0ahJ8EVUMu50FrOJVGi2GPLT7bi0/yqL6MPMVvQqSOy1dOsIymla83KTSPZvx4UnG1kYAQAxhixtn4DzKTp4j2VUog4OojLIO6wwQEd9xeoRFAoe09bIVoEgT2R34Nn4DiifBXc/uuRlZQtPsSovxl7jQsGPq97+evdWsYSOETPxVDI1l/oed2UNlENHwT2xp5xCM4yCmU9DTOfAcmAsajwUF+afMaCIdSFOQeiCQ5zrb8iZlsmvo1VIU/KUez+cD4/sMJn3ONUmPL7yUK9LnB1FOa/2G4Wmdy3qVxNia07jmRNqfuqOEbpIKLuWAtUhHCfA8r7PwAyxn5HoEr01CbKtv1L9RsZ+JDjwuismgGvuBh6dLq4RWe/RicpNu8gyqWyiG1LS6AIUYblseKYc2SIpLPlTD4nN0w/F07FfwEY44XGK8Rfpn/vb0O+M/WbMDlwzuKX+bAdB0rJH803f+b9NOdlaSaSF56iQP4AHPmMkYBS3RbPc88LFGpjTshwP2ZLp2uwypeEHywB/I7IiRSWLo+elXt16Yxyp6edXNme0b9KHKGWMhlLOJtWOlsQjQdqN7aANB9XNfUp00N+WeBo1MI/ercU+YEX6gLbWRTr9GJIvUBlAt/ndWQjjUYslHkWzdmUKaTE4Ikrv3+TiSJAUEqhN9wKXscTC5ru+CVSU0nzu9XkyVaC/jzQMGte95xtUpC+o+px9SFGLXOnh18XswsWuUDodfMbPOTJzslP88uxOwsBtsqDO8kHLofu+QB0Cd53tgMBSUZVF3YLRkLwx4QQKvaRwTtJ/9WQobZ/u0lDyt0YQyNvQL4QOLSvFTfesoFb6g4UDAyfXoEZqq+pAWSMelNB8fixbn7rN2PlhnP8Nv57lXS+QY76Pds4Vl9wisB0dvn7lCFOdt6AVe8h1uoDK6RwRKZ2BPVjD/SEVghMsqUV3XYQVAg00OMFPGII+4cRM9w5NBJQiU4FDI6IhiL4tRDzB9dmnaRXqXDGBFBuby5eezs3EizVuPVEr4nKywM0DKyA/7xi2XPwCELO1DqUSqPygxhuT12gU5nicIwzRWrUBH56VePqG97FsJgxde5IvfsPdToANutOxr+c8/2+yrlwLO4TF8CIy0aBz+LZh3UgAZDzM3TxqJ7oODwBTZt7ABDhWJSdWvuQiQbDTpmNmtc7SNC6dYKL+RIjKRboIgb0WEIEn9mTWnqdvEAaBEr0Jz1PcaYuNYOlGpvgzM3RL3MmP17J7h6fqpft5CKauNvDW0imhbvWLzq/h3vRADD9zkrWzPk0UpX/JcPQEmj/rygmbU3oDKamdr2pPRZLDDoFASjE/n6WvHA/In6SWX8sI2LxPGvvQLdX+dHJMj+S3JIvTnRrtX/IryCKyqw2yObTZ8SoS+sXThE7xH1lOjViRbd+lOD6z3iV5sytHfKD19m6qzf9u7W8z5JZ9HmzTj7Y9oR0NDhAUkrcIsjKZduEUh4ctfr4k/GOZ4++OyYI4MvzTKuu3+d5+4K9fC677cSEkhocqiRahoZYd8/MqI1hY6zBaFg7Pa5Qwe05xIspN3hP7TCUpAxRig+adElO6cka0wfR3bswjSY3koJFaJKLYfzU/0UJpCT8xMKDvL/yPE07Pt+M5NH9LePi6UxTAv+Yt2mXeV1u21I2KvstDd4lvfVxS7Zyfqm/E1Muh61butjRPH9QePwuDvPXujRLZJdtzZQkmsZESu3RJeRQurbKlF2Ugqj+0etByrLbc0h+BgXoCPaGAR3amHCSOxMDuzALJEOTawUleZoroI6UdYvnNysgSH4u3JZdWrJfBnw8UCMn2PbSAyJFwqohdtQbvmDyZzZAn270xJtxXJQH7mAcOttkU0HkVNbODDhD8iiWcvj3jZTFtRnTjmsEQp88Ldz7OZBcRTWzxD/9LNXx4ZmK6n0DQH3bfkz1qolbNOPuhf4z5XSXHWvrpSgph8IU8L187JQ1LWdNplaYQsyD74p0UxioJ90lqjiQQdg01nbaYgqCJGi6IeElmtyT2beWDlzcsbaUP1pMPQhHLKnYbMMrNF1+03IlNJV0vQlGe+i/H4cf7WvHlDYbjjv2oFRybwDKXv3U79daEMKghXSWZy4ogd+NzOPEgnLvDpwR27jHRvPOyek0q+B16R4VnhU1PKLTS/WavydwI1a4pikPxyxJAUkhfsHI4wa/A3gzAr9FluIeLlssbIO94L0s8hPFMZey0IjBGgPGc4jIKAxnhp6fiK3yXWum7k9my6USx9k4BghNaz5xLJwug/lRKjZgwV6EbkdhUj0Qutr4BceRjmCWJ/Lo7RlLE/NE/54b3uU3QuIkEeTvV0R4WpxxKxIz7keHMSPCNurYwA3jWseIqIAWHhI9tpVFGl1bzqlWOah7XqJY+reevL5ANvctBajWhVKJy8AHlQjA4s3vxTMcu+2z+cY4/GYPQQ7pfyzORYE3ZO1JtezgcHDzV8xnSHDz2Fs4CPeFFOH4w4fNwOjF8iqapzCLVUBiETJdnhHiE1/3D5p0GbScCuom0HYdSb5MD+d+FmQ6E7irpQT1cBn18w2Er1+rq5HMY1xuqqofCQes+Mi53y+NlKmy81OH3haJFzJ9WZEBT6pielUNZqWwTGeb0yBNbZRcNN+cyceuuGAkIO2Mu4azFeFd5q9ODL+GXqQgPyuyc5O7RwT3HhVJwi5DPO1RP/7B55BOlp1vzqlpIG6HAq/kc+43jb0cvNGOno5iE0kzuk8y7HEv25onStTnDYA6cW2IFauby4mb718jC0yfYLI0eMT2qZ7J85V4GunJklzfTXGpwRYOy+grQhJ5D1GJluTUtHUKddHIred3S5jr4WFSjPOW6URePSgm1N2DslKXrus801MDiOb6bLeZjgIaZrJdjz8ZTqv7AWbIj099sAzUWK6paJZG5mwOwhwu2sdxcKC3hclB31WZySjiIduLxQeZHjwhZlJs6jVcC4rFG/fQNjkXLWMzp2dwN1qynwG4KyMw4tEIC5rfLLV+s7IJuGhTCm7eNKfb9s56mAYHf9o8b+DbaYbXB9UW2ame8FQzJOrSNvhyznNiivDJVrRi6tPlIxyk+5FyR+0vuPEtvceUIW3vwrE2NjqSKeF5FS5AHAoAGQkGAyZTCSiqNzXNaORCvCVXCw/8RbkBDMCAmY2CaUlHWtyPCr5SAAhG/xstCwBja/GybDdhKu6CKPBGVYkh/ddhh2FL1BqUway1izvf+GJUt3WiQCPTwmy8Yj+42WU/TCFF5wgzyDkkdtjiHXQVymFVipeROiHFwTwWzNfa6bKjmoAPeYRLFhBFluH9wYQGtBt8ja9pjZJh0E9o2NDX1ocbQCmrhJ63NLAvAdmsnV9VQ7+wP3DofnIr9fV3j8tOFPsPYYoQjky2Z9O8D47lR0oTPxizUIZRHnCCbZavK8Ma8zI9/HmXsL/2gzgASSYdCS2P/SXfb8KcK1QjHp/gSoRpq/wa6EiNKMMsAg/Xz32nDaurs3rNeobHYJKpmzQgZ3UT2QW8wFB/wL1kguP7KLZPZAdiZuGg9V0yj8NCEu3xHqgwWpYc08YG7LgP6G8DBMqvotglh4J1tG7muhM/URbIq+gUceZ3xC5Vc7KM+xAOrFZ5zZpMAK1g4tai8zBQrVCq99tQH+zBDG5gCV9+TMxhU0XMEVhANB4qwdn7W8pfZUR4kD91xx/29ZEjmADrWuUvHc+vdYii09RJVl1R5+7/7Y/xucWio2Te6otqftgRrC609ElTPxPKetrCDzURY3IgTS0euJQZL5PjLFoteqChPbsaKogmZR5QBoPsIq7Afpdpk7siwUsw1D627dbcWjlFk8d9ZN4XsppMKaylZUOG78g2gTvijs10PO+Uq018LeckUtrN4xrSU2NjOhtN7oX41KFHLjmfNv1oV4Kg60nfi0Msww7s/9av/ZiImgpkD0vTZp+utQmSW0xeGMcKFPuOGbzKBPNlxRI/sSmk+LaMyn1oBf81vmp2BaZ1cSwgugszSaVhhog1npsy6Pu3q92Cz8fW0T2AdbnXqkwlskx5eme9z6r8f8YzuH4yVQUG2jYq+MLDsDCxOC0DvOf2FL7RPTFm+K++9/Urugb+KrUDh3icB0rvkCPWMctAvylsCnUUY/wSuLn9gTbKvnAUvpNvZUzReMpiqepRKY/sNb3jNUZPyZRrxSC3Hrrqf1RR961wM3AhAEu3QPwL6NeOG1EOTzEevFbtUbRhh5SesFJ2XR1lHCzBGOgBqoF41u4eXbYXuB29H8cpW5dO72WLgpxbCQf87uH7J9SjU3cqxV+fShYBRDP5zFlucUsaoJqLnLF/x5G4azWE2+3AD+oYx8D5787xDrxSnJ9gyXzGd3p+ADZLZPyTzPLZbsmI8SIo3UsnbRgyfTyUl43C79x4ukGrywcxt/CnaoawMhW43lvRMnUsDg9Wsc8ZhGlJtWiS1mLktfFAPX6ACHMryhiphSOLg90MgJ+DlxkhiA3eWLQi3Ml619k4nG2MztuGBDI9xtVr6HY9d4sKMIOec06nmm/HPXiFCy6Bqx5edkOWDufEr1FQB79WsjYY7Hsijjvil7x9eEA5/ct/ZP+CS/Zqeha1sjI+eYvh5XXRFaPEdZ1/o+zHtDHRXehzcoWQT7QO8DUdvM6JinvSqkBSMja7HwOe2KZ0Z/oHS7ynJy6OAdIXil7YqlLbkzXYDMTHwOx0CawkA8Iowpdxhb3ea5pInwguIVZx5CF3emoH6lbIdZMJ1nHI+lWIdK8KYtxtELX5OZiOuk4ImS52VgmslXubys1+TebVIysnrck2xFWF/3b8xzfRpm+PH7lGXhg7l4Jy6uAND4TU6Irob9CoPf2KvGDLIT6hwtDV8oeCHF+Q+xpQOy515tElA+KH7rv08dURZhe2QbQKI0PxDYDbC2WVX35Ph8eUeFHEhGJJK3MPKYQ1EJbuIjN5m4y3VZIcuK0g/Bu0skilTfHOxlpbJ1+sVNobt55HTPjCFELABVINDuxtLnl0FajUYIXoDRt3gcJuCL15U2UHW6f0waUUFQIv7ZxCAj+O9y0O4JtZ0dZv36ZLNUn1ka0Yw1UOMiM58DnnlpkIp5lDE7lTtgN6onpQnGF9fju0W39/74+VqmjrIN0Ind48i4sYUR93D5rScc4seDi28+eI1/dDNNzLAyP66zyOjZmDpLdrOsTUPehdP3AOG+5Mn0Qq6ZWxzACEA94wfXbPF4arm/by5stCvkxUDM9NQVWDRhVB2HLvzvqpcvIZnyD3EadR3LP6/HtQs4UPNFCFIVPFWpryYtcKVZbRs8UmT1C19J8g0rE2vKHDt++Nn3uyJEzVl4Ei/+ZEPHIz+VxUg8/yopD0bhCkdmi3d7maWfVdyJSMLoILUmF9h2C7H8OpgrsfrcuoMdloCL27wWG/lMSURptrtNyAVotDhTTcrulK5kynJ1sZIRI4yER/t/iw+b25sbnLAPWYU/RsprDJBEqXGfOlfVUeQ1Mh6rrezv7n6i1WS59BUKapCcN01Fc9fAiag+4uvGOVsT2Ul1gWHyBq7ubbPNjC8ssACFo1LcdILYyEemixImcxyYcFX1kQsFVLc9Yd9yfsXYvvamybPQmxQZoAJunBjCEWBBZ2TOpsT5uKKf7VlHoGtFn3Uj/MEagKJU7d1+J6men/+aJFLeLUqSWIp2AgdsBW6HnY1Jr3vyzk+2ElZk8Ug+3IQTKNSuC0gwsShwjovDmmMWT76XeWZUEiUkvZS6w7lqBJMi3WhzDjpGJB79GL3LcRH451Pq25pDXDl1MAuzgsojJnkMYouPAWaZTNTcaqNbIyEfXhUKAwehzeKz3S7EWkC67og720X5ieuUK+pXzqiyxTj7Z1Um+KMIrEOs4cKSQI71bqCjBrJSgqkRRfqwaJQ3AeANNPoZWO6JwKEtyqi2ealByHakEzmawKlpFXj6hjk5AnL90VJdJOpNB+mrE7njF801Y5bOh++c2uNB3aLQ/To79WJ/01FV3tHQ4aUDU+jgtUZMTj6Xsxdu3ZMbuknCiMVkoM6qzNgicMQYXvZxxV11uhihg/jpkf0/TRV/7CBFrxOmi5LT8KkDQTB14kGOiT/T6izeePLABsdzUm2YsyO0HvmEjHiFZBAZYRVdnCTx84BMTZ4SlagEISe3Am5DGMhOU9qfveJpqqUAJYTkbAajOGLOmXzmg1UKEpbXBREauTSPCUf4esvUq8LDS5W50UAHmAWbK5WPJ1RI3YKm/h+v9k5jm8sZ2no4lB1ZP1Q4gI/H6uA39M6yVBPyUrPPZPB86dmvNnIIB2RO0gXmLxlJHvkrFExQ016aqLyadOMG3M/DIBHThoIHXwaFrUXxh8lBlzKF4H71e/T8arFJodoSzXwH9ytLIkNb8RJxoVgx2ToypEU9Dyl6C+uKdCQRc1jAkNzNpVrZtutDnB058A2QDwhBsFms9+zzXdnDqRJCXB15X4UOzyH/z36zjcra5cIGGmU9ewCctA5TR+9fVqhtEuwr13Z7pjOuubA/lTDUbAfgI6Wi3arz3/2EIVc7asRUfhUZ2v4vCUkxshz3Ktkz2SYdVxCVN+2ZjZfY2VS1odmRTDA8QREgON1Hc4fMYBhWCZyJlyvmC0bDmjvGOx9iWruWm5ilQA36X59N2cWXkFlOH9xWwUZZIazUsHhh6VHOIBavVrjLLjKLZ58Zqfu6Ed6Vj/TRP7vT/f7nQK1vUi/FLSQdnxDfXkXBBhHBKF9it6xfUSbuBKyEBLoW8TtJkP/fHrEja/GoIsiNGvJEkf4wQWKmr7//k441qfVISWukZ3sQnnAT0nFR0BP3DZgu5pcapvYZM4ZeNRZJrxgaEeCypOxPgwbkOFho1E0b/53X4uRu6A65g6QrCv1yrJsgouknEUKMIiT5I0ZWCucPAPfJkS9XWuGKavFh7KF7vHy/we+Bu7xtBr/xz/Yul9rLTfJDuGZDN1XPQp2jxoJF0no2f9IAFuJXlLyg+k+S+RbgYejZLNM55hHKot+g0zfLjDyVLAkSabroPRq0/q8o7JijIFqFRccsond8VE6k1l2lVbIQ1XEW2zDPtG0pndx0p5U5xhEky8bkYjMHtnwBWUIgaQWcYi0yySxQnOYarrBBWUlFL2ASIXkdEJNkev6N9n7zlrgSaAJqHGVVWE7Wy/A9raCa3pxJulNSZI56qXU3rkgFXPqU0Qa4sQ24ydoaupakd8XLDc9EPPdlAev6/maqt89ZeuSb8cOc1dMuoxIWIDs5i3YpVhu1Sq03OkrMTVQx33GZC1Ca6v4JurUeOf3/FbkkwZ/1qBt1ebDy8PdeQtIbGD2WdKzMEH88WtGuU+RIIls/oR+mk2iI3GdCHi3Zuk2ZdIh+u2Y+YfT90//lVkygDn1cLeTsHnVw9kUw8EdZAPjeQ18zTJA1W5XlYnX+iaW7+rIV//l09u+yItyxh1ym02TymG4Q1ZIABvNt6b377GuSu6uw1Oko3dPlWvJnFqTyanzuKtfG+JGcXu0PHQ+YXmuSxOD6BiMhfxPZO908H6bwgnlkvNEjHftqTiFdJ3piycO1srEP3Bdsv9yDD8tGnwbdpLfLhMS0EXBy/BCsESlFJ5Z/5xZbORp6q0q/NqvryPn801mzjWZGoqvWFO7leNj/3PVHcn367Y9CL/BbDgdtMlZBQ1mdMyV4GSUbzWz6eKILSYP1Okz0OVAyNcn29mAA6M5wyUuQlQk4+M/UhYrq9+hlzBe8t0GoIeJmyoUr8HZ3qs7kZJu5g4gFzdZ8D8sJ/lc/o60rTObu1wGuxvVzC7o/dPUljGiE5Xxe/ThaC9gNczSQwkdGIyyEuwp0/zXdWcFHWHCCzwkANeHrk2YTcg49z7Q2yNnKMjn371wc6jzlsGWpD/qKJaWZb9rILeQ4aMrdz46PYN1VVwZ9gihtcJGN3+CckxsuKHkUqsLED+6dcehddauCyr4Fl0nVqAOxfy/gDvq9PpYQ8FIO6bCuLUeTwZAJOHERgPBFu93oJU1yVBZXKk/B51zd7E3L/SFU/A5n+60DmxQk/ghErof94gYc+UA8XcVKRmf6i2z5xnMEuIaJkhvbGvM5AQSU+oMJK1rRzQMI8LY/5xglsIJf8Wg+iWy4w7KIH2epZceoyWpbKxt1tRWWlLG1JXjeZ1wshvUZihR0NzixSbCzpqdvFG7PI+8r0v/yAbuiNWlUjDg5p5YqWyZQ7azjkSzy13e8kURgkZipdf35LABIdGHaF4qmX9bIPSxz2ELoezImTntFwWYJje9qT1TCaJ7nUlnH4HlCvyEatB2DmdDBiXOezI2lfFIKAFqoGYoHxb6dxcGb0XvdCn1PZCdmQn/xAVLk7I4vmyQuKrj92v9g43le5VFmvNs8zU9jJsF/3YNnQLHAcr9f6se4KlghchQuuhv4kuTIkjhf7HNhlPViETCAyKodBSRytbCwKG1SCIF2go6Fwe8xlvp9zjLzT8qDrscfFklMtCiJP4QYD/0Tyblm9CkY92DOFH1B87otT4uf6CvLtWVUPPsB0ghpfV5DhnR3nNQv38+jkb48jCnY2rHw93rM8EysRHIlH7B3FykEfAanYzYMB/DpM2qRC08ESROOlrSFIhb6JSmomRphvX+M+IHtIS6wOnTszj4ewtypSfGq/CDNk+wd7MmAR7517Qd6XTtKjSF24SaI5tXFlZgKLA90zip3hb6Hyi+HQ3n958uq40cOO3TIhIaCdEszyIeTSTuSLE/fr5OyS7t2+EfVAQPG6Dgv3mWhkVixXIlxstaWfCCdPAZQk23CKVusxdvWU5hD+UQODcYuo2fAKUB6UD5Ci4cMu8wBQott2eGEswZGKHIiL26GO06jW9WEFTYJ3vXwGeJEibcPwy6Mzll6BNoq0ahVYJWIwVfedX4HslqhJcz4Fvhd+I3/YKqT87B7/B/N9Dgean9HnrPxmLwxe2hxfQCLk3KRfovwMDouEXMaGxawrF/MMLMHANA638rkPqjZAfDUJ7mVAbVY1PgLjt2D0zvY6HKy3149EBvUorqOljScaMcqciDmCGypWlRpL35BeaBQTcsrVr04qAsVSgjngua7IQ3h5UoilHcL8UzMkQtdNAr/uTOlN1h19dRQa3V1LL9i/0gB7vbuIygT093X1L4xDowuhivi12rlPkP5lvTpmxin7sPTjpOjpIm5Ffr/MOD2x1EHQfTcNP6TNBTCiSjup9YWyNz/wtL9Y4bjzZUdoh3i6sxrF1FSQP/AIqjaFF34bY0PCEbKbs7jJeOvcWynDpfD5Q6Y332AJtQje1R6OSWjMadM3SZvDk2qL5TUWUmSPFuRLDQKJ/UIwcTCg2cInEpC72kzDSJlLxbbl38T1z/TH+fZZcc1nETkH8p4BoHfj5n0J8uFgLRliaFztBLCzptyOMEKtG2lmn2BPPVx7yOeeSPoLsEokXR9Tn39pYPuZWOoHOMySDgt4Obh4FzHD5L+fMvAzuzSJ4uCyj4dd4Vj2r1rDBIW10H/mH07sff0Rv2JozN7BvI8f6qi+POeRSHZmVpXFqRyOUMnjG8gryW88DBVj0wfYDwQ4+pWanOt5F5dSTSvk0tJC7SWfcEdRzDYG33Kut251wwLRJRil9bcD90MSUyf8Q/ecKBDiE+SNHtCks6CHwOpUWTArXnZVmgjLfJ0hBc0N0523s/kvV1LAU0HtmP6f5Nf5UGBRENw2DUca8ttT2oQA1A73n/cB2GL7641R3IvHhFVxGbRK5dQlrIxjxPi4pl79Y2ybu8FhSPtNAP0EVZdF+Cb6IWPBkhvWILY4Z3xYnssGRGQ+15OvaBDmhlMtmX4GTWl4Nj3ofZMBKYU+1BDlUfBPxPaGqamAUr4CvW+lNplsi0K0CmAce91FT2lVAoS4YaSPJv6hNh5tgqGvWRx548/frxP4w4HlxMaKUKdFs32ZTjrFZeWShCyz1X1FP533Teh/SRhx0P+1aWz0AF2G9ORo8m3sWbVoV7GlU6kiWxeWZqC7XMKw/Ree19kzdGDXUTmAZG2VqrooddEAlXDZ7g/9lEPEqvjO/VqouS1a50gak2HjQNhfAyD6vA8DPfvAWZMGkSR264USlwPEnJRXEt9Ljv2KSlOjAv+zn+UL+qNj/Do9akM2RlKurhR2HCs7dvx+8ekPtL9pujRVdZOBADLaLC0hJBkKAchiWFpDz7zzKWVnKZIVySZ6zy7zReeK1AdJR0/JW+p0QSElgndfEj4H1Iwmct/BdCjzbKhUhWTotxlMu5OTX7Y44C9ZC2rS1J5F2OMuTU6fEvFAkW7xn6sN2IQR22hTMFiEql0Bi+7xeqMMc8pP76cl5nHxYsUTCj6WDd7C6YxEPHLnhMdrbkaaFiq1P8B+cgWfC1GHvqgHOw7QJGuSfsflX5UAq5HCGxJGMyZiXhulTMhmaz7DNZzy5G7ZfLoiLPsabxyvxA6n1re4fo4ZanZ0yXMpRljBpUQ0UotDHC4azrRLQ3FVzton5oKP00KtK1XaXJH688VuNQEiHv6+e+Iey4AaVy7xYiUpBsz0VxgqoXyvJwSoWqupAWvTXxioHkCXnaxs5DtcQzSEbLxMeO4xHAVcyltD4whdXey2oveMT+2PU6tXuKfV57c/JxlLVBuYqVmf4PbB1Vpb72BNCQir/+6zv6kHYHPc5zS9+C8IgCmNlrKTTa7NGCJNWiSwnjZRvY03icOyhIfCiva6JETGmUzjIFBooNfIjbBJuj1uOARQG2+W9LrdK9xTPUfMIC1LyG7x5ZMmTkUFAZVaPCNflNY6YWQSUZr2YLG6z2za0uyPlmtPgT1vl7WdANAEAteb+IxWNyNb5F5VWN9NArUhq1Hx3XLVnugB106G1f8godEPAMCqxBdwtPfPpJ6fZTWVPqZvXY+/4ZKkgWCm1HKfh3IZKEmhxCYhCpl3ucP0CVetw5KBggqdQ4uXY/Nn94xE/ORhoVz9WHOb4MsSWWPOOA+/F3oMLhsiexuM8oTCQtraCmg5XUVh2DtlJKhIag9Ic4/CKEEvRaVAczfRNKQDua0Cbcsb0jBTobblOzITjWZ9wldW+QgSBkLydE6Tr3JW0y3QYlTsr4VqzzclR9iYl8reGpo/uHY7zC/s1LRmyDycjbkwZcmuQI3U4KhtdcOO3gb3Gyc4vvyzbSi8Ab3U+TJG/5IlMfP992sVfmWeKaLPCBfUX2jngUpCiHQkm47wPr5hII4xzwtuRX0y5OG1OvpMZ1POUVR9coAkFxcQNloYPSHCXkqnQEy2uyfRyVa8ZhrX2ssXarsEFfhJg6WKGg1GBmWOU0rzM1JKuo9cPp3qmjaCqBgWAI1Hsq3L9/U/wJ1WLrKnQlZLNvz/SUawemHqSpiz2ecARKhDJdsrjRZGwS5Wd/Bd8m1JWwIU0Cqg83xLhPNR4sQ1+95FIBzxaLS5T70IYIhsQqIFIl2wSLhFv5m0mviKwC6BeBP21HEr6nUgwmJMgNyuN1MHZ2tVkwaKP5YpNpHdtAZiQasQ0euXbGF7fZOFMNxiSQnJSuontW8ai0YPF8y9t5D0PpmPn8OsEJBzyUcpfO1w2xoj20AML4j0OKkekGf2970zAiYOeyZ8HtTlLv6EL0RMrLskQNzENisSiWOwzlDgXRNFDQYTzw3jQTXx8qii/FW9w0MXbynvcs3vWyVD5RP7s8+W2Clh7uIyVIfN/SZ3qaWqcyHDsALi95qK8sDYpMZZOOSemG86BopZePO6kPA+doIEMC2TFbP+d7FT8l/MzxQKFTPWgJkDGMOGLHrDhNab7zJ9KLP7ZqF9GoLkx+jFlPm+GmlPOvDddmESKNU5qei1YpU3pVARlPSc+6pc/vNI+s0a8RP8gLdy0Ua8fVlmXkRVUQoIH+t9EO28WFaPSDku7Y4Sc+PN0ZoN6pn8Tu3vVwb5qiOcoNtct3/J9ynSm/8a8qEPGwz5uoID/k/BASGp8sf8Tqvrj76E+J516yO1ya2EqL/LJhKlCcpfJ36nHdrTa46MQuH1NBqYiTnfHYOU6ixJ0m8ZmxUtYEgbHrbvXQ3uNjLLR7CAut80CcQ4VnIn3tFMaJGdIYRkX4bC+JlbBX442p//AZnKjp6ZvDYAAGqIpJ4/J3uyGRz6ocREwFfs6e/6I9CkMXoluz/CNVcCchQ+dpcVfUr6fo2lUCag3Qr491Q70h2faQJsXZhwtD86PxAmwrNbsRyUt90syWgCoNfbZJpxuVRIgy5WqULomeqAlJA4zPZuJYrJtNP4L/QH7dueRYl2sUtHZ5HoRixyE33iUXHqLP4xbRQnOH+lzpS0x2KocC2Fm9q5IlaGeq/Pott/UG5opNC+bF7UvDAevAMQIxjXvT0eGtFp/yOsEggLDOOnh7dxObTIaMMlDU6+FAp9BE3klsUhsaJp38pgFpt2Q1w0LnKucnVccyAy5ZVSOwq4gKITQIRXueMctAwVbJLpJ7+4/Mf+jq7rhl3qEUeJ72sM3OkIbTLnYxWE8v1wN0oaMhUo6PWQhDco6DGfaBUe9xFqHClmxZlATVM3Tav4FpUr5Kvam83AJjTNcjn5K7ZALxAhfpj5Ea3PHaF0EPmdWXd6STF2Yx2VfjwPa6idgzdAhOGeToWZHMowIxwD9dejMkOP70XDHFMHtNhdsuLwB/BlaIKvMz5f0jUDbDg1015jIFk4LRify5jJjXK6eGxsfiBpQSSTDHg3cm96VTnfHnd9XlFvp5IolrbE/Dwjy57i2V04gXL0gRWm3fmYlV/D4+noRlK8S1CinGJ+Rn4gTug/miikWmuxa7db26SE0OHYV50us4p09hOCta5Q0kZbrcopqpHc29YU9+QLHQdemfCSMJYoXCIVhhg2Hy5b9tq1EkRkZS8g1bIU7UhoUL4PktovnkGyFiecDpf0rjTyuvSRTq7/HLZg/u7mpaqh8Ymk0GS1xq24Q6mLEiVpsEqMmqUTnfuJ4ilSO/JiwDrjQ8ZKQgOO5BoQnKmYL3+vb7yGF859vOc3IH3cNpVNO6Ebh25LM7P0tv2m9lmPWRTYJDTmHBKpOEXXRqbpyXGYR0OXoQRFGyW/9ofjqr3aiGedswFKs3zqg01jYNZYD7iEwPUBJJubf9FwuqSWTTD6hokmgccLXOAWwGaMa40ShgV8sG2/6n5kKTa/eD+P9GZhncUP9IydVV/hJ5kxSM66X4q0/S6Xwni8rJP6IK7xB7mNesfE/bQvNBoqJvWA3bTnSk1hAHeuOc93vEDpaLDw9CweUBNKA/OBDy/c63obl2XdT2r9a3Zm0VJGYRJwmL0kbZfihNMqC8E5f10iN9uXwwtG58HDuYo6leU+0iyznNuZTQLUQWggqrOqm9tWKHthaMslN13u4XnHuwIylg2g9cflQYxiIv/LiYT4v3y6O4ez1QoIwpeUdzNjv58FDKhjTotQGBKWzVXuvgLLB8v4POtIhJpZIpDINHPZo0prhhP9rGa5/eERaSis1e9GXaiH4vFCXRm3P7RQCtYKb9URxlVbqk8GfUddY61AbbaDuN6fr0OKvdx0GyaBcwd2m2BLImaIlVTIkLtvj5oEe0nzlQp9fYSHnXCNADpEuvfrYYqrDUzcd1jmxIz3Sbh43vdo5g3nPqkHaItKhlSpeqlWNmdXe3SKplphcekajtLqn8QrTCQUSRTdh6Tbz7ttmCY71GdtoyC5qLci3jnH9Bun1uH/lRFD4Ptx/2MK8QLqjCdgkmMtkUKIMuHzvS8xQf3M5EtcMQ4ZZXG3BVpIstFDwVSv5Rg95FDiTd6oGBjWceNVThU52wFC9dGcoBEsasR3U/MUW9T2ZRZQvmhFHyJ3FyR9WjsRNrecEN0e3EkDwNrO1fpSOcOKW1vBLYR8CCnJxZSyijxfQ0A0xnpNLg0ya4631tbOZ4RCdUar9+l5f7UiocsCK214tL7INe05jHYwOMoSObr7zhtZ3pMSfRD6kEIxhLpStsFGsJhSNq2y4xM5oTfPAQffE7LryWBe0TsfPZNHsSBFj/9lv/0vR8zLp8DmVGZwztTiWJPB8cCEcmATVmURenirQfv7JlyIw0NJx9RK98/iYPN1hwmaDt8R9eSaPReT1Q2aWA32FiRUz3r4ryK9lyMQrBXCy+sX59bCrPHBW6J+X15BcNy1VoM38kDBG1g9poNGqb4Iym39pQSoRYgmw6shnB2Kgu6xUY+sbe5efWBBEtYo8yHgndmi2tCghyVeglc95f5o7P2Rw752qDYlS4lgelDePVELKf9zhvFIruKpRBA9QCDioLVPjvkTHTrI2A4NdDy5+gggIcBKG+ylQuvaxJHHeft4f8TS9clpQhWBUIPsmJBOyn/5B/PwZ9pCzCwv0LhkIjkqQtnzRbSoPYQIKLbL9UMfDDfgJJHbTHJ1xW1K3qjwDAAHKTZAkCkt7LgJAetQ6sYBNZaWoXax1NMKd6H7ynUEhTzFCrooSmWri1X5Hqn0tcQ5a5VRGWQKuuR5KOlkOT46hE7T96tpudPf8TUzwHzTlkvjENMVSQLx0Axap+yvVJLQDfFKJY/NANltTbHT4fb/Gv4x30wmhDYmmy0duP5ICRbwRQEkKFhfKXSDt2SC41+VohJDUhXSNHHnf1aotfcCFPJAxeX4KVWox98C9VTooEiN47qtrf2La/8iZGf0X71Lf24+6Jtchk92/AWIkUVP0oqBlFA0ARijb81lAVx4TEkYJzMuhxa9axQ/L32lPi5g5/kwfSMBzkHwp11C154/je0UYwzNz4YaBo7g8ZhHwSvVWNLhjGQPO+SSMnwjatID1Ub317KOxpwenJSuPlMDGq4Xydr4e1chFgbIkrQHgAUNOnsKjZ9RMnfqFaowBjvtRX6KyUN/Y9DdEkg56C4eGNEUFbBNLoxUjP4PoNQ6QF/akJIkXSpcvMHRUkFP1XSJvY0UKYKJK5pqiKk2uA9YnhFXtbb6DoNQ8OpOsdy+semCbYQ6+JFavxN7nhaD3Cs4tVYOktCd1KV6bDO/3ayg4excd0SYtpd4Gf6HN3JUV+hehGUZcQZYmV64caLUjKb7JPfxFX3nroQmH8htvb+BnduzRRiFSjkf1QupWhz0Vh6QTUl4kXvWVrzvWTXkOYAo8yfHTibQqOeZh2W9rGlHXge4uTOEiMuSn+tNzOoukiNOxygm1rfQo98RUnd0F5Xjw7cHeXLqjUwhy4sGwMq2NGR5M5DrTIH3lH2WBBfC9zwXCi7U2cW14fi6D/iVdzhpuYfeSDYZFFTgwsCly3VWlSzum9QBvoCbRMLk3vCCm4HUTEdDeeAradA8/KRePFesm62wHdPGgYYh7XBQvO5fzHUWcNWWNjMha3QB6q0XQigEdZgwfhVoEnSSTOzWPXS3JB4M1mQ6caApfp/O8W9zMBsNMKdP+3NYiiCSPg+9Zr6cZnKdO2PEknYXV7CIb/sphto/e/gPQJ0akUqTzmUnFePlT9SGlEnFYURry8Ooe60Mm2RK+VuPW+My/ZVH6zJs9VV6I21zfuHMnGCrNdHFoKuM9rp2ltjq203+TV4Uyn34Ia/T8+1IQE+gKdXVM56nWpXvVO/YfNS7pLpSZ+m4t1egkPbBUawmVJRu2v9OPGFKEV05nTPWytMnYFj3L/rzyRavbxNtVb8hNSu4KJX8eJ7auU1u2mHgtnfBVG0VAwZkBaOlymLk82GJMuPVA19306Kuk/w6rIJlChsLSVDn6ZZOY+wJ+q3KRYiJPfvaNyMhBn26P14umRTBmE+abSyzTzK3cOZbI4Boke3o/fiTDz/6SsUUhp9yLX5CBz93zhoCYTCn4JFYV3MQoWWkSgmLYBDH1UaWW9CRgSkfFSa1hWZP0Kb3X+duI3u7s5vVjUiy2OEILLgxOjtskz6VxthiN54HvstJJH6sHirA8JhBUJJR0abhdsNwonM5F3JH6EwQXvj71OYlqbV5+HDsznFAdjzLkGWTh7IlB0a/nB+8q5M1Z7HD3I+1GBam6ToCjTg1d73oSZgIUln27NbMksZakKPi0oQyieNRVLcL5LqH7ThNs3X1ijkOnjyyHyhGY/M3uN2e9fs+BcHW5FTZuYiufIGbs8ZvbsKtSa4Zbp+brGZC9fzRLyfMLNBMzfBsM+Zuj2U8sNKlDHJ0MCDgrF7FDIIGKWgj5UUkLYvBsARwLrA9e8N0NeE5FUNZz93dtESgSs/JtD83UrXgqVzYSLYlijNdu19bY+FyQX/6qRHnGA7duCMCuOkFl5x7QDyHH2t1PL4sQ7/ZnZrYwmmI4F20gS3DWOpcT5cyRNLd01QgRdwyWalNEh2vHG8QY4wiq2uvtJFgKXdilEQ6yAXFNo2Bx+31zZ8bDnmBfUepLxAmZpOdicnuLZEHVhERcYdkaWo4OluhN30enDbG2Hwcr/ZsbGh12gKWZSJ5R0slnKK+5A5C0X1a1mfENJhJoTGUIRm1UYdPNT9uJOWs1S231P0BP/NQAKwFgxrTIXtjm4spBwsxMu3dO+1fBSWmex0D90n2MBHvLTBWE7JJbxNRNVdVxdCOKb0lN5WlxETHZyVohGteaz9juuxAmZT2QGr92XCI3dXHZw3Yr/vXdYwSmjfohQ+amVovpgjFx/hkUJ86ekRmG+7eVUbWZvdgSbMc+vPplFd2PS1tNjN2tFvVzf2hSUZG8yrL2W+Flj2wbqzRrMday6GeAUUFV8c+miqjd8HJPuIoGKtvruONfA6BckqcNLVZgUj4y98PPPVuEHSvL4c8QIs2FrBdLsWed9qcaJlKTh5D1i/ce9ic6yFtnSsA9yXE2JnAfXGEv9lWBrI9J0BYA7UfQ7DVEY8H91UE91z/eWjw5IzuUYFrqWN/SaoKtV2FAuTBJaYIqlf3wdKK69xbWnBySbXbpHhCttfGPyzuxzKFq3t5PVbCAcjvsmeJk4ZqtUAF80aJwL7df21KeY1kntT7kqkNvwkqss9o2vs3hYT/mwGpTRHx9qooRFdqa670SbYORZtNfEeyrIwZxGj5RbvqqGe35UwM3opcfv2a0HzeIMH+3urucBepBxSzXsljeV0HdaaTgPR4Rgi9x8v+jZj/Afk8PqyYK9hmro/9knGrL/JCbIbLv2dT7jdVu1aoKlHwpjg8h5VSzBNKzxlemTq1ga2u75d1OWXZwqQB+uEb29w+LyfW1j7lws+6BikIF7Xq/OuODKtkY2XWFfaksrUkPEJJLTFArUigDrxjeEDWHQwWTyeh64YEQEZ9iENr3INnI7u/jQsklKVQ3QMVNyu3UMPAqUpEyoHpn+cecIZSDBv/1EQT5jqeowX9nM3tDOzXwDtO6C38Lpl1EH79oXbFPK3XZASOCKIkzBhOfcf2V1GxfTaAz8SXWda+vi8mgu2jPBZq0k8e/3WIfwosEkpZxcdikVkJQ7SDtriDJuNJh3Ob4AbCjxBEuDJE/yg+1m+UglmKaNSnyXiNNmm3NpoEIT3tFDxi09mmXRtZzAqSCn63Xjznw/3gtmR57XpI+i3pXNfgSZ36YShPXdkLSIGSgLJ8xtz+gZmNRYV1cyManTaKjPtz/29aaHWXEEjt0uXxGmyVEMu5yx8l4dEGZIcfQSh6wu+URZBAZ3N3pvRniD6vO1EfkytPvJTN81jc6jKR7JZ9o8SrcWi7yBmbHd9XBH5Pg2UoasXqAl9hMJvUkzRicCVLaVdiujSfCsvb7BANruNe61WOU442dz89kA5z+ceXRyVfmSXhU1MjzDfc4LVGe0vXpEaB5PQYF5Qhhc+Tyo+742m0wnMz4al5Wq/Aw5fgNZ13TGuTCiALuMMXiVtLSTo3G6+0Hvw2hau2ZJjX7CoEazTuZLdbw6vFockpfKIClo8W90Az273ObQJZX8BDNCyT6zaSz6M7FUXSwV4NMHTvPzOYwNPe1qq2uqdSCHexDg9iTM03enLDx90Frd3TjmcEkm7UWGtXdqfqHwRByxhZTeRdXSUWthEdkpd3PvESNk+u7ZA+Se5sSSRPfHxDKqa8VW7ZkTIFxTsVB6ornHV7p3qBQ66HXCArn4+8mJom4pqlfxkMmer+pk8xTwQJx18l/AqmP2zbYnyshsQTuq+Tc5dDYgjxklfJclgXU0lUDundJaCx5M8706CvNtIbCIl+Khet4e5qohDT4Vj7K8Sz89BlmhflXTKYEixyANzcAoTLXSk4N+ChmMZODwrK6Im22ZI5E6+SlS+JDtPkvs6xi3Zhiwdzc58Ey2cSjku3UO4qsZXjmx7VjfTLcW8tuANYtWChjHCWCPdqOcCXiz69sG8on0/uo0tNQC0A82hW2zNC2mtmGdj85QzC51lG+78PtUi2UyfMkzQPGbbONGzB+NYhfyP+6rSGeLDO2KF1RLQl39N5zrWzJ0T6C3k55Gw5tBH/lkqM3nrxI5fJMBF+o/SYnJKoAoArQnqae93JOOkY5DFrH4pHj1L+juq26jJdn4BPn4GtLVv9Sn/Tndavt4/lPFpv+EBbLNRzqQN4JnpxkLCrWkN2AtAeO5hWKbHdWEkYRMvvqEjx8XQcGG0NAymv9Ulc6alXnAEohZzO9aeGHKi5IgAzCMujEq7L90/JZ2FpsspfzV0wE1NDOcNTIu+zC/5dfrvyGBVuwunqpCyxqBQg588xANkVvBsKPMqtDRAusDs7XkP/aGweK5OERZpBkoTsD5yseGh80Fq68tYIIMN+c4yZJ5XxvlYj8mBZzVU1xwAtuCkCuvA+x+jtFWRQM6PjDSO7UMt7DrbB35P64F8efpMGrHZGPr6+2O2Armjqf+zMzvFJnBkwVMZhodpYcwmzIamr0Ca4C+iwmo/NetIbXAC+DA6v2yRfbnINuVkBLtH8wG6QREhe/7JS00z9Mzi3jPXMa2G+lMQH7KQPd4ku0atzPopG31pq8d5R+td4OXlLxKFf7YH/53rsgXJa98WtRtma6kt3ExZ0nO7ZGzBQ+MNJvvOAutk83BQhg433bbRa4rPfGmxAZJbkyef5CNKx+ipFADPWFMmBEkCrgXV1cp4DJuXkIViB9BeNFb24wxk4m9DgSQquV/Q3pcvQk6pBTfQqE10g9Ww19I3cpv188qDqoM1xnIN5uBIkwWJr4FjaSJGWZZhDRRo8Bf42Ug2kvnm/RapcwnXpVGT6/VPeQOc9BprPX0WG+lcUTr1mq9H3hDTtlrYjbSw3Wb6YmyHiiciQSC+D0wldt8/Tl8ilncY6EBHUY1aNq8pveMIRiRuv5StwgugAvKOPNg6kjAHValVwged1C09bGvn14vcTLcVzw3RV60jllFe109u8ukVGFawlUaVh5hcFTLmDmq892bexcoQ6rEbyj1sT1ujBxAySfMy4Abkto8FrbSbgTUBvEfhHLIoZeSI3MKjyYY114q+dRcmsKZ29D5TCeeKIta7Or9/qpUqtrYxGQTVB2BSnpEI/wUcKcBqsFjQOTAs+2SdXIR9ocB4ooAfGRsaOgv6GPTJ0kiR1zyJQT59hU0ENRh2hmcLosEfwbWwixqM+DWAqWZhoRx/Ga1FGZJjO5BfCPmOg611AOz+6jZ2Zdy6C6iKx3WgjeqZi3OYh+OVWRYOXy6tsIT4rEPP87QAfjC/1QQEREcfCOOtAD+4tlaP9vkpPjtpl/ae9c8jkaHMioXRh8hrg1xuHgXrnosurBgus1ymP4f8vXwWgCzgaYqap6qdnTWIJ9fHaErCqOtgwgtsnPasQI0Mkju/BsH5cNhvhPjZEq4WmyYV6bxSqff521AVtD7BMMph4N0tUvOU0D/lcfslMXKe+wmP7K9wxlba+1CRf6v3GUZr58n+OJNnZPcFLfmctrJPOoNK2SkhmJdakiXvve6nTd+39lXCQGAAmFzeCDxZ5ggp7OE3VNJWV6aAAcZsPatn8SXHV6NqsWpWKXcG7OZPZ/smStjw6y9LxsLrx34QwjX+l2JVLKLL9X2DvaIq35nOpoh4hoRdqHnGqqvCFS0Hi1yAI+K8mIywSc7xcxMdROCN1chyowjDyLp2Zuc3ZqQgqnjw7CsEoc4k5L95jLTVJ/s1jIxL5eHGfv6iIOm/wuH7rX2563ZsiZezEBbIdjFccNEk/cyMr0nfkuUBS6Vfr316cMspXnrtNNgQpn9zG7CJr5RZz32oolIxuRQ6iaGtG7Iv1YUXaKxaPsolNCr1XzbRmyhiwSQo/vmzy/DFR1m54VcEAjKKJmb20+gSL1xyN59bGfSYwAwPVfu6qT9GIMOnOrp1I3Vy1/3n33pU52iWPV4hR+C00CWoxEw/fOsN9KkAZ19+8+Nf6daP5aaIsY//mot0hb1VGw5saPi8NrIMsXKYjBX/Yazn/F4umO3jYCtzQ2N5cH/balXy2I5+P1PT1xpxfHrDhfD2tAOchuKqFaBS0xmlEWcTQVjhB6fpI12m7FPyl7a5CufELiApXPRJL2k6GRG7X1EsP1WeQQ3wyIsX0hw+yUFdp/wryIOOLb4JaBkYTvE7uPSVK9T5Fe6EzQLkTDK+EIcpf9eOOJ/V2vmVnntnMG36xBuzKrargbNLHKVeA0KzFcBpYiFeizZJ/VFS7SjaPCjXDpbhK7+u1FASXaaqtm2HVVjlGfXjPEptRXsxRyTAnmO4c9rEblt39+bsN/RwuQnwtzK7ZnKdtqopEcB6N4e98kK98F6bC4r0QaBDJF6gAm6EfJeF+xkzoJn5b+F8VQSbAHiL3KNIlyDgefDJ9ZUM+iqO+bpqkG2zKVatjdaPsbhAs83av96qvL1Tp7PKq13OFuTEGbdUFAp5DioFdj7Cr5+QRq5uAMeg9gxIC1k1+YWZ8XUb0UPfNOw9ZFmyeC6z4uNVWYopq0ey5HiWx0LdrnR+XsIwdhOrqi7HAM+NIfzOe7C1VmckgKM/73AOF+T8OLx/HY6XTcR5kZ6j7l+aosbIDnbGVDU1pHnNgTRyyrWVQAAHTq2LfyZqP6aZj8pXuAwZFZ0WTeg2NpwGZST4+pLEI460AUHSr3lfLKcBMqYJmoHFy773LJ9vAgkCosk/2HzQw8WKZy9p19HSbJhVJUTVqWh2kCAahofhvfIiX0A1xtZe1EaZt4Q13o1x2Zmj5Pp/gcDLiN9KpSBcoF+sQ5HlBlQabpk7IOE7mrr3d5K5GxH7MnujbHmFDftGTcDs9l6uoBRDqpqRWVlBKld/vq/lAUaulr3J0r4gJzoJvqoVMaWEznBTI+Pcn2CMGIfG7wyiD7uZIaYPG8PhK76NTs1eaCIumeaLpxx4NeK+FNy8yMenv2cjUIUcDR3fotyGg00POw0dk+8ISVUbrWmAohhnuVEc7PCcBq6A8MZz7nYE4hjccZFYdyRLAnLDczadu+Npe0Mx5fW2gtdKDxFYceY26USIs/oTxjBQauPDuoLNoelmeWTpnT8s7OzAPHXMC6HumcfEWfLJbBbVqwZU5Vss/FFQUDKdZ0RbOjAtSbPnBQt8xT74gz61oN/lt9CMBjrAeQ/IEX/ydkOqcZJsFpWE14bSnsaWHb+zH57J4vg7vF+wp4+42EOapHspc0wWoUwmdm3WMjK+NihHDpl8pBn/WTps7mvZ8ktB3+1n2id84080FSKzplS5EFY/XlUfP7v38W7PePG+qQIzQSF5hAQE90P3dUwJtyDwKYEQ3Mbk0gx5soXpHHcokFH2sfwEwWAtd5Ec0rNJv/O6K2jU6uq/S2DuGcoRHOvc+gpz+jReYa20EFhNRxSXmIp3XOu63BxJMzZ/s/iAPh8NwZJMjd/Cu8T83y1KWWEDQO7tzwSREFvGcKkmcXqPpdcEpV661G2suVPB9VlGJa981rXg/tWEwfnDAa2z96RbDvHpSI12+i64UmgMOzD4hCyqn8gYTUERQctYk2f0Y5zwAuA0hSgzlh8CW7Qy37ZCvR0jLIqJNIrL92SX4M+QM3lZfb92cpu9hjAhqIW49iORIy6X+moT7DYjQ9SAc1kiUr18UIsAu6z/Q/W25R90EaTNza0Py1oaOUMgY4YBWtgAGYLzYzGxzUs4oVlKhRq0prFtO5t2EJwr34sYz/1nKWGUFEc2TetnvkmgDSe/CVE032at9cR+rk/kDbBrhDcAbn0gN8IhK4qbz0ygo7gG4FqKhLM91i7kdOivLdQ1UoXwJ7b/Ad5zMjJivQjEfwvu/c+Toju7IycbqupGjnbAsalF4n53NiWwz6pZ1P6O4HkacSAK5d9VCWOM4pAccpcUz9OHLQKbCugqiN/xZ9ql3rsVg6WTQVUifXHGtbB6Gos5r/b0S1DTbRKK5otpMMF6XPtskrvRJ2JWLmiqy45VGUhiTKU0zYXEAFeY0Alaao2PEFCLyUyjUz3jP303hVj9uWSXqwKXi8R6o1z8ebG1PEJu+03pL9+F1eGkMwokt7lB9MXzah9hUoxT2/P63zkmjpnanW0aNZu/FXMH1fSo0qgT9LCFTGoY//K+HmT2NFWi2tN3soVS4rxRf+Tev5ve+Cz9KGyRxGTFaeqE5t2jHFXyGeKBaCMzDifTtZG/yEOoOlp3mi7/twmBfOISPYxyJRcNr4/33ikrqtJA8/x111eQmQpp93tYNyynqwrIc9EBPohikL10zgngScth9IB6dnQtk/ffc0tPjmA8EzKIKxG7NZI7stm/4fe5hCXrP3++fjUQgMdaaLHDolmMqGtoxVgDiBOELhPjM+fbLjNT94SM7+j+qvt3miom2jGpMDr5SFHOKYlUW9zRPOE63GG3j/fFtlSFu/eBA6Ifb+lYBZivcVXwNauz9KmsmbqmhQimnW9a0qNySiJ3e0sjncgPQ7a23WjYdJVMb6mEyWBYEyur37sQQ7k5L9on7Qeh14fPC5BehaeVxdo28+KRGXj5Wo0SHYVq7nqgkhuXVrzCVgR6xxuMjBS8j3Baht5p7QFGionoE2BFK1+V13fpZq8cYMU92L+QUHcUHoRDrTiX/yjqcpZdQISWE88vy40YCXYGliXTnbZQG60Nk6eM/b2we2T/Kp/Xk/pra9ntxJ0sRApxEmsH1i+kPzhY6vj5g9kxiexPNAmU8uEfQb/4iKhllMMECl+91Yvsripm3d3G00l48UBBMgA/dSj90kgr6nRfuWmACjKWfDaorFfPbvoto7VuzgTS6YCHyQ8SIwwq7ko8TObLmWROCPrGhWtYCFKHZ9WOMNqLLA475Daa14rR9qdicqOS+rhCFlLzcFdA8QBidNcNCm1FqyxNjqyjyZ8PtBjZN27wLD5iUhEaJqyrH9GEcnCZJxRYXr1uvxDMzqwQKNwivkz+410i1vIpeIEewh1LQHSZU/Sxkc4kr/ucA9N9/5uc7PUvlRrWny9n6LnBsbBRTEbXo2PEwAcuP9HSb96akqNazKhfhozUQu3W1+6PPc3ypTDngYqdb8FYGUGNpCLVsp8Vipp8lezZMmYx0EMGfiVsoB9nNDvHIR4Qasv010s2Yj4L5ronDTkFjByLxesZTSL1gbxWWKhUxBJ8idxtu2YZBT3MD4UVZYdolEiaHAOHJtiWv+9m/gZwS3HrWGJsUd8FoY4Zjp0IAMB4aV/sPzMib5ykG/cDEdlTCoZ8JBXzSNsk72Zcl1f+EcwWmN7dUZAEFkiuUkEbPUHVOyAwCB6dTj8Ogzge/SHpsNf+WJ9i9Crt5yuHHohAeBLkLIumDaZau5CTcyF/+17qMv/ZbsJaJVFFF4SafonRhg3LFL3ew2CVg71S5jNTnIbBF+a2D98Z4S8zCS1YJQgMxFrr1FKAjIvOWvv2w6zrkcl2Z9epIuGlXsJucRHP9B7UjfnmxY6/yZvjyIJ08JDGm/xVOLnznbgLX128FtI0QcoBGmq9u7epS/buRN3hYxBUA31wgxv0/XF8FF+pjapnlkvy/lJCbvDKLXwdikyjElmCVUb74/woLBS91jtJDwozaFkWx/JrljvzosESdbvGJmAt+S43t552+cIsZkEc6FknU5aC1vol2gI3ZdxxjLoAyctH/re3dxJsxksa2YnpfkiklIZQHn6g4UGYINQQavZUq2q2z1In8kc3yJ9S8fT6mZlbb1eAosPvRELI/6pEmIrq9yqaezpQs857L3c8D4KUKRACB816VEICPLpJxCdF8SW/IS6+4y/zbI0oxLsT8j7UBtEl9nzGCZfyLFBFcLmeePOAciWp45aiOI+f7N1Lj+MWGUmgKxkR4uti66IUFD5iWLB5S46q9E5swjGG05RzH8Q3zPGY13D/7gbUt1N0SUHugesyF1vGvPu0ldutrcjq9XkZiQzlg2t8vJy+DuSIW2me5/gmlQFcq2uF0QezOVnaB9VgCAU8Whl2tYb5JLqHlHuWFDFpbC3SONaopxlUa14XcgQX39ZzW8coELPzIBn2cqLKtBq9HO1hazmCe7rSNVgc8g2PlBmiy4gk5aSOw7rzVLP/IqlABBZp7C9F0vWChb/HE29veJN1UfAgqhBLwuI4vSj2ZfIrXckIBKFP1gp7AABuzu87bC3X83eNq3iP3MWAzT+sR/MaWnomqTW7jpx1hVeTxJrxjr5NCjS+ytR2+FvdchKCs2SqBLmf+EAVv2h7Q5YUAGqcI0VMd/7SbTr7hJpFDMd5n9KdZKgt9PwChU2AYGDJkVNUQuPWSWp+HSNjIZOrApZsDODedebUOpDEThrL9Jy71Sj3mX/XAxBER5Mdp65cVUVmHIL/Ao5sueS4Xe4ZX15qKMtcjuWIxQUsghNozc6KsQaZEVmLrR8ZLGA5wGF+07xloOEE7ClKymCcMCpEdPUbkMvJ908lDCIqkP5woh+rkZPUCXBZ3Rxz6+PPubbAMyZ1RzmWGAmsG5cqhirvDWlrJd1gtnh9UonivnW/uZ78jpjHB5sfVEW/48iZDLJsG0yvGOTGQy8bBNl3yLkfC7eSsVa/+RgJwnIyK6IueVIrlY1LNVJfl6ah609GUKiUHX8FwbtWLyAsqL/p/l4YqSpXlRw/obnG9e3SmM9UxU34GA3t/GvqNEs9NMx3emDl09LMZaZu/+x4WCC1j+z9KPp47uFDitIkqNbFyhv+x5JYVYBWv6wJKyn8//wmfOuS+bILNBSbSAR5THDdjeruF7zBpfsX+Mql6uk5ATibb3igdBLWQUg97yUKI/dmzKN9aCtGom/56qV2DSaQN/m6C+HCmQoZjrD6gACtXcIx9QrWIGDw3LD2kglb2em3hXBW+HwuIYyfoEg2W/ft6XbCUovNOVUpcgyzcQx97ZsdqbjUhLbk+ULnj7nMrajeFlnemWtKppJZjYwl0Mv1JdGmAl5Btt2tT51AtaOH23UFSFJmsXUS5FTTiD84WmonXPW+kBuSNj3WCRgkGVd4EsVpOwU9qjMK+CyYwsVttzgy8SJha/J1hpix9XI6b5taSWlgTn9AGQZCZNivExpkZwyzGPbE9SVxPw/KnUWOf/aFn1cMjKxePZ+pnmMpcaNEzwTBRoNqByxCTjMLcQBeH5wk0BcX9wz1oQ5Wt2dY1hc79CVElcDoI/ufDhlkRYsto/tGd+Wutq12cgoLw1s3QnLbiTg4FKdftri9xE6alxgM++uxu7QkKMyF88lwCn6j885Lp8yspXSPjQ+gHK2gWUcGygsxOveSG0knxY9SD7mYrtC6Ajk6KcDAuQbv2WxNj/ArDK0Vu7rQJvh30ohq3gw8tEK74SGPaHGLwlajaDQeH9fHKhySCfS5QayLrP0x9ASr07wTVkQjWEtcWKXWicdAzbk9ExRTAj2UjKJO04niI4ZYIIvFHNL0eUHdYk9rCp8ZnD3+SsRZxpgHUjUWg1fFjArfTFTuxA0T8eMtSBfP/d3as+LpCXCX8bjcjUBrGpHapfPAPpT3WlUIdAgwSOg9Xmon6zzWeBi2czgpUMxar9YQ2fPtaUd76rQPCscELr3Crpj9m0vteZI0ZY45rf4JbmgpBNPphXkqa6DDJv85YYwiKDsADB8JUqQogn6tzq/zNpNCxmtiX/hY+wquIfG9soFYnyY6XYDu7GlLLUhxzj7jTSGksmRJMiHyAKKLSHOF8G88jC5otNNbFCsRYKF64w37ekzyzmDlM09YyIRftg389TDhUCU/7n3k0+u5jx5/e9aHkS73RLA1Tl1dNC22MBVdq6oV+q6e902GmBG5sgvuvpoRhLFHc0y3dhxQJ/95RZqiSwG1h4RFVujkn0y3M2QKQgtaFf+uBFkXWxgcUXI1byr1B1807sWFSOUHsMVnykPzH/dO6Ix/42kHzT09quFegLoAWxC4UQe78GowEasK3RbnbBLNfAD/WBHeYyPPaDMTq8FLWYxh1LEn8WMf6TgnqXKNCNb5oIbVcMhFiZsVdkQCom95DGQ2c0b2xugz17KWGLISKLUDkhH4FzQY3+uZEqphNXFkxgevDRVMQwQ+B9y69Gt9j4K1rmA3GevbqE7OymW261MB3mFz1D7vnrpOobU680vs87EdQHX+w6atQyksqFjZpF36c66IH1p/dUxVMg4SFqBoq9TDcsOfPFd/NzCiWHZ0L1nEmLRck5QiKGUjM9m6dacC8QAz8YX5oDgKuhc0G2cllBX6vsD0paic3wOkWgypUVtYvzM78FPE4ba74gVSYFmaGhYWFIkIzGJ6J8TDNiIqSmJpvHgieXhZGg7NZQR64xzp3QkCuqvYO4cFHy015qwy09tASYinrQcVQHiA5ePTV+rTyBuXrvQxLl4JtPOwZSD7Krl/MZmSTAy+Qj89v7Pu5LBu/v+KMoz/uCgi0RYxlWMuJ0Q+Qmufy2G4Iv4cv//F3jK1k0PVGNCG2spK2wH4u2CcHolohE2l8e9iZiv9XoRsbPwnAx9ase6E6pEN/4LS3NnvlcTkaFfsXhTu56VcDXd/YpZoZZevydjUbRdH8uF4kH58Fwei1y7W9t9iW3mi75hz2iWFuoNKEvKwaBVmTYDrjcwUrGRbodCjhqAUSMA/BocdSeSZqEu2p7euCr7ndnQo0IWOxjDFrjc+3ldnTkbtqoPLQmmRvZRmrhRdct2eQ6ijyLeVVtEWjbk74rtOfxkB3qgI7Bs1UKxLYAaWdaVwH5LQ6vlt1HEZmdaxTgsLjNhOsHP9OgN9RJEDzyQZDlfXCGXCqNZvX1TViPc+2mA4EI5bDe5upeKHaGwmZJ2ugWdg/Vugt2pKLJLn0X2+0nJzhOWl+1CL9UdmQC6V/O2ZZP+z+0w1Qitm11an7OTKe9It84JOtObn9+M5zmV42hRtemlX0GCuSiO8RMHGjaJl/z6dQ86+AQTuIEqwRB67LJQOw4sn5ndqLTGJlLOAippmHIu+UaR0DXI20nqsLNCPcnDcngfQf0/UX1GoQnb+oeJXyemPXQvf1i3ubzhxvuZSLsm3PKGIhcg9gF2SPmVRIGchLfmqH9TiyFu92oCnWYVim9DkcahqldIKKYjTa9NtsWVCrzaiWxh2cgAAOZF8ZSIjLx/VnF0TfYH7gUjN0Ye7ho1RcWZmxz29rnVrlbh4TvyHZDjA5YIQ8oMPddWUgrABe8imUObfTvseL1st9ngbkWpAnzAyfVtK2YN/zjD8zUvAJJo56CGdJY+536Ba2rGbAqBfrFLQJl8V5elNB3bBRagR16BNrHGc/8o8yvXEu0IRw+b5n0w7zKodtTILdll9idfT42i9EFoMPLoGJVNdYlnMsPZnU7cs9kS0PYhpdLJq7+y5/4aEWhq/mqLJSdgnfHswOIGaT99Z4Wq39tovxqb8CMY7UD+HFSn3Erp0uephI/ezyJKhnun6ZidjYCER+8K9S+1XER/l7RR81OMNX5VC38Q1YdXrKE5iMw9U2Bt5vgwRoSp1qt/kUbk554/MiVV5JiKrGGJJkpz5+/c8SzlOcjNFP2IkWKVEYbOKF6bBZ4Rws1TubJyfp/IsTR2QH33xV6myLR8/HJueosIzDQF52KPGmri/cHiqy8IPjJ1fvPlsJvO6joA36eKh0v/XN63uVOOhW72YLu9GlY2ZOloAaL03HOwUo8Ygfnbjg7d1qdEcvyH2l+UyzaapGj83g9ND5kti1xXJ6y1UZ/jB+JFx71XKba/hJr3aoYhfamolyimOrXIfJIGGB3oXhxiuMMkEorrjzwbrCEe3GyHdkBRN9s7qJ9/x4kn20xW3lzDFfKWvHkdu1fmf6QbjzJseFb9xukTbQnOO8SgWPSywB4/NkjMPKI73DKcEEFEA7Rw4ELWl7G+OC6jb/+oODI7k/axO5RCPPu7NNvv1Jn2zrQIXWIF5GNS9q0/nbvTOKsXsKZ9xomPK+Cl5ON5Ano7u+ft+BfzA7ak6LZ8M/PcupM5fp2NT2ez/4spU+RL71lJ59Oz6YxVtNeZEnaZLUwIUytKJBxCesFJKhY8jj9eC8lwD8Zr7E26EjH7DR9WEIQEobDr1AsdLli0UZRkvkmDseivS/qmGGZIDinuf+Vd6UWgobrcsMKX+zAZ7WSFZn61tNi6o+b9hyT/dnS+rolqDJUy2NJ+OSIUqfsbPD4GVBy8BXDwL8Dum7PFW2aDmIfKJOmNSMySPAtJoQSlZzYVL2WY880mdi3Ef97mGK3SKsSWzRXbQWnv5N+PBr1bfCXSUWYPVg3/xZFrj8JRHXEmL53mEd/manIG1/Jw+3/QkPMNE++19kPlFK+VSQpWMcHIsZT5Ncax9Oi6xmBEoSwWYhw6dzlbEn5TlRSv4F5QPIG3kSTdXo/fkhudk8pKH7yQPEXvwlXIbzhfHDgV4CQgQ9xG6BaqtbmiqeLWlC3KVi7bxRj/io7ae3jbhsd9CFi00QTZmQUmBZWnDgKiWovc2HH1fCR2CvHsaJkrHJFzsxJVeO5suFL3sLXihVzOzN7wgQ6XaU5fjXrvWK265nlXtq7N0oUAzAtBkM+zk2cdj9VYW4pdlw8Wzw8mDEPox5zcJUq9sKVTFajFiU1Psa4gZwKjIw3uxB09tD3dV5I3TXtLxxQTM7zK9kd405oFVliuINx5CyBrXomk82bMKSGb5KItIhNE3857gNGoq5I8SzokHRgPrQJrTMU48YTMlCd6DF5Pw6frdtJmDdv1oHk1pEgSfb6T2zorg06dVY5+9KSlubDMQ+JIiDM/15lc65k3tCwfrz82hPtZnEv3ISco/VfDHRqJ6HU+NpOz03k8QcU/0XE1c8+MP0TILxjirwcC0CCbSheysfSLOsZhuM158dV3WP1J2TiFqBcw9b3SwUnteZxY+rDZKLBj2HS2lERq/Rf/RgCQhirjyiOx1FLwpG14PPnQfjdpLDY8JuFDAn/9YpH8viujFtn/xp64o61lV352Lo3Eu129cKr6zgQABbyYf9/5/xyCpI/1DCtGsLuqkAnYLIZyiNJkhZapGOSnyN3vvqlyrjQ5U7GD+RPVxPgPPu3EXMVZG+FB2oR15c09dGfOVrtuFwekhU3xL1gCm3O216axvSk0JFXw7CybHokJpze1IJlfDAJ7Lo+Vlu6einberZWtG29K2rdIWgNHEPOOHnofz0acT2d9ETfwVaUIZPD/MXSXG77ClGeV7BsId8QY0sFWTxkbtHPKkp/ciUpj5aqEXq/8ptCqlJCAM+LIpEsUGvqg/Evf38M588uBbkHyHsAPa7hnXzJ8n62AsqGaS/pLcNAdRHWq57jK2pR4zukMpCKqCkJM38XM6n5bYW2R78US8yB/4aOnsC6OOzhZSdgSXghZvhA8JJU/6myDdc4Kf2Pl/H8fM7V+M5E96wkZdS7g17VQT/7AJi4U/T4GnTgJNBCshywuRxvlnJYzQNu4SaOIUOg/JtAIyvtEbo6HFYN/B+33hhsAZn4xRgoCu5EpN3E8vNFRPXiDPRF5U3FG+C3OCBt96ydUmqKW/NBCiRrVsgdez6m6sYgfY8W3PWosxmiS1sVATisiKrnHwzazOsbgap8cBj9ZuBjSUNpheQTOvlU7R3R/+rIWfL6bLc60ghceVXffAPBkdrG3cT9+b6/ov18aK82fZ3VEmWkmyLtZ3tSIPmaBWy2QU1RksAiCKnqj5sWf3xDgbbOmimHNLqbSmrmR7GY5gUphHTtAN72Y5GuKv+791JSFghoRGx48o9l3Olx6MpkoR1Z7Kou7omlDWBzqgrnbBpKY2iHU4POkvjQsrx+eMOu5CpNITI8WRE0SgrTh46cuTmnPtMQ/zcDbfYtwAPhP5hw3Bnr2W+7G+OHptC/yVr980OWT/Ti9kt+tWZbbej6ubyviQMWbu1Nc+xxm3TF6cuICMGOWuc3erEez3Yl3o4yeMiY1m/XiG1thu50ok1aXMN7Rmrm7Qq90hnD/vBH8UD6SrLYsZ4lvlH7IDLmb0RbiE9qlzLAue4Di0qgwMOKvnG6OURfwRxWIti265g8I1umQQ0oq2lQ21TChrYnIA4y6ImnnM8oDcZh/LA3Bu51ANcwkbunsGuPUGBskwhKuca60Kf//sfnxUoXQr3lGhX2R8sQzqkAjdPZjzqQAosp0Xr43IdJ3VK9899YMGfxnfXUMR2cAXOaFG8kCbQBlWOySj5rR2vZRvPvmQKDW07pBTK0+QuBG1EMpyIoCLxxkNRj1NlAdRk1mgRqkSINawdVxqGb2GzCgjZJ0xHfdnT9FO+W9FZbQypEbp0x4YLhdUk52ZJyQr7aLS5vmGhslQfDCvWBwoTJxRe/r2EUsi84itrmGRXBhFE3Nn8BXu14RQfpvfsb5LUhWEe+9hBEFzffRz0Qubony1xJ0DPVPcJQDbRkuLuDdD5KVpxMMWhl4v72WnZaMRT5l0oUAS5h4S1h1XFWbo71hYDM2DbBlhqVZS+Y8iP0LGufmnVumZQgYmIUCUfbHPJ2pYm9FlQxzakLH3yyK870IjaWwUHjd/rmUKRiXYc9tb4rH760D1HgBKuja3MKgqqKiyteul2E0DqROg2G/uJ8Nv46ryixeIQ5U4XfOBJZS2L31uYAZO+r7JSLOxYHovHrGXdjs+Y8wSQVazQLWE3IhrPftMUGWoZyfDMOwABzp5nEW5bEt3hp6bboDr3e/U3l9fNPtVDHmqEY1hbUJaaBhRLnizY3eE1wosCKQ/faJiC68GNbOIUAn56UaF3Nz4mbKAlYqtlc1vbZfUSPiu1mlcEPknW044BTWuj8x7J+bukFlmLKfABY5ZfejGtvqG/21e9/zeE4FZuP++6tZraxk+5jWy089qRltYlfcuQmRG8IwId33Nah/iRoJv7IGApIycNnWIhbi7iTmXpPUKva2hoXdERMmCp+rTmJPf6W0yTbSOgnqcBvxC/ZjBKpwwyC3miaOGwsnMLOpVp56YQhHI+qMBVrb2P8EHaCJsVcL1iq+m+AavWQCyitQLgf7GSKS36iVj0ul3PzIpUI2NmEYDMYmhTeC8ew8fjfL3gaysh52QrkNlXOE02DwFGTuAPo4N78o7L0ca/ABBg4YJBGdZRvoWT06ku0bMrygQIXoEC3V7fcRn6q0WFrMc/h4CWWVEldNiangODJC9yo3TCV0oCaRSmD/oE/PWZb0TIgOP8EaxraKPD6+gjsAP/SPgf2QWDiTjqzpw3NEzLU7TEDRKbTWrd9FjrbHonT85/fQg9bPfHkVrvy1ZGTvI5ip/te3/ZoxQV4vRJ8Iqli9ipP+AjxsXSdxYy9U7IuhH+1yU/NsIMJG6HLa5900mtyCV82npdYYgV1fSkYc/Kgc6Eq39eQ8AywQHRShKOUIYXrQr4gH/1DE7JT+kRSw1DjCZpsW+hsi1npp5H3lkL/Q4LfwEpuvh4clcdVHjkwpjMZmZPZsOxSebBkYCKIxiVo7zbu+JiSxTp3P8vL9dly+dmGl9XpFIzNVlxLrwni5JsryLm4LbpkT0Wsnehll1os6+yHNNN/GFoBoGmrL8/xeWtu2OhIOzUD996SJT0iWx6LRYcOaG5/bU5PI+PCLps+AmB4hy7GKJJmSfnoHqkS50SLqPdZDLn5maXZOm82Y1CUZDA5lcucbNQQg8SZL4px76iQxAsEzFctsgoO12vsts4D4FgT6PfurNDbHvLWNVbR9qgpvmeher1oC9DfIwuaO6rYZddPJ1s4jbJO26TwE151HCqgoiV7VZtyqbHnWIDxCu8zo9a9I4hyhXSqS70nrKfZT1Izwm5wQY1pJTHkvNagntiuJNrCLXcuMpQvQIHZkEIQffpixNws/TVERGsnoqsftSdtxeRAbuhDiaoIL7YdU6APs1dbyYS2Jh9hOGG5M7GPyOUfGmEzHXibvzLRtt/9Qo+Fli/voiideozuEWguYyAsYBz+sgtN51P8I+DK0w+IyuU1aBOZ4QhLh3sWO18zY8zTaA2sN15HS9hf2LHZumCLSv627f/mQquP3YXYZhK6LIrOdFNyOKyXnmSACrFyVZwQCuXXTSsgWYqZ0sf3t5425CgA5tBYQUGJaAi3cHcUYuG9wOzAJ25bSdl3gKDXUuUIqnJ2lVlJlktPzXfLvrKpEuChWy7fVkogjD8pMX7q7n9Ps8UguRuLXFe2bnjLRPKGys5AWEFamM7mXYcc41rxksHC6yK2JKO0tfa2arN553spSOVVD0wwX/YCjUSs4RMgwc9W+Nx5mZtfGSJFzLZElEPvYSc8OEdStk0lzX7FIXFVT8AGjqjbKoIeYUqSD/u84Tcs77CxElCO3GMrDdD6c+Sf1shVCSYzfLe5K8oAbK2WfNo9E0WryvKZYuEb9SDbyowzR3JcUrs4Qz5hi8JZupzV+WJaHtRPqmAdOIg39KtUFnSkPfR7lXy4fjNvZaxkk9SlVO1wH83d34UkjTU8g6/DQbIMnzFc3ZZC3U6mS8UPiA/K2TZqN00StRScOy+iag/b/t/iNmQNd4jMlQbq7FFHlY5l5Gn2yaubFcY53rzeg0A9IbHvKPQqycipWUfO30QamqSILmQgV/0wzfYG0sZ4TU432ah2alPu3N3FE3XcuQIrY3sXGjvIqnN/2hhpaoLfEpFvdyZAm8Mn/bJ2E3tpmqPZnaaCpWoB19ERdIR4KjKOAavAR+iphi8dx7QJXMbTHFsZFatTgOzT6BC2HW0AAKpCHrCem4VBVHfq0JPMyOpaydoT/1Ocn7h+F9qe6TLErKQXiSsUw5RRu4RgfamE+e/gaGrIaj09LDWSNDpMuBFZS6ZbPdF7bE5LXax1g2+Tqzo2UqcdpeFfpRBi5o85PdfP4qlougTZlCy3zvr9y95kygVUPhWRH2HgpbN417Pz6v9vr9Mojw/dijmd6DRSLwvZ9cm4S+Z34MbcJpXjDd3oBOMYPusle2Bq/REFH5kEPMwKLnuqau+BI71vfvlY0RqIR3yeUrnU+as7FN8dJMhjPrWX5dZSYOOSjRDOPd46LzC7bmiNI7k5sl5HLu3EZYzryTynniDdFo5ASY8yaYFbfmzvffIap64G/LXj6Tn/3A2E4IqDX9PmxduQaBbt+lj0M6XX92y5CtRE6NHCDMFf5kIeJWggCOuBC7VpnIKZ2MZkhcRjE/BsmLutob7J62u11dBoEDJITlsUa4UdrkbcG/NT3wLsx0zAhYlY44l8VrcpKzXHdbbxvr+gGmi62Z0QEmSQj03wBy5Nqe2wzkBmwvj7FVb4vKXYFBw2ngmEcGliVAbtqiJE9isCDBdi8zSSHMPMPV5s15c87vfvDf7TSQd5mrH2rMrNS/zyymRMIcDJaQWEFargg16TTMquBismOGSNICEMhv0j4E9j5AoVzBckqkhU9J4j67fuxSPb3FUJQuTa9Uv+PJ8bU90rM9MPXyLfIOXcqbZ5JE7yZCg/3IRUI0VHt7fJhSwftd3R1UE/+Uw5pzoXZ2NbbJChfV7NcnzNJitAf5kckubtwh0P+Pgy3/nZZZHRA7YBHXM6YGAviCzNtwChMYUksKLqcKgBp9tXbM1r1gT6MC6ELXdq8gB2Z+k30XSXW4/ImMZIgmwAK44QTsEiTimToZqUyucLtfvsNQV6aFsW8GHuUeDpbADEMTSKBb/+8ZJVSbpNZNHq26Y6GjCoaalwEpqp88eWO1yM7x0Xn+cKLqgmqvPw5AHrdoMOWMkGihyFtRRAvleFzNf7zk2pDDVasL16RwdQVx/iLs//eeAmzDatdRzSH9dh3i+Tcy4o1j3ES0WG2pvcy/DQSmnNnZR9TPaPbWqvEoI9oymyNtz56RKpGuvvtmKnRd6TEjgso+fOg0HeYS4xOmg6wnriqU2tcL3Rdgv15UprNbN9ltd+yM7lX5Wf+PetGHMkZJYIi0NexdBJ0CxNcbF3aNjg5tsdIlB6ZITd17TwF3czQpYFyXPxzX1/OYgumPs3tKhBP+XwdH5WOy6vLiqmPsvw1wJV3qONyz/zeXSr+2THfezaOfLsLfF69Lc2tYfSzVu+T1HsMzjdk36iWxMl3Zkla/6NQDufqpTY4ifMsvHBmDVsMNrwWYUNe2Bkv0YabD71zCzWGGr5q1CW5Rc0bGgMk+sSN2KllaHYmMaEPhy6T6ETHZrJ2k1y0ajMPqe+Ig0T46uRp3ZS0OZBxEpTPu6eUVraqzRjhf+KQtbnkfr/Mm0B7dZoBA0tNARdibP5Leq+mk7W0dyHNScrKDrxD63y08ZYChU8h8Qs7qhsgPWGZs9RjOchSSSx9YAYWMZDVf4DA9Dn/2tA1CJ7z6o5t6dAiAP49J3xr9NBxvQMMsp5PNlYbmA0wRCAblYFjXgBRg3RraLoSRqDpYNj3GcsARNZ1Q406PRE7NTCOco0U2hT/omrENpiT+nDn8X4o0Gg5uNvN85L8j44I9/R9ZfCW2XIdAXfkntmHMPnS9756raYEmnlwSBvCcxjEk+r9jtoY+sRlsWTVSTufQ5R5ZiQNj71Ho0EuHPA4XVhLuNEP2c8mUdYu7V5a7It6toGeOYFr9kKDf+iheF1a7opnKQlAt8c7N/8Rg8UOV5GyaRpIMcWS3eN+cvLBgfpw4P1lPZQc0Sd90H6Or0vmzf6wmosxuMgPAw1EKS6+M3IqV4Fz7cI2BXZLWEXQQW4hGbA8U+THRl5HDxW8r9eqpYcQw2F2ICToLIidPQ/OILe3l8DLh/LKjzsOHNib65juHA85sU3qPwRggqRvMMXc07hl70GtOeqN/1dgsZhEaaJ5YuB2CdiLNpJjhfb33+K9qIRBRl4t4ZtnSDYWtPnjY2276O+4ixS35T0m/aHRHbj3yihx0gcrUuSC7FofNlE+WpcPTDP7ZBe6rRqWav3qVK8zlX6awXCRFPy4fDVH+7lsF9ixinYRzfGaKAMbMNlITYSE6i8QZ2z6Iabjg4NoK3kkqwf6Gsgf7ES6CWdvrRh72BIHVx80lN80+7mimY8/BnAg5HdneQfWuDhunbmJbkDxgdgCaVjC1MduD/Qa+uguGM7FrybhL+JHA0UhRjTmxca51Hj7SYXhEG9zgImF7d4pkyujplkz1a4Ni0zQpMl27myYFyglU1dhRlFuDYUe4BDBuPB3eMFz276Bb17TKWDLb3RKlBt3aZf3AHeF/zEhHMzE4USsHc/P6PoqQkFmyFxncRIX6sasNk64omssPqy3BatGxwVZE8u6zcAZY0CnZOt77CoQ9x0V2MqkFR6+dQzFKu3MAaJBpVc6fbQBd44yQsOFsyh6ZttKrPtNIC+dGOe7SJntt5XQE6vAbO56FqakLhz69kT785fpMOWAi06gHzAj1Bk5qNFGELlGIiq9WcrO6P/63xrbo8WHgRJxlLlUyGvJssmhHHrESXqMjeZ2/pFlEDPCC9p6u5RTB45oLPGx+ETRePSUwBqMWLxKwmFeFglJ2JbEb4skMlceA/PpeouzVz5atHZyx1u1hGCuM8vtBIvxxAIt+QXysJd3exzzsPlSF3VjWUjMf5VhyB95607Jpn2QXHbqUToljssz2D37Ue9E1XmGFKjCPZv5ggyFG1pUhWsfv8vDhGPjlO/Ze1V9RT+0XYGqFeAd/SAmZko3Aod4jXBsmKbv0MudPQ45XcF6pmWGdTQ45LEsIxDJO0MOuRnipx6Yce6sTcL833Zt5BDDg8wRlO09JclFcITSQ8Ssm3HSEUT8dLt5g04s4A0z3NgHFyR0d88lhF6CIjJKk44nMe0KN5BqlEkFW3JMv+tFFFXSyl66r9xB0UI+lUu67YDB+hOGI7+TtNofMlcMnGB6aEFu5aif/NuGP3xXnBKyX49pWCffWj5OWNbSuzRUDY0ZHegOq0QncTDkGiyGigf+y0cNGXyx/k4CXYqHdM1P6RAd22FOHgZ9sCT69+rGYHTDNeyrmYzOZo0dEhQw+I6sN+OOhImSdSh9Ja0j/DX+OfO5zM0lhV11XMzxGImEXDiaOaETB4ieWIP4lotVV7tWL09jTwg4fIFMekmNfzPDTi7iSE8DoeqiLkhhQ2ra8Th+7XVdxBk68WU5XGmkzbB55Z1u9EFjr6qsTt/0DHrsF5VF/ggcezg17tbStpNLp0NQFwHxsZK7uyv6ufBg838Gy+pQCM58jDDQ4QzZUhB/GXve/MQyV0/kWzr8CqEUj11y6G9oUNp+BuM4K+s//d5j2HM/+h9veR88PKqpDMRh8mX7S/BTDpoATH88ZxcS6vgMaQHA1j+FgPT45I+xmE/ddSB6iFZewo6hu1FCF058h4/y4VtRFUBykZS4gKW91DZgOaFzzTTjrZly7Zm+kgl+0ycpsPfpcO2t3O1sovb9kewdv30Ug26aGoxrdZwoSJMACNzZq8uJJZMl4CiPSXjEnFxNloqsjw1eOxOioNKmEPpRwYeIyXzvk1jLeCgVwJHu/hiE0vmZGyAbe7f2NEkAg1aDihiO77j/zZMs85rke3MAry0j6xMO3GbYKJH0/vALRfqZ3HtGnK0shq0TkVSE/jP/JsyBDQTDbi5F52eaZzajSoVSOvRF7Gf0m6N02xPZl6QBxVXkQp4tJ0zl0Ncv+MIV3B8+y88CFM7oNzS8Dwr33t75HbruHaPWfXeNKjEHicIoqxd5McHvb5eZbu3/V05kdhCOTdF2Z9ZI6nfkSq4X+YbLhLY9uS0q4v9cD3qpTwqFkrLBHiyRi/RtpdslyxoanWQOdSrw/oCTeKcjZx5c1Ez7KwBhr6YzY23XOPHQWUuYK1iJkfMBB6pJO/qZ7AZoNP5qo5igWvn43l92m2c/Lg3XFmWzcRUTASqoi64+X3oHSPKUE+ABa8C0N1yIDR8MTcrZNeuWSYZIXUQ5+99sNAZ0QooHdqVSOam8OXPey/Wiw+B3NbgHGkCBwTjo/b0iyNpMc0ns+0ND/4OH3COT4lqE6h6nR99ELfvmP1BjDeg4Bst4lgR+tbUpUlLwQgTdsV/U6GPHsmyplq+Y0skFv3ULX2SwIFjEpyPby/MvBzZXrsbfxad1iT5DJyF/RR3Z7A5w59XYfZvHe13NdrLtaW66zYD9i9foy6ABUg3PuSMSuMl4rNqL6UelP5iFCf2UXp81T6wIBEHpO4K3diOPNg5OwpT32rhFcYgo1yAs79IoixTxdh3mfpdLUrnOpuNMNm35otjU6n8LpbReo2+Jygbn9ukrYjPwGIicrFDpQzamxuwRHkAvBiN0hoqPCOxzlYzupZC1VjFE8k9eItCvJBm6nl36OW2CeaJbhXiA8FRXg659U4wh0fwzZKetFZKQ/ly3nPHJ6EEH8DWsMVstVZEJviGvoaKcmVo/O4yEAEyHjoNdG34TQKrQyfNuaqUG7MBA+PAzklXY6DAABvGx5+LKOYGVfLYu/h7JzcHwyxBi6//1fiEWqQf37Ws+Rfw9x3ll5FOiVGiI95jLG1YX9boF9qlbnjcKPf+6CVTlCJxIDA4b71eavHPBbmPQmp4MncZBnF4XdlRrzjxH/OYl6qObB18To+YZ2nG2AFlgZldQKs+wEIqZVNhLsrfqpFt4jOjSTREmgoZPsADMoym9tXsfT4KGBO1E16K4TdNhQy5t3WoULpDtFF4K0LYtSmO3tjSnaTJGlSFGyRqrcNVHDdJ8fowPFiu+nuVH2+EpOskPeGWarApvbAbV5vDTOePpipaaQhhV/DwIBqB6m3CX39MC2xwpGeDu5h6Km2yVZkmsjb8Rs9qhM74HhJPX27kSAxLqFKpbby9Kre3pBZ+pniYoXgQSGnCrBslejM2vFZXedv4uf5ueRd01XlJMVUXewdSQF+bXy6gs8sWRAa16/G/kPHZl/Hs09Rrg39SSdfm5x5OtSzFAcRw//CwnLv45LA2cMEM2HmnHfACiBo6WBVMj/PH9Yww824zVoAaN7BplswO2346nIAvcov4Aatn0eRwx33PU3hksSjehyGOpovSf7xj0zb04GrhlXO1j5N5FZoMsCdfnXGTxsES8Ph7tJEI41qEYaamtHnG5q3z6gqEA2LiBk/XEOmxZatE6yvb9a75Q1J5Iad4eqVUUNdL24IThAs9+GDRjcJeDupjV6NTpYlgLmWl4F21jx7dlMfThwf8ZqXvDG2G74CNpX7KopxzTG8yPGixFl0j/Wru4erC4VxlDztRoVLHun+f9lSC6CtETTuzusF5US+NgFEYigDwBsWf/R9tYhwr7aQEMrgW9N9b3b+Wvc3ElU4tWMdeaoMmjdl3byZONTyCMcLGotQqtagEYFanL4QCdxc49eiDdFuQ6TzDsmzy84tcJJ/fdtDE/MLYBhB2coEBhaBUCtef5tJDRu1mgRrtQg8uPkeqtXJoG+OfmcsfTb6eU7C5QzXioaSk4eA/MjSKxuaD80kaKDq0m+r7bH2LSBd16nbPrrClIzCvABme0eeIngn7vFMr/orVHJtYjGXsVSL4IlAnhKqQTVYl/xv2YjasWPHn5WAwjtRQF4WW62cBo10bGcWVVJ5109J1sSmzofzNzXCgeYyUsVXiM7OtLLDEWnptUreQxl9nbrhBnuHlu/FExnN3puFT9O0JCemL464F8/kL4A9SaWMTSPbya8IQuYe4dMAq7iA/rVeGXXAdq2TPdkM61ECUadPJsEi2PvYh6wWRuCgP4z8hhrHcFaIDfMlJc30v1nqdf+T9mRSD7Dn07yeeALX7XOJE/W9fFumhZBU0XTIxIs9NG53GHCDM7GjazGTqu9Eopl+1mCG/0GsTeLMrNb28NmcCVWh9+TzPuWWyh01hSlrOeR55ACK+2VsbTaEko7OOFCC2m8ez9eqwHeUt2SNQe/n8dSD+yW7eBb9EnO58Vsd2WFfmNEdFC8ENG9qypAVf5R4MJed/8xxCvjtWk5737ae3fJUE4aT/T97+k5iCqeYgSpjbR4MyAFU+5Fc4M9dxX+6kug2uKsOS3crkPNLZ18JHRqt/eKQ4CpxYIne8Fm8M3sisVE7HgnqjNiM9kFr78uBQTMm/HFidgaPQsx+LI9OX75vuXNM5g9G/dB0C1keXNycroyzxJXXSa2psU7Cl95OABd1+KBkI5Nw0rQVeDsapOtC6zAAiyt+jMmv4kidRt35CwXpElx10aaF6pj15rYiVETVww5NjY4yls4gJEuoBtBsoAHePcTs3cOP6TU0dCtuaReleKtMV2cbpDbfO3+ndWA04BaQYVWrpAIGaY3/f05QTAKEWwnIee+W49up14E6y28dZNhm6i/WOd0XdcA5mWTgGobiM47/T0WCIvkD7CT91DspBx0JXuZd6Q+MGbJLKeF/4NkoYZj8eXjg1JnCa2Lqz93pwpTIHj2F8Zr0T/9oTw1JBiFp3di2fKBa+irXRUxwhRQ3DnNH31BYsUt7rzxMx53Gks1BQquj2z7CAveUwDTSWzpnN8BJJBhVYp20r8cfElTcFQPBMBrA1qzihHiIIUpWzPygtGOwn43UZAFqQ4vEVl5+J1aEkvOk14xyAvv7o1Gimqsdzs10UJwCRKxgf7V8vMDgVMlQC84PP4Xbz6kcO90i1TYKGL95cp5paIu9D36Dabc6YHIQw02a5NSJCojPMor7Jl2QF8Wgv8Z8646FTHPFHx9fa5PtiErO4bmj8UUH3wFX5DhwpzP1C710w9IX4uBLnuhyWqgp3fUdkMAy6PfF1BT2VgMUIqou6tDik9QkaSln9reFahp6iDNaTOKBXh21pgm4Nsp3yuHUDlVVOrv7j7hy6oTUH1qXRMtTmZ9RwtXoiqVcHjZrdfHPEzP51cWqdOeeF/+eK5nn2sAlbTJu8BLE8fLhvEGSpIvW0tS8Ki2yP9UEiMWYAappJU2S2zj18Fs5Qywj8HzA01knEfM3/rixiDpNg4V8kiTcV9EOmu1YzV+n70DVE9Bowoyn74yBe22E53M/iOvapQ+ghQKu3LzkXzGbAeDAO7uzAWwiEyirPlL3BMgZh4XzSycreJy8o0yDe9saZ3d1H/Bq7bcxC2+kgjtuWXgkbnWQGVxHUIOlbvfmdbO2RULDgLHKBhPWq1KcoHkjDACBadqFAX6U/tlk7kfSSQXJ/a3TBOXPIs8Jv47CzRhvs/7NUNvMTkw9ZoDylq+CEZOv2x/GzwL2lJWa9xyLiBR84XnWTCNxoR6ha+mtTphezF53ZtoyKjvBVoq2jVP+93xBQZWTNtaiMt0qILsp34FVQSOdKSinKmtFNQ/pNVlmoXHGboXRNBxSlEklbJGRvX9AkOb5yyflG1KBhO2sykxZQLHdO6TQ1BFb6LGdsSzYj7rbwuSj5L4tXoUAvQQcEERmXn1pcuDxqfLfaLe3805jOAE9jwgzvI3V62A7jU6CZzDgznPLyzvbneEXegmWR2MQVqFI39UMtvQ0Mvu07fhPEj9U41lzy2wFxba3GqhvhMSPvty1kAAgA6X05WvshINxw7LGMDJUUvKKl7AwK5tTVvBR4smjd/cIEG4HZfubNt5M1854BkASyU+co7g9GWlf9g48MsGHK0Ssb46mNrNAGlvJwwVmc9S0BZEqJWYUB5B1q89mYMnbTLtzritUnwWmmC/C06TAZYTgfiW1scG3bq5vZml+zaWYK52P1Ame5f2VhmPzgm8YeSWUnEFE0UdCIimEzr6CdWeuxhwaE8HWcC1Ka78Ls8oexIR7H1MkULPkwhShQ0/+O8mIe6WCWuvTeuRzPxOXTgOEJT6LPVw3vBBI+mv2VzvyJzZoakglbeOH0vc1up7b+0Xj7djTpStbmE8oS8IqmugW4w+lNRLF5joGJ7U1yYRpL+2iYmB1E/HH49spQcUh/6hj0X+4tUp7ockwj0ueSl1Y5dm1AzyUIcDLuFdFW64gdA0UuB2ZaRyFvsmmsat8V3aVSfb4SW7AV9SfaODQxsPy8tFeHGiO6MlUIy1n5h1CwEe/5yXG3w1BDRTK3+HP1DWgTE3TEy3TRNxYPDcFOUBa8TYyPJg6KBNGLZVC0f7fVVzPS0CogDQ3ffzt4MDfmXSHcJCrG7PF5Pmtc3H90TQrbYsjlVgESJMKoygIFkPyqUget0wVYVbGoaEYY/3FIS7cuU2aTZ6AfxDTxrfk+5t7bmkLLIkOnXYWDbmzF936ZBgMucKmDdCaNGxUHVYz5ZSdXwhzNYW4T7+mVFWvvNcVJ7vInEYxIL09RV+CQ+3zbSYzgCBfZq8m7eGkgCBECzJu+8X+kS8dFQGJnzTXpnqY/7hLTTmCr17AioPcDyOlI3ChfneeAg/b7qQWRu+l6pZM2GHZjHP9oWkOe4xlSUy5eRIqZ7Wu8tVFg5qhu0WJKEVO1SnExeLBvGICCzY5CUO45ffZ8mx3TiLj0zM+Q+G2JTtA/2VFGkFlxxyAN+lsZCrozOjJLMfPpT5ZZQKsdr/UVAVWwabG+5CZaxGPPs4H/BqgSkQSzq59wpqA0EjQr8d6WATZvBkxucIE7/Vnz/03iEYN+NVBYZpg9ckAezsonp8TPM4XhQZ1aSjPosvVATMbe0qkbl1czljBpOMvbt+QOQXyJLlLmf2glNC3H/GWclx+9E2yUCv01sY61H8fLxMTX+EpDuQVItA+D+kAkALaX9V+oiVEPoZnlXoznHFu05hmfR4m5wSAn7bXJRomZivKqZ3f2YHHjP+vzDsrBFWopIRitujlVD9kKb3yLOOpUIMY5DnT0miCryJVSywPMmje2Xjq0uUYywCVMcHMsBJoJgvOavMYVeuQVcIsAEc85tH5d3Oms3CBKYHsB79pHBW/ElyeBb6nOkwc4H8rZSb7IJRz1mzE2kOXzE3N9wIR/SROA9owyIccdf/gz3ltsFjOajU4XSRC7DnsvvbZNgNvlzBhWaYDF4vaOAYA7bap/nq7bfywo0SP/Nk8dRY2DwFx8fHwj0aMlwAlUQ5cdQYUK3dNq2QAD+5iMQ5xp/Pl40kEy05nz3cEdbboRbhK3F5a3DKJ+h9d4aU3ja6SRcNkQil5IbWz5s7Lgrp3f2WO+/59y2N/kLpJXRdJpgVlbLUfI51zXKWMlsjytU6yqjESvzDp6UGEUwonWbMMsUZsQfwJFZU+oIo9MHqfrHpbqyydBWPD5V/nqkTsQMNwzzq42TQK/yY9bC4CMAycuQ1/eSrkCnODAwWZlGwMun44X3dBnt7GmbDZKWK6KjuirPAzR/q8OuScIJRV7u63jpSZr282+D8P551xVTCi+i3Yk0sLJ3YkTf+Z5quHPbvtyCJDMOTeAXsLZntpiuHB6NkZHRdJdCXLLZ2zh5/2YeL8uOSRn7+dx+tdupK1/qR6t41TpHTLXV8qXdwYy+8JucatGIKCMWxTEp7X24KnOMRf8MhEU4f+JwdBBBffqDMbIA6DgMwKV5DK9w+/gGOM9amVYpETv6Gg7+zrX4gRAOFIsCRlKZUWsky0FUbnqZwsYmRFOeB4lIfyCPVU2gY7vVMnAXoNuC/ANyFT0qw4ymNRylJTUdpATzo+2JEnYKVEQb2lL+VUQ8/4feOqg7uWvNpJbhqm/MCCdrFTYuJhjYO6ceV/RQPZMK7HVrRzm5GgYxEUntfvdXJbN2szC+NoG1tsCFh2zrQLGc9ecGGJK3xIRn0dAfVvxLcvIBkvJPIqJGiv2zS8bT8MBP9yeSZ5kLdoLEC/zVsioQtUpRCaIfCPHdqyCcI1JOTMQWCd1XEe7YbhhgFcKZFs3U9zOzRqOIsqIMxApYNKTtkJtmUb69YHpaSgcPFj/9HuJpmPJXCcXtMH6QguLNZ7lDXZOGPWDJSmjVjp1XX07lUAzerFYRu4hIPTb6sXul4ykdq8TnKcbEk9oG+3lSnZYxWBZUMbfE0zc6N9RTBWM0M4MO7yB6RlIdr/8jcuQsGiAYCNRpPvjiTzYNuN28AiZ2l/zNkILGMviaDg9kxFMORESlC59I4XAW+3qN7L+j98TRGZ4+9jiukupRfeua+6NEw5U0449C8A6PrMyROXwKjktOKOKA5AZxCkxB8K5YxlSJJaZptQNYHY3dBjcIralPhdQ9vIs2CnUm8iUGPQAJnth0dXr/lZCK7W0WptTWg20sp63nuES014DuAJPqFW6qLbVHrH/vSykHgbBT1qS/HV2AlmUuK54KA2dSYEc7CtjdZTONjfDv52iLmuuJcOP+99EZYCf8mZS0vNIRRcq6SlDKYwpsoNq4PdNNXAORoVFU+/A/i18YKeYHPf506meJsVgNXwwfXvir3ybGLkLy33QBMDPntoVdntycntjmehMhW9Km+DWzQWfo6nIePR2afrJz/nY7X+iuB6tauZ3XG6NrGcpWcntBnJcbI/xQtBjoH5VYv7eu7wB+mnBQEzRHKZxJMHx466D4MzSrv39+fLE9/3Wizij6KXOXXc/en292yCBJHqRHCpyPMYExvcEUKgvtQnQi79jSd9HhhUQbo3yssu2FeqVvegwibwWBs8imAIuJIdXL8XS0gkyQvZRhWYermu2Hgfau7PWg48huOD5IsbtJXP0DbXKoYOAOdgWFVEq5vESp0lk+1rZxKoMiPG2F1ltEDH8yWcojhIQBJT1NNGl1+ltsOaCyL0IqGdv2nJ0qNgcUb/Wbpup8Ws0AAqSD+L12og7o2mOFggaxLucWgUmGuqmkcmSCX75AqZMOkrD+jlQp1s+nGMujQPmISvPNPjcZ8p1u002jAsXSWK3mUuz48cnKXUlUm+5pPJ5iXQ4sDUHMJVA+bD+J+lT3lZZpxcYi4FHKg0NjHUTTKtjNSbh9EjfjEqO6QtuCm6UBfjRcLwKIvSvmnE1RV5lv9QVtL4zCdZPU804BxqCilxY3j+v8+YcCF/nV4q4nv862OVxi5biBWSoY3KMcL4GHpaUOzP7nxXj34fr51qzJdWySCx6AEbr43nq969kMc8F4TYBQT5BGIcyGwngx+SkM2NX5by8waWa5d5lINTU3i4HAR+S5GjwDQ9vXDD4yaFbI5ctQy5CQic22pO9xD+f3oHGcliJmhhLHp+Vcgs/1ICuH4nkGXJMVZ+lZrq/QPNXvmIqXqmeVF8bD8A7CRvNSwFLiTfQbnA9xspv4bFi3g05ag9KR1f1rhZPqg0pveSrf5I4PUGEVk16sNflAQd+FDV/niSYFYZwuOQt5AsrYlY9c40WnbEclvNBiZSxahlRdFUS3Vez6NyPjpmv/1USwLO1sNrLtyxfgDgj43bgfsQ3arJB3cZRceuvGMdo6iGO6VV4viFw6KbVY+4hYFu768j0CxFaACm2jabAeUEcMVctQ6ImVotkQ/nmjDrhJ7oepJLUU6zQHl7WduzwDZox51Jo0n0jSewFgB5kaL0aHIj+HsIaANamJtjaAGchTyzlUxizt+Qf6OzauO9SF/Hfgzoah+YtcPxq5wwKVtcvqP8lm9TCe5CALXs1jSeEFkJHBg5WHR9NBuCiJCsxiNHnBy8p09u7BmYSRufPPPW8azZc6Kc0tI8Mr23YjRy73CcSuG4lf9OeKLsX2IwjFEY9/D0zcDIXVuyM57p+A3nuClr2eF0zklCApj890QueX5aqgd/wAWC5Os+2wU1icckU9RId5zuzklUeSNSFH/AagxlEtB6vq1q91NzexQrQ/XjglBgVhL2/+ZiEe64m2FdF9ucFIq0oRFLtHEi3aVXJoeZazOkWziXdA2TQiVIignauLngx8csAuN+R2tGpy1XRt+XEVKIR8p550CfLa6GcRCQffR1RSA3J+NPnj4j5gEDPGYY1GgNdPdGX/VhhGwh9jOVgNtSBmIfw089tlKJfImbzEPUBjATs5v0EQ4wUMXFMQnXRLag64RDP1IlGLc6B9rJRmoWMsVKpZcCXOgmsGMf74fn2KwzwS5owhMx0IFzN0S6gO5tdB81lN37ysnA7n8u7lENM7HoxNm1+yy+AXKnKtmkUV1iLKY1hkQBI13LPUcnFGewzPCMr6iMX/UJv61VUmzaN2lcb/OJa0aisSU7E4ns0FevwJNlQ/hBFXCBef7zl000KQbgQ+ea/dOkuyR9VKTQKU0mhPqNYHmO3tXuRUnBN4LKfTv+PONfSG1fqmSMDR84j5MEPrZPUKdnK4ILB1eGOOOgPa5Imjvt91L1PruROI22yKKThOGuJ1M+gwnlPPSdhM94/WRfY11AnO8G9QtGIGrk5D2n2K0OIkHlCoSxp/3XLB1lp8Kmd3dIRebxA96XLe1eGoq8lcTV+1t/Hoh97NmSCJWIdkpdq34ymOFBEi3P9+OmwvRigL/dnHTOQIOuqB30Rsb4ICJuy5LZUKbwwjRTOjrcXBdIVNkUcIlELefaUg1iWQ/cHtQaaF39la51oVL1saSf5ds40ywtTFhv6AejqTJck/8hZIccNnxrt7B8IoZsEJxfKpb2WMLssoxyE2wHDbxYPbH3IwMHcqMkq18iR/FHYelqtQaA7Xa6VnaijDG0j6D8czMuXgtIz/vxoGFw+83W19QvrnTvA5FoJdWJ0T8UfKqPA22VkCYc1Gi58PVvnHZ+QvA2o5sCZm97mom2DssF8DMl8+y6Pd+r1WbXOKqYe0VKu9DO7qeznI3xVTZ4+dOdvGzvAolQQgdSnne14gCXZs/A/Cb+2cNdR6dcz1u7NHgy7vc7Je6HBUrLUBvLIHBacQ/EBB3krM39gVqeKvu6TQun+BQt7pMO9gmWhk1ZbJn6XTWRbsAUc4Ku42O4Pg+XegQiXAfw6lnzYpkEfnu6MRAbQm2XK8MnwXEbIDEZD+WbY5wM8QJlQ0yq7QUk4Ioc+BIzqJ4oWMEd8kc9eEL69JaLhRxo4/Cq1bI88GwEpH3d49JlfYYPqMogdJNfMAWOjzK0enGZ67bCQ9x3wpJIr/XjiO8fvsbH6didk0/G3AURyX6XHE5HdSNNQpBLR5Pbw57wNedZ1x/XQ4DwuNOOeqW6p9Q9MMTI2ynh5v2A3ocj2C7t8/hvOw9a+zn3bW6VUgOGfe61RzRrx624uC7zMNBGFsBBvU0IGX3/jJBEw2NgZcCz9TnpOI4665fLYFzKWWodcVOskt/hi5TEmV79198KR7auAawi37RYh/Pw7wfh1qTdyUIbZY0TNeYcK0IolRfZc+c6R9RncTPT/fK7GsVcFokZR+/mGSMpcgwXOYp+kpvh056/9BM2hqQpr9DodwF/ZGAhoUaVrvpx0GXXdOBCYkFepoIs4euJ2eEOx1N21Kt3i1WPQicq2cnTb8iagmAbXJwCIjuefLAqhVJbsg/HKVMnNr7/QUwxDSLTpVDgdKzEb1qkMQHdOnNtONwT5dC3cgpXnmAQVMJ1ldAIcf0pMnnOQDLZ5143Zux35RIZLDKYI4PT+Omvn9j5OGE05AY/wPQX7JALY9ldIo1Ct16IzfcR7c7dirwJESEAcCtaoacvO5h/WryQpk4aOzKKYrwPa86M7c90gECCR5uZ8xllZcsok3z2I2NbZSipx217dHLUUJxlLWapwiHwAdpHeEfXb/AtfTQoDEE4OmTN3Zn8sYiuCHO5Exy5ecVa7Wg+rk/4Cf4/U5ihJi/P1hQ5rScW6neCXe/ZHrjmGf0v7YWVb95HrPedCwJHDRWVDG36rMMO83BCDTjcIbrWeoG0rDbSIAjCRsKUxrzJHKmF5pYzqD91aXWsBI9bKsotZYmc5Z8+6LtVXZWYovwI8HJy2voSmOa3Kn8tccZsKSBRFVv/jWXmHkiSkGE1frwUZenpDMtY1iZofITHH8B9QbEdZfndyXPKjMYUQXd/z0LAPqryvFWRdGA/hSNNNgBLzh8pSBNvq6EwnNc+6whGNP1EWs16x/v2DTBNFeu86ZQOAxA5A06sjuNTUoBAyGMqluyyQLNUazKCrmSnxzxm1tjtU7+irbGVHY0KT/DaS6Il5b6HfxP0hI8oYel6taVDDerthuSJYbC6jfZ+IoD2Y2Ci5eb0wX18lTByBzLh8ZHkoxzRQKg9KnC1ZJtYQs1JpJ8aZhjNUE+l5eXj0DYPuPJ551YQ+Ys5G8QygRsFIZ71rKolvvm6BA2BucTHocbW/YGoWWVhRA9Rw+HIhCskWnexKuf+6FsZoN9fPR9fq+ZbLEoG2/xLoAwUqe/HncIiaXi15s8v8PgHSxReWnpkgV2Y7ZI896dgFEpquVrsCWe7JJO2zxqqqs1+l5CeWkE2Rt/N8C784Qw/4Bb0Kz0KTuDj9Q6vPKL2exSMv94V5v34TaDnsHddDu/tjVpLuevnXIvv22iBUGiAwXCveiER8GgjQ6EqEKLFWSuNad00UbyLfu1aDnc9AW5wiTSWyqVFjZxyGrsBxQVsiClyjjgJ+mOVPW8dgPhn3OEw0Z5bzMC8m/qJA0RjAwYQcDlq6D3Pgv3HQKZ5TazuLMg7/usJHOHIbl8LRipwths8usukowcWmfU9C5U9++C/OgyAmAa+kLjWqM6RyW5k7xTm/Ezq988W90Qh6ARwCTCeFy14Q5n7EHI+GF9Otyq6AbitIv+18eCf3XfFIou9EiCKPeSxwDoDiggBua/DbWUE72JJTK7qMnY97Cc76z6ty/qQx4SDl1NWbLVvHXOI203kpi6hTsSC/Wr10xNApOVmiCEL2/+VJq/wFWg5Ho8YMlAyNlu5wklHNKpTwHuaWLkl+aRU9xWamFpftVwY5LlADII9/GhtPy1jTfjRZmHbJUD5TrtGRVP5EvsTcA/ALtRfcjumI9qH7brvuVeCsFbAHZGkqT+xtHKRGF/sqEUoeq3YD5w8j94g9l/kcXffjRc8eOSUIlXu1RvCYONLjatAm+sCEQIf3N+KhCmuLijb1Dm5SZCN/jllNTeoOQ9ymMc5bqUWNxtY4U0D5IetQGbj4fMPvVd6T3iAvr+eiz8IzUfB9o+/u02p+LpUShE6FHp08A/+qIVofi4xn0NqwjInumiUA4z8Oc1XkjqQuMJdsaLJEKhAd+j71sX+ZP1Mlbg0Sc6vd013xJlZ+umVJL/qL1EWShQdlgHC5PBEYMlMF5EoHb9Yw5lBjd6JDp/GM5YzXpXonQFF6TV7oXtHF97KJ+Pk2AVvuaTZZDgMKAIqy6WxguQMEJs8bznhIXk7XRu+Buww5GjLL5o8oG546yobtxUW34ZZWkbM8A77gAnxVjKsuZRj287Zx1TRltp0tYxky4s2FaA44gPXEUgXg+op5nrqnStlSpUP0jsMt0gmp3dw9JrqjNQehhTcvBSjB+trMaDup97t6MNeikY9tsvYhMusmLJjdE87n/ExyfFVBExkd7mbIyJyk/MR40OMttylZAGaIfQ55IO3hXhjDwMwH+noEbZJGAeryfNpX0FM9G2Ib3n2U8BKodqxrAZeRNthYNU3d89AjtlVxyahJMpD5q//K4932K2mGBYXay7isKGLSF3nAQ3KHsqkGNUoNww7NMSyHmtHq8/WMyhBOvW3kR9gcA/4qUPOBZKSuPlEtPn/wG48R0bqlsZCWuFbjZ6NBL60y0ZXLx34SIjkDz5aH2AcJHHC5mkeb5KOuL4gXtdh2+dJApyVVXpumSb882ZL7FVKBjWXsKZaesWfXWWaPAzhGCVh9xmKbNnDVZoO7C6SmBcB0RLgX/erSq4ardgHGavg82L49RTYC1I8J4bs/RCaN/MMKG/zLZy5k/UXgVNcR2sdyYRm8SaAapEYNS44faTDrmu0IsJctbfgNNiou5KABj2vrWP0COBLlvCWTwFEpBVP7js4CoP8NKXYNxGHCHg6NtLeXEL0BA+3bGzEfpO/hbGLbTDjLMEhvFRHBnyi16+XELB1VGkBUvyDe6KBD2RYS+5KU5Vi5mHX5+NT0tVk0udqLy7Nun00snT8QjZ3pFZ3CsAHhY0E0gBzK/6MIjFukEPXPGezuh2VxPxTh3JFUhNiMvpA8um7Rum0o9iF/BItj/CIOzJHn0593Mz5OSnpwT+T8kGBTVBZzo9jliftCHtTm1JueppHQLSZzeOGsI3xdR3Llhhe9HStAkD8+yEBgszYOspbz2rn2XQy7pup+eZVP3c99ZNsdxe13nqL4qlBQZSEY9xRv1RZZsHlfms8Wl9/O+vX7pUunMP+QE2s4s51+Uo/sBzFsmMsphOqOWdFUyYIqBxjmCFl9vmrSsmtx9QIqDKVQxQ0XUID7l+uuVi5J4nVKk+2IULvQ1dy1ofLfJNxNm3LqM1na310J99RYvL/bcXf7PsSQZYW15588AZlLhkC+mupneQGhIJ7VbTRTQRMLfc/86D5OP2+KkAfAB/jWpyJyeop+YRbrtUbnnTJ/FZgmPhVHjf06X85AnKKl+Q1sJ1gp+Gs3w0Cfb+Xn1XQd6GNuKRbM/Z8h864Iu7kbaj573dtbzb2Tq/bN1ZadjrlRpgVYmjSpKnB7tpxr5xBs/INkf06jvXL73uie2ptGxU+3cXLG65BZndKTspYXrJrRAcccEDXHJBQFlnN6GUZdwuhOkD9Pz25A21/k3W6AieBlwVBVSU3j0tArIUicOGwhnDl5Rl7e7ma6M0K7W44A5pMJzwkXTB36ZLWXGFTvhm2zAPqlEc4rvqlCtw+k8ja4JNP9NOhCk+GV5r1ZJKtbmUmlGIeBFOh7NfipQf4ZGlJRC5tYiN35Dnat8CRM5tQu7BrbME6dtVmB/3mWmspu4/NcgsNRmIuazCWgAdSOQ8yrsNMUpnWHXTkQfCxmhPnn7/+oBcr/E6BpA2qPxmXu9xGGsBrX7iVtcidi38pLvk+NVOO9jrQsj8v+jTLqR3LE8epxRJ4j5U4hhJq3CyYvsccwtZQCFiD1546y+GSna3/TvOV0EleOOkrr5a1FtBAsRusse/78nGpAUmbt16Pk5oans9DgMqh+NYzg2bU3P/e4u5iUZrRX+7GvwMMlhWe/H3bCUAPSGC/lZq0stbtdaYmhio6a9kFNWWN4p4vepRXPpZAjjKonxp01PX7icv6d4d9fuHKm2BE1aWPYjgtntqPQF8YMyUmQ8fbXNeADiyL9QA53Lxe7E/HGMhCbp970vvgq1BQa/A3SR4/NzW3pXnCZJ0hgU0HV34rtucbG+RpxZvsP+QG3figf/ErUIpoSftU0nPN5UJHYPFCKQQQleYItGxDZ7GBroRx067fpduDuyQH8XlBZxxdviYg1Ax6egqpClQpiQRfSO0sa4VKlgwbHgQh1h9P9lhY9oNd49Cfi0vB+HEeNt3KWfp8SoSrV+vCm39CGI12C/JtbLiUW8tLgMFFspGJPGpN+ClS+rZiYsq6JNhK+gXotltJpNTetT85yJ/FMKOO0fNKC4IpHFl4CDdZGXAwk8uQoXYDCvn5Q+34/9Ojp5QgV8W0XVh3F9rHOpEMttGTexRvSyjKgnIN4tF5TDONDhUP9wO5Zw2FQsxgtk4M2GtE8gn0knMB4Zro99bfiKxPaM+b7mfp9ru8Jt/RxxrcTsf1q3SGuRwdOfXZ1NA/Dacnxqg91CFr1vv6dybmMoE98ZebNOy8m3yYJpMgkKN4n0Ohba+2eaQVptR0lv1dHlFkgBvSLJtbN9h82JGtYRk0juppPraD/j0MBXVUIunR5se88YckC7r4JRVxSdaKfY+dd+h2dLXhxUHVdlq4HTtleW7OSIdKK3YYZ5vyjM3QKBaR8OdgZYiSphkQQM1BzdtmhRSS4uoHltUOlrXkHAXtVp80hIrW7DUo/ixN49drq4LzJXSWlBVIUDU89GwIh4SuspNf95Tg2LkE792NmiQWCjxhNLf+9LVfCjIoBb9vC3TIeNOJABe5DNwI07FvSNNx20sYtTmvji9nHzHcCUrN2Kd6bwH4uPH5uuUVy5klWWGCJfMahna264girE/K/WEJUphCTcMQ4OFrtt8jUo4CGO6iI2CdP27j2AfIQb+kmMhkcjtQvIRkRtH4D4Fnv3zh3lQtKaEgTN5AHRc18Icpw/OPKxMOncnKCu3bmZPPtWGSWXBM3aph7TXItO5aQSgSWObNCYHhVkP/gGbEtHBLCym2052h1uyspCqNfvcjefLbM8osAj5D8H19Mto95+SHyzwFb+lpdoL9dsFhK9JsQ5W0Ze5ttJvdagS4Z6785AWh3Rz/emGRI18bc553JzsQBZOOb1XWeF+Jitxw1Rc5lSDP6m9Mw4f7hn9sPSZ+igRe2KMarQltw9MBDzG+S6rUQwvobmCd3my5fNcLuHZZpONz5flJyppY7rqHSq4l/yhWeeoaf9Mly1xJLGStR2LWrm/JTRc8ibkhH42Iy67GAPnaNshkeWp8/T4dO8m8fwIrGfjEJiA1llkUAcr55wAZC50dvv4vOnCOtKbgpq4H3hqiyHw6S2/+gOzLUdgEyhOh33cqHc2PmBddGtKkYc3g3OY7ugjDD908QFtWeTdfkGZD5QpMBGHz86kdtbdFEBsH3snJETLYwx/45ruW3cKCz5NV98EU4nKmpSuez3ZTuhmTHjxculMd7M+0aG/RJEUKebW63Tts4CZ5mRpbINN/Qwe6V1abVK1PYfVr25YOVEQGCxbiTIOGhyz5AxEnUS8z9h+Jq2JEC3Tniu/W9DCM6E4YbwVtleHAkEkWLyK+1os1ThK1uWQQ7s0dtg2gNVuYgK09pqbJvab+h2QYZ1Vb9EjI0/lbygYACYcm+BOaK5aNPRmlSgo6TKopsdanbH3lXxHODUCW7wlPI90lalepUMo6ub1H8O/CE9UHDIpd6GzxT7JjbwIXxO33DzZccWkEW6fSrTnQPU+IktdkPyNwNinpDnJjzZldKLOXETETGs4Gc3zACcaxKnpcL92T40r1PTJGDNnD9UQEpgrZY9wHE32qxOu7W9cenYOEQ+WCGQcFhN29qfQTbuIQiHAHxLe8B0OVPNwwySjNccnIIdnmQAsmcKkZy16wYkFYugm1yqPzXVFToF/PHk4MWcYdLCuxu/6tq9fBmqgnQ1u3nLNi2ud4uKXY6K6CxEQtPk9MMkrHgZO5gT2gNThD2qgFDPT0nWE497Li041+5T1PmOgOMomqkg/Xyep3ApjddTgeIXqrY3/RnAexBXgzMuiFVgTFxntibE8XtxMEX3PqaYyS0qaExI8GLoCwQ+beetoVOP1e9aZLu4uOboyDUMGnGzUdCv2KFYXpDch6omkXvR8bEQS+dcvGJKhNtCn6CqhaXN4VRoKvRn4Nokf++MTTnp2M1vXmOO+xh11vjv5Ux/nxh9M1xD4BgU3SmGPkUVJsEcmZNuB9qWEuksunRewdKuq1gnEVYtPBMuglsR09kcjO7poTVRM53TJmNEKK39tEmgEqLgcvcdaOAPpz0MdsqgMjJUwODo5XCj2vmJ0yFfIbM0JhqH9LSXlgNcnpN2ypK6a/8Wm3VxH4+p21nkafJKVDMI2N0gVIwsYWbgDaoooomnK7JSZadZmWrS3QG36O2tXA2N8P2NL319QRl5mCwaQW3KprSaHzJhjL/1qq9OeZVrzxNTl7Z502E0JHaGeg5bQhpU8LFgtF8uNz0Vw8wCid9TMY/DT9bdFEP/HV5UTMKW2qfeHpR6L9t6Yg+VMWVmysxlrsJjFLtcXrtoVJ0w9gEy5nyWOCj/99SqnCCcwpaCYEbBMuVnBbQRJE+oThsO+1SlT/ijnmFhvZ86HzQ/8KiD9iO/zwvJ8n3D/DFfC8KISiRwqcu2eUTNjw2lqUAfIspzjRZwQFEgIKzy+783w35qCzHHRhGfMGnMBDCe8LMBg+bJrsiicHJuJ3wqhmo/V3Ztd/T3dmYRc3qHqfFKSnf9WxF8afCh5+DXANsmagA+CAUkNHneHq+6FBvBdrE0ibh02A9O8zQyXUV2aPqO+EnxiOxs6/dOSPcxiBf7ztmErsKe0kijciaXoEVNqqdatpA1yvZp6Gsg1XUW2ah3i5iYaOZvo9PxlGxmxqhitaxC4VZ3B3owUGhmsV7AuuvvCH6izqx/WTeZ7zNU3K21JPqXT2rTFHTg9Jm7aYfEZCCGCGddtSzHcxPhYQOMSF2vEqSauQBh4LZ0hi8dNlNC1uInGcoIww8kK3kiPdYyPc7/ZLYFq1PUAz4gNOPKTVaURHCjfOio8fWG5k7lY/z1/p15T/WZpDCooPG8+eMr5bux+q+SfrdaQqxkOqk0R4LIGja8+mHr3Vg+ukIujBc0sSrta6aJ/GWrD42+OM4g+cFLQTXby0cq6ynDaKiK44hZ/QcpuXZfgvyuSvCCzponBMwOj7v59SCgWUywN38xrrCegLwjVAnrh2jcG7V2nbwxvU5vLBj3csQBE+X+/1dm1DpoWnbegRwPq1bOhFjFHl2NJI3Xd1W77aejAx3w7Tc10sFTm/r5uO/JlfVXpW4ME4isffuhszvGZRrt3XttGbpuyfZG3TOXHtoFn6FJOdJKi1vtl+MY7ctSzw4jGIp7bnvaswsdKq3pdKxpyGjAgNg+bdMhsqVJl2fvjQXVT6barc4AEYAiUu0ciMx9LCUjNGvVySVxhHPb16KrZ8M0jTV7fpKNFS4qi9eulPiqTg5NGfSlP97d6w+Q9pPLn7GhnpS0Q/k3iPoTe9WquySP2DCh4fbjqhmlY48ZINI1uhfpmQlsIRovx8DWe8v9U4JhScIdK2NhCHHR2TyQ/Flpfm3B8LJ+bYPGb6e5UukOCb+XcX2dvNZdXKWEIBohG1GY7dFbtjkaXJmq6xPgAAONqGH641K37Miyv33LBT/UawSU/2jNs9/cjqkAXcCkT0xWXRwOUYsFJ8eTLbeAOvPvTrOCtHC85f6QMFfPfdZEYIOf2ZXPr3f+eHsoRA07M/RUwB7wQMeuE1c1eANyCwGEgOH50+qrnCDNGm+BqMnlCYZJV+5Y+M+dA3uxUnVg/GCa0i3tQggpKKlCkRJMr0Ms1SfiCHoMXG9XaoQmzntdpUv11OvFj9gCB2ZKs1fRUQQtb/cEJ655IRDHWooco3gPCBf/ALDhSN/EmsagZBIivtQJpkJQqQ3W/y8lqSiu9vjiy6Py4A6SJ5N4fgHA4hiFTKz//yy1h3VsN/aAf9eFqn6wex3rDlbKChaGOOpe8Rdadx0Q6JVUJKZqEevzdAZ0cKAKl8JITUVPnfB0QMqIXJar1HMY/E2fuTx+X1JmP/0Jo7IytxPkA3ryJMJJfDXd6s2LKFFAIDYfF1uljUVlHNn99C417ETxSjmh3HXpzldFyC5cKJWs3ZCILf+eBTqqrp5oEWeFfi5Aete/HHJLL0fIn5nDHpD8cdZGjO6CFOLgCM8YAOYnld0wzrzr2L+7xFvJvy40ZmJJ1ezRG1kmQurzNIEZoTPyiCTsozUJk4atCUTv9ITnOXoEnAGAcCZFtGZW2lWZosNPj4sl/BqyJxC28oOi1Kw/Zcy1gD5rxQ0SAdd2QRWeGkeTwlW8Td2foAw3+MIY+AwgoUNQ1suNztgqoRbBvCXReaEOw6Y0Av8d8VaMvq0dJHxgHvNK20ybZPCUrJS4KIaYfnOpgjo8MiSADbml+eXMLH+HYd9btwH6KXlzhAXsyac4D2GGCw03gKQ2oskhfrdIUNNKeWLGRZprYEePmLlPaDCJhBvkGG4NbVPON/nfHlrFvkXG4iNNUCj69tNtUCu7eyE+82ImQMkyhc2cq8BQ0xHEXl1pj9tfPSYcGFwozVYLaIKhoFB5gpvR30Z3iXSXLvzyGXq/G30JBz5GRrbNAjvjSSNL1Tx5mpS2t7pjVpMHym8c4yRX7s6xxGJ8Ic1ODU3gIPgCTsV3Mkn8QhY2wYfjOScdLCAvpFw8U2SvUsJU6og0wVD6bICMuTufFIVZJVseXnv2ThEOGA/BPIszQ4twMcv8s8z+9Hdi4RygtJF+5cr2sGmFXSQjU0ROIzU8POC9s/ZuJPfdz3dXzmfAsnVZuxfGoxu6W6XMVh/v7ZjCuJAv2wvBMWIxw/MGwB3nnaKWgfg9jP2VhV1IAZbq61YxbfNv4WZQQ4YENpWhTaOzNGxqD/l2sz0MHORMosEoZSg35i7ApA1apTGgjMQFY9j027U5ssOUA6mok0RkoX8jT4uMRBDLAtQnIxhHC/kRkl6AsuEW55JzSfvBVv14vFkYn0zunLG1mu7ZX7F1cFY5RMlyHlpSJDeBh91u6Of0SzEsMJN6A8v9n7sT5Dwc71SvS6Rq988iLays1TIp7xkmEEVwR/M0DxHtUIUIWankOoiFddBlJjwb8P68TpTVSZNrL5lQVJaHhLsSY8lft+X9yRQMb94kIwlgdLg7cJVhr3KL6GzstxdY0e4m8jHIihSPVM6xfQZxX1uY6r8r4AXura8ouVo8Qv1mmvOsQsfrFq7kr39T5Qi7OTTfzwBRqQOfVros3gXhN0F40e8ST6d1yddJqQvJeb8JRKNNHGJmjNKPPzcDZoPXZ/6sKbpaBBnRHuid033wKBu9hkyJ7+f4MaBtgmx+ysiLlZxLla8VWZSMKV27VG66kYnKYCIcYGTQ1p7yF1rsCsb9BBxz3Kb9nfGsOUXSuoBaHvRTIzSLdSL3lofnBVDQmy9wxK4ofNNwI1bAem5BNEgnAAU694npP525TVU+ZVSuDIInkIzEyv7xWKcyyeQ1LljOqYbfSLsP3O9CnHYZSzHQjxowPuv0+LM5J0yH5cCnlTqVp9gwOK4JlmikweIT1WUJJd4ZCnQd1gq6fNwRmknz4RiyhwfnhhXXtCdThG/o7j5e7LXUM6N3OfmZ9sJvS11K6/K5EWRfZEpED7hvYh3l1HxQ4SR2i8PN6GCqCASRV0XlEC7trVtxqiAL8tF9+MZiLxXzYHEhijKjO7bKiW3CP6V3ca7DcVW7Xxf/4JM9qwMw41h1e5zwHcnErjHlC546R8jjCktYXT19uoLl1ab1fPL0fr33di4o1c6syrPOcVtIsiVvTElP2DzYbPrvE05Yjcjbpl2wJRww3w0YRPRHxPjeqENEUB3oV3rRc2tdbqL10Hei5ECqrrVTUdJIVZgPWg38hEMiC/jB+1ueYkngCAKIHYO1/xD1amVE7p69YlWFDFZ27EwXufCFLSfOBWWLNR8IGR4mqRW6CAjQRDWllM/B8ncVuxBUhtX6BgTJkuDWIp5D4ae4gpkLodLnUQiE/jPKUielOXx7CqalafHXXiu/7uPZB67IrnAK8SKh+OSp42dYvlQwXgdsocNCKMUvHQGFDBlHdi5Tj/VLB/YaWulKzNIfD/EePbokmHsuw/C5+yW2ui/5o73JWryr1sqeWji3HESjFfEaYjBlZU7fS7dXOWWJUwY3IHuls10jrwIKKiQtcFOqbhhW1PQNZITl6Jw8Hmw0KhHTabVU3wZ+LGj/ZyG4yEJMmnQKhwKvbiz4PKGg1wDT/BPSjrBXVQa0avQvnp3QCsNmsfDkqlVtjnpKDhEDJS29dMsi+3bxBD5o+YIDSni1CceiIIlQ6+c7GALFnL/rrGtAvDFRWonGcKVS7EDtj1FAJTTcNZ44v1x4bwbiC+3pS/cHJT3zlVXIGfcaB/QB6QdMNjtpogP2htLIEJoVFMcEJXfQz2f3VfJLuUYkNIcrpKX+C0lb4e8GBEuOb/s05SdJTLuQMKRkXNyp4gO64RC/KOpaghrbhuyzr9/34m1462zqutolQzAqm/Zgbu6v1/HdArTSBZDhgBlu03MgUzeewpHsfJFw7YkPfLesC0YhflYcXSOboN2EvzfVWr18GGe/JoMSVCSsmh/NBS89WpGB5UHh4Y3a8NjSQIRoO4qY4NtlEAw5NkvgN2nYUkx36U1/FKsxWmvjK5wEvINSXXA+YLm4IQoRJyC7us7KWWiF0coFDJQ/K1wBhxFX8Y0dxvFQFyccHMsafzrEGcb6043cglekcLaE+lKQH/t9/5u3hECLSMYXoOyAzHD/9IDlmf+xeoGQw6ES9QG0tdIsEz9G2ETlXXCsLSP13TYEchAoTwye1GMMFmX4tEmum1yPkPzYwwZKyKTxknk8hU5zz4DswCXYINPDfvi3xTFeYRJa0qDV8Lwc7DnQ0ydxm9kqrT+H37oWmXxikwNSnvc1q/aZa0dXa7RYJHuaD1B3rmLq/kgPyxwYfG8703mcT6OHf5uO3Cu4Qi9NckN+JcgUnvRnOdNv+ayHVFMbO4/nnc41Z/bsxOWraFIQNrHFRVxeP5ztLC62ck2CYNtRfUhVYU1PZRG8lfvrA8uw/PuJ7O5yHqm51VFV7pETl+9iKAm+dTcw1wA/tZbiw2G2Ppt33ZSiYzrO2PB/RGoGc4TGiUXcyH0+atPrrYssMjj9fDOd0/Bi2Ljln2UFZVaAe1jDVYhiSloGewo4/x8fmllUJq/ztbSTloriEt5mHWFpdiJ5GUJl+JzmzvUT5cYej5BjHVMoGtW+yEP2SlqGzLUBbeAuSgHSLE1MHGSxWDOiu01vb84XKLZ9IT2h1JzgJu47xbwpfHZa4HMTcbaXqFKhiPj5Rb7DDj/0fW7NauzRZ2buUMtbkr0x5JvZYjQci2mXqtKtWWGgBcj+glugoZJebvDr9ZFY5GmewHiGcf6vvW+a86V/NY2oohiJufJqBwH+N8hsyLr0KS6vOQkzpS4d8CArSNHp12F2pzi90poSuA+oWPfMwpl8hiKSeb8aSfBndcXtCv+BO6I+wgnciLoOB/nMKTjy0GoMPCuQRTm8oXKckBHir4wzypFKwiBkzWIulqduyoTbEmq57Xn1agcLaD9jy6tQyKOc0RhlxvomIgIpvC3GFaoQPjgw9ePA28Sif4qcv6ncjiUstx2A0Ew3Px5GIn5uvWJk1rPW4NeFndAbaSptBs1bL7+v113eJt3z/2+GusYMz4ml+UDE99IlxgM5DrRwsQ71fOUHPxb8QAUXosc6EdxrbCG1sniuLgu0Nz+Yl5XNZjtpEWXj07Bj5djzdI9o9l1lQ2JnpCthhhUPXDLIbTK0ukmPAIvEDcnbopTJkn1/Yd1XHT2QlYwM8PRYZrYPyXE/MApyiP+mkSwmm8x43DhXsQd/2KD0eAyZUeHPUosQNv9T9RAngroPoNVU1hi2e9l0Aawl1fgAqsBXJeOgPtEKtGllxZuKLwSpEOGmND45cH+cVva6uV6YHg5K8BKirJqRjapzvG88Xe5hCnsf3GKslF+xXHTuslsz8vpjoWRoiNAly0/Rgru9ZcTJWTFkuxYfgzqmDVZZN7h0jOWu8mRUYlPCm6o/0i4TR7xEYYONGVDWipgL0e5n60FVY0RTNiJQ+ODUVJhtkhWSth1ZWozAe+vb+eaPJoX9lU3WOPjs0qIZ/pHMlo5iW5cQwOuSSPm7hDOgMTBOGYE0JpHRLCk8Xe8ouA6GJ7uKjRbIs+HBVCVr2YhemwNHDm1RYX73/rQ2DSGwY9gQukoOIg1Y/2fDMdFL/OnekLwLirss+iLWDJ+IEEXcifG+BkkPvmk40XkAFDr2dSOKLRYVoMoRtDewm5wQqOF9hBBbd984gsPMMGifGdtdzPrBlzsDrRhq6ls097j7TbND/FDHm2P5/p3HHi2X1j2fUl+mN0FeE4aAWniMcPfciJCyYINxsR5p4kryd3RxSWGjtfvjLFQcwqnFUExJBxmRygxpuIxpn/Hk089yIayTgPD+Q/Zkhud9HbuEJgPsD7Dw38Kqe1/vySsYEpysmx8vbfjBtGYRLrcNOfpFnSb0BCDjWizKaSlYBOaKKyop6S2raPxuuHTumuj1VqdlLrP9SQGjMm/WlH7arpwHIG80dXY/hJgsiW1JweNvliRohjn7I7/JrU2OQ0gHdNZtx0z3UJfSUSxHFq9au/iNW5ccucCf305/oOxo+m+49h7lpMzlUKXMqHPEbHBMcjMXKJI21qRnMf4yKj2Vpay3CuRbe/DCTA1yMCW28MPlrsrimTBod5uyj7KgFtq+XmU8CBw4SKRuQWQOMn+h58722bhbpJHO3nANO5Skcp8p7icr28vZf6Q4QOOR234Fdp+EwePdolgQdn3I+SfKyRwTu7me8hrsKNMXxQUOsTkrhBTFevKj2PNqhQpSBe+V1ndFs0EifcfB+CxA7KIZmrB0UHkDyR99WDg2AyWog0iFeDBEBPGRZ6g46t2LqIqc13xiOSnB8F0krWU8A3HRLDDx90qNcucXlcumM2/iYA2cxN//A0mciuCWTsGh6vClXPfEAYSoaN18HCK2f/cuZ2P39PLqtGzuW9FugN2F4+hruWFEt1SLt0/W8uhHc1MwSi+dAvqMRpBAKKauTCHEBWrDd43zoPBmeGObBedN3+uHhVFEMZlQfM/b1TCSlDd4Fwzh0yd/kaIjJwQs9dI9Vz3PFZzuEC4ftR2SlHSieQknLgP8PnYwBX52MiWVglJm8lfjxcsp56sPvYNmUy5qazMW/03XJvneDS+UUYvItmq8rI6C5/9/JatPW4LOR2xJXHihPZy99n58IJv2HsaO+AcRn196OnasaB+wL6qRP1u6gqhJI1cYWUivPoygyfBRsY6vgCuYwxCtugTJT4GRhfRlAseKo5/NUAutfnL9PVCRLusndixl2DhjU2Z9WKW4Il5Y37yCOrmwQCGxz/uic7rO3YcREE+lsw=" title="Mekko Graphics Chart">
            <a:extLst>
              <a:ext uri="{FF2B5EF4-FFF2-40B4-BE49-F238E27FC236}">
                <a16:creationId xmlns:a16="http://schemas.microsoft.com/office/drawing/2014/main" id="{0DEFCA8B-4319-DD76-9F24-E4F917857D12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 bwMode="gray">
          <a:xfrm>
            <a:off x="330199" y="2063236"/>
            <a:ext cx="5495529" cy="4610248"/>
          </a:xfrm>
          <a:prstGeom prst="rect">
            <a:avLst/>
          </a:prstGeom>
          <a:blipFill>
            <a:blip r:embed="rId15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58" name="btfpColumnIndicatorGroup2">
            <a:extLst>
              <a:ext uri="{FF2B5EF4-FFF2-40B4-BE49-F238E27FC236}">
                <a16:creationId xmlns:a16="http://schemas.microsoft.com/office/drawing/2014/main" id="{F7A6B154-FCF7-1985-8DDD-76DBDE6389B8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55" name="btfpColumnGapBlocker411314">
              <a:extLst>
                <a:ext uri="{FF2B5EF4-FFF2-40B4-BE49-F238E27FC236}">
                  <a16:creationId xmlns:a16="http://schemas.microsoft.com/office/drawing/2014/main" id="{C353C700-6A46-E767-BB87-70DBC2C396A9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52" name="btfpColumnGapBlocker878817">
              <a:extLst>
                <a:ext uri="{FF2B5EF4-FFF2-40B4-BE49-F238E27FC236}">
                  <a16:creationId xmlns:a16="http://schemas.microsoft.com/office/drawing/2014/main" id="{162F2DE0-DE0F-BC29-C8FB-C6F4AC60E0D3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8" name="btfpColumnIndicator588845">
              <a:extLst>
                <a:ext uri="{FF2B5EF4-FFF2-40B4-BE49-F238E27FC236}">
                  <a16:creationId xmlns:a16="http://schemas.microsoft.com/office/drawing/2014/main" id="{79E5BE48-23BB-5276-CEA8-4B6010B98F77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btfpColumnIndicator863961">
              <a:extLst>
                <a:ext uri="{FF2B5EF4-FFF2-40B4-BE49-F238E27FC236}">
                  <a16:creationId xmlns:a16="http://schemas.microsoft.com/office/drawing/2014/main" id="{194FF4EB-ED18-D49C-E92C-12B417FCD859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btfpColumnGapBlocker476859">
              <a:extLst>
                <a:ext uri="{FF2B5EF4-FFF2-40B4-BE49-F238E27FC236}">
                  <a16:creationId xmlns:a16="http://schemas.microsoft.com/office/drawing/2014/main" id="{2089FD19-E9C1-8D3B-793A-1A47C67ED0BE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6" name="btfpColumnIndicator861267">
              <a:extLst>
                <a:ext uri="{FF2B5EF4-FFF2-40B4-BE49-F238E27FC236}">
                  <a16:creationId xmlns:a16="http://schemas.microsoft.com/office/drawing/2014/main" id="{3F158D25-4C89-4D07-BC9B-61FA9B197BF6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btfpColumnIndicator659626">
              <a:extLst>
                <a:ext uri="{FF2B5EF4-FFF2-40B4-BE49-F238E27FC236}">
                  <a16:creationId xmlns:a16="http://schemas.microsoft.com/office/drawing/2014/main" id="{012B9AAE-9ADE-AB5F-FA71-1D068EFE0E0C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7" name="btfpColumnIndicatorGroup1">
            <a:extLst>
              <a:ext uri="{FF2B5EF4-FFF2-40B4-BE49-F238E27FC236}">
                <a16:creationId xmlns:a16="http://schemas.microsoft.com/office/drawing/2014/main" id="{7376E636-7A24-FBC2-A76F-3B3AD3C0BEB7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53" name="btfpColumnGapBlocker415092">
              <a:extLst>
                <a:ext uri="{FF2B5EF4-FFF2-40B4-BE49-F238E27FC236}">
                  <a16:creationId xmlns:a16="http://schemas.microsoft.com/office/drawing/2014/main" id="{2C96D541-C230-87F7-2488-3F7D68A26F6F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9" name="btfpColumnGapBlocker413163">
              <a:extLst>
                <a:ext uri="{FF2B5EF4-FFF2-40B4-BE49-F238E27FC236}">
                  <a16:creationId xmlns:a16="http://schemas.microsoft.com/office/drawing/2014/main" id="{3A907F70-5544-953E-D1C7-E46FA42DE5C9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7" name="btfpColumnIndicator959026">
              <a:extLst>
                <a:ext uri="{FF2B5EF4-FFF2-40B4-BE49-F238E27FC236}">
                  <a16:creationId xmlns:a16="http://schemas.microsoft.com/office/drawing/2014/main" id="{A32CC101-7A85-82CE-E98B-EA02794ED7E4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btfpColumnIndicator307056">
              <a:extLst>
                <a:ext uri="{FF2B5EF4-FFF2-40B4-BE49-F238E27FC236}">
                  <a16:creationId xmlns:a16="http://schemas.microsoft.com/office/drawing/2014/main" id="{515B2D60-ACF2-2E44-D145-3891BBA4BE9D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btfpColumnGapBlocker244190">
              <a:extLst>
                <a:ext uri="{FF2B5EF4-FFF2-40B4-BE49-F238E27FC236}">
                  <a16:creationId xmlns:a16="http://schemas.microsoft.com/office/drawing/2014/main" id="{39A21345-5D0E-53FA-DBD1-B42ED12F271D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5" name="btfpColumnIndicator733777">
              <a:extLst>
                <a:ext uri="{FF2B5EF4-FFF2-40B4-BE49-F238E27FC236}">
                  <a16:creationId xmlns:a16="http://schemas.microsoft.com/office/drawing/2014/main" id="{9EED6698-0F3D-A071-ACC1-5309D696C6F2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405154">
              <a:extLst>
                <a:ext uri="{FF2B5EF4-FFF2-40B4-BE49-F238E27FC236}">
                  <a16:creationId xmlns:a16="http://schemas.microsoft.com/office/drawing/2014/main" id="{2DB2C957-140D-5C57-33F4-0980AAE77150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48D2693D-A1AC-9936-8EF7-AE4E45E24EC9}"/>
              </a:ext>
            </a:extLst>
          </p:cNvPr>
          <p:cNvSpPr/>
          <p:nvPr/>
        </p:nvSpPr>
        <p:spPr bwMode="gray">
          <a:xfrm>
            <a:off x="330199" y="2031493"/>
            <a:ext cx="11522075" cy="2570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 i="1">
                <a:solidFill>
                  <a:srgbClr val="000000"/>
                </a:solidFill>
              </a:rPr>
              <a:t>Q:</a:t>
            </a:r>
            <a:r>
              <a:rPr lang="en-US" sz="1000" i="1">
                <a:solidFill>
                  <a:srgbClr val="000000"/>
                </a:solidFill>
              </a:rPr>
              <a:t> On a scale from 0 to 10, where 0 means “not at all likely” and 10 means “extremely likely”, how </a:t>
            </a:r>
            <a:r>
              <a:rPr lang="en-US" sz="1000" b="1" i="1">
                <a:solidFill>
                  <a:srgbClr val="000000"/>
                </a:solidFill>
              </a:rPr>
              <a:t>likely are you to recommend</a:t>
            </a:r>
            <a:r>
              <a:rPr lang="en-US" sz="1000" i="1">
                <a:solidFill>
                  <a:srgbClr val="000000"/>
                </a:solidFill>
              </a:rPr>
              <a:t> &lt;primary business management software vendor&gt; to a friend or colleague?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D6E69B0-DA32-C117-AEEC-6EAA0B8085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 dirty="0"/>
              <a:t>Customer advocacy – by geography |</a:t>
            </a:r>
            <a:r>
              <a:rPr lang="en-US" dirty="0"/>
              <a:t> Across US &amp; Europe, customer advocacy is high; Target NPS in line with US competitors, slightly lower in Europe &amp; APAC</a:t>
            </a:r>
          </a:p>
        </p:txBody>
      </p:sp>
      <p:grpSp>
        <p:nvGrpSpPr>
          <p:cNvPr id="16" name="btfpStatusSticker577716">
            <a:extLst>
              <a:ext uri="{FF2B5EF4-FFF2-40B4-BE49-F238E27FC236}">
                <a16:creationId xmlns:a16="http://schemas.microsoft.com/office/drawing/2014/main" id="{3F2556E8-C77C-4F48-8D01-D768997CEA4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0100356" y="955344"/>
            <a:ext cx="1761444" cy="235611"/>
            <a:chOff x="-1630959" y="876300"/>
            <a:chExt cx="1761444" cy="235611"/>
          </a:xfrm>
        </p:grpSpPr>
        <p:sp>
          <p:nvSpPr>
            <p:cNvPr id="17" name="btfpStatusStickerText577716">
              <a:extLst>
                <a:ext uri="{FF2B5EF4-FFF2-40B4-BE49-F238E27FC236}">
                  <a16:creationId xmlns:a16="http://schemas.microsoft.com/office/drawing/2014/main" id="{6DCF6EAC-A501-F625-4B8A-6F7D4932B5DB}"/>
                </a:ext>
              </a:extLst>
            </p:cNvPr>
            <p:cNvSpPr txBox="1"/>
            <p:nvPr/>
          </p:nvSpPr>
          <p:spPr bwMode="gray">
            <a:xfrm>
              <a:off x="-1630959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Preliminary</a:t>
              </a:r>
            </a:p>
          </p:txBody>
        </p:sp>
        <p:cxnSp>
          <p:nvCxnSpPr>
            <p:cNvPr id="18" name="btfpStatusStickerLine577716">
              <a:extLst>
                <a:ext uri="{FF2B5EF4-FFF2-40B4-BE49-F238E27FC236}">
                  <a16:creationId xmlns:a16="http://schemas.microsoft.com/office/drawing/2014/main" id="{3E54FA1C-F75F-9318-D0BD-673CDA6FCD1D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630959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btfpNotesBox491930">
            <a:extLst>
              <a:ext uri="{FF2B5EF4-FFF2-40B4-BE49-F238E27FC236}">
                <a16:creationId xmlns:a16="http://schemas.microsoft.com/office/drawing/2014/main" id="{17876E79-6D2C-FBCA-0CE4-029D60AF1C11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Note: Excluded bar for ‘others’ | Source: xxx questionnaire (N= 425)</a:t>
            </a:r>
          </a:p>
        </p:txBody>
      </p:sp>
      <p:grpSp>
        <p:nvGrpSpPr>
          <p:cNvPr id="61" name="btfpRunningAgenda1Level149777">
            <a:extLst>
              <a:ext uri="{FF2B5EF4-FFF2-40B4-BE49-F238E27FC236}">
                <a16:creationId xmlns:a16="http://schemas.microsoft.com/office/drawing/2014/main" id="{86CB484F-680D-0524-1CD5-74A9064C4C17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0" y="944429"/>
            <a:ext cx="3556835" cy="257442"/>
            <a:chOff x="0" y="876300"/>
            <a:chExt cx="3556835" cy="257442"/>
          </a:xfrm>
        </p:grpSpPr>
        <p:sp>
          <p:nvSpPr>
            <p:cNvPr id="59" name="btfpRunningAgenda1LevelBarLeft149777">
              <a:extLst>
                <a:ext uri="{FF2B5EF4-FFF2-40B4-BE49-F238E27FC236}">
                  <a16:creationId xmlns:a16="http://schemas.microsoft.com/office/drawing/2014/main" id="{CA55C321-0F80-B58E-9393-7214E487E1E4}"/>
                </a:ext>
              </a:extLst>
            </p:cNvPr>
            <p:cNvSpPr/>
            <p:nvPr/>
          </p:nvSpPr>
          <p:spPr bwMode="gray">
            <a:xfrm>
              <a:off x="0" y="876300"/>
              <a:ext cx="3556835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9116 w 1119116"/>
                <a:gd name="connsiteY0" fmla="*/ 0 h 257442"/>
                <a:gd name="connsiteX1" fmla="*/ 896080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279416 w 1279416"/>
                <a:gd name="connsiteY0" fmla="*/ 0 h 257442"/>
                <a:gd name="connsiteX1" fmla="*/ 10643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606878 w 1606878"/>
                <a:gd name="connsiteY0" fmla="*/ 0 h 257442"/>
                <a:gd name="connsiteX1" fmla="*/ 1224695 w 1606878"/>
                <a:gd name="connsiteY1" fmla="*/ 257442 h 257442"/>
                <a:gd name="connsiteX2" fmla="*/ 0 w 1606878"/>
                <a:gd name="connsiteY2" fmla="*/ 257442 h 257442"/>
                <a:gd name="connsiteX3" fmla="*/ 0 w 1606878"/>
                <a:gd name="connsiteY3" fmla="*/ 0 h 257442"/>
                <a:gd name="connsiteX0" fmla="*/ 1606878 w 1606878"/>
                <a:gd name="connsiteY0" fmla="*/ 0 h 257442"/>
                <a:gd name="connsiteX1" fmla="*/ 1552157 w 1606878"/>
                <a:gd name="connsiteY1" fmla="*/ 257442 h 257442"/>
                <a:gd name="connsiteX2" fmla="*/ 0 w 1606878"/>
                <a:gd name="connsiteY2" fmla="*/ 257442 h 257442"/>
                <a:gd name="connsiteX3" fmla="*/ 0 w 1606878"/>
                <a:gd name="connsiteY3" fmla="*/ 0 h 257442"/>
                <a:gd name="connsiteX0" fmla="*/ 1606878 w 1606878"/>
                <a:gd name="connsiteY0" fmla="*/ 0 h 257442"/>
                <a:gd name="connsiteX1" fmla="*/ 1552157 w 1606878"/>
                <a:gd name="connsiteY1" fmla="*/ 257442 h 257442"/>
                <a:gd name="connsiteX2" fmla="*/ 0 w 1606878"/>
                <a:gd name="connsiteY2" fmla="*/ 257442 h 257442"/>
                <a:gd name="connsiteX3" fmla="*/ 0 w 1606878"/>
                <a:gd name="connsiteY3" fmla="*/ 0 h 257442"/>
                <a:gd name="connsiteX0" fmla="*/ 1606878 w 1606878"/>
                <a:gd name="connsiteY0" fmla="*/ 0 h 257442"/>
                <a:gd name="connsiteX1" fmla="*/ 1552157 w 1606878"/>
                <a:gd name="connsiteY1" fmla="*/ 257442 h 257442"/>
                <a:gd name="connsiteX2" fmla="*/ 0 w 1606878"/>
                <a:gd name="connsiteY2" fmla="*/ 257442 h 257442"/>
                <a:gd name="connsiteX3" fmla="*/ 0 w 1606878"/>
                <a:gd name="connsiteY3" fmla="*/ 0 h 257442"/>
                <a:gd name="connsiteX0" fmla="*/ 1767178 w 1767178"/>
                <a:gd name="connsiteY0" fmla="*/ 0 h 257442"/>
                <a:gd name="connsiteX1" fmla="*/ 1552157 w 1767178"/>
                <a:gd name="connsiteY1" fmla="*/ 257442 h 257442"/>
                <a:gd name="connsiteX2" fmla="*/ 0 w 1767178"/>
                <a:gd name="connsiteY2" fmla="*/ 257442 h 257442"/>
                <a:gd name="connsiteX3" fmla="*/ 0 w 1767178"/>
                <a:gd name="connsiteY3" fmla="*/ 0 h 257442"/>
                <a:gd name="connsiteX0" fmla="*/ 1767178 w 1767178"/>
                <a:gd name="connsiteY0" fmla="*/ 0 h 257442"/>
                <a:gd name="connsiteX1" fmla="*/ 1712457 w 1767178"/>
                <a:gd name="connsiteY1" fmla="*/ 257442 h 257442"/>
                <a:gd name="connsiteX2" fmla="*/ 0 w 1767178"/>
                <a:gd name="connsiteY2" fmla="*/ 257442 h 257442"/>
                <a:gd name="connsiteX3" fmla="*/ 0 w 1767178"/>
                <a:gd name="connsiteY3" fmla="*/ 0 h 257442"/>
                <a:gd name="connsiteX0" fmla="*/ 1767178 w 1767178"/>
                <a:gd name="connsiteY0" fmla="*/ 0 h 257442"/>
                <a:gd name="connsiteX1" fmla="*/ 1712457 w 1767178"/>
                <a:gd name="connsiteY1" fmla="*/ 257442 h 257442"/>
                <a:gd name="connsiteX2" fmla="*/ 0 w 1767178"/>
                <a:gd name="connsiteY2" fmla="*/ 257442 h 257442"/>
                <a:gd name="connsiteX3" fmla="*/ 0 w 1767178"/>
                <a:gd name="connsiteY3" fmla="*/ 0 h 257442"/>
                <a:gd name="connsiteX0" fmla="*/ 1767178 w 1767178"/>
                <a:gd name="connsiteY0" fmla="*/ 0 h 257442"/>
                <a:gd name="connsiteX1" fmla="*/ 1712457 w 1767178"/>
                <a:gd name="connsiteY1" fmla="*/ 257442 h 257442"/>
                <a:gd name="connsiteX2" fmla="*/ 0 w 1767178"/>
                <a:gd name="connsiteY2" fmla="*/ 257442 h 257442"/>
                <a:gd name="connsiteX3" fmla="*/ 0 w 1767178"/>
                <a:gd name="connsiteY3" fmla="*/ 0 h 257442"/>
                <a:gd name="connsiteX0" fmla="*/ 1953127 w 1953127"/>
                <a:gd name="connsiteY0" fmla="*/ 0 h 257442"/>
                <a:gd name="connsiteX1" fmla="*/ 1712457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1953127 w 1953127"/>
                <a:gd name="connsiteY0" fmla="*/ 0 h 257442"/>
                <a:gd name="connsiteX1" fmla="*/ 18984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1953127 w 1953127"/>
                <a:gd name="connsiteY0" fmla="*/ 0 h 257442"/>
                <a:gd name="connsiteX1" fmla="*/ 18984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1953127 w 1953127"/>
                <a:gd name="connsiteY0" fmla="*/ 0 h 257442"/>
                <a:gd name="connsiteX1" fmla="*/ 18984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2121442 w 2121442"/>
                <a:gd name="connsiteY0" fmla="*/ 0 h 257442"/>
                <a:gd name="connsiteX1" fmla="*/ 1898406 w 2121442"/>
                <a:gd name="connsiteY1" fmla="*/ 257442 h 257442"/>
                <a:gd name="connsiteX2" fmla="*/ 0 w 2121442"/>
                <a:gd name="connsiteY2" fmla="*/ 257442 h 257442"/>
                <a:gd name="connsiteX3" fmla="*/ 0 w 2121442"/>
                <a:gd name="connsiteY3" fmla="*/ 0 h 257442"/>
                <a:gd name="connsiteX0" fmla="*/ 2121442 w 2121442"/>
                <a:gd name="connsiteY0" fmla="*/ 0 h 257442"/>
                <a:gd name="connsiteX1" fmla="*/ 2066720 w 2121442"/>
                <a:gd name="connsiteY1" fmla="*/ 257442 h 257442"/>
                <a:gd name="connsiteX2" fmla="*/ 0 w 2121442"/>
                <a:gd name="connsiteY2" fmla="*/ 257442 h 257442"/>
                <a:gd name="connsiteX3" fmla="*/ 0 w 2121442"/>
                <a:gd name="connsiteY3" fmla="*/ 0 h 257442"/>
                <a:gd name="connsiteX0" fmla="*/ 2121443 w 2121443"/>
                <a:gd name="connsiteY0" fmla="*/ 0 h 257442"/>
                <a:gd name="connsiteX1" fmla="*/ 2066721 w 2121443"/>
                <a:gd name="connsiteY1" fmla="*/ 257442 h 257442"/>
                <a:gd name="connsiteX2" fmla="*/ 0 w 2121443"/>
                <a:gd name="connsiteY2" fmla="*/ 257442 h 257442"/>
                <a:gd name="connsiteX3" fmla="*/ 1 w 2121443"/>
                <a:gd name="connsiteY3" fmla="*/ 0 h 257442"/>
                <a:gd name="connsiteX0" fmla="*/ 2121443 w 2121443"/>
                <a:gd name="connsiteY0" fmla="*/ 0 h 257442"/>
                <a:gd name="connsiteX1" fmla="*/ 2066721 w 2121443"/>
                <a:gd name="connsiteY1" fmla="*/ 257442 h 257442"/>
                <a:gd name="connsiteX2" fmla="*/ 0 w 2121443"/>
                <a:gd name="connsiteY2" fmla="*/ 257442 h 257442"/>
                <a:gd name="connsiteX3" fmla="*/ 1 w 2121443"/>
                <a:gd name="connsiteY3" fmla="*/ 0 h 257442"/>
                <a:gd name="connsiteX0" fmla="*/ 2385041 w 2385041"/>
                <a:gd name="connsiteY0" fmla="*/ 0 h 257442"/>
                <a:gd name="connsiteX1" fmla="*/ 2066721 w 2385041"/>
                <a:gd name="connsiteY1" fmla="*/ 257442 h 257442"/>
                <a:gd name="connsiteX2" fmla="*/ 0 w 2385041"/>
                <a:gd name="connsiteY2" fmla="*/ 257442 h 257442"/>
                <a:gd name="connsiteX3" fmla="*/ 1 w 2385041"/>
                <a:gd name="connsiteY3" fmla="*/ 0 h 257442"/>
                <a:gd name="connsiteX0" fmla="*/ 2385041 w 2385041"/>
                <a:gd name="connsiteY0" fmla="*/ 0 h 257442"/>
                <a:gd name="connsiteX1" fmla="*/ 2330320 w 2385041"/>
                <a:gd name="connsiteY1" fmla="*/ 257442 h 257442"/>
                <a:gd name="connsiteX2" fmla="*/ 0 w 2385041"/>
                <a:gd name="connsiteY2" fmla="*/ 257442 h 257442"/>
                <a:gd name="connsiteX3" fmla="*/ 1 w 2385041"/>
                <a:gd name="connsiteY3" fmla="*/ 0 h 257442"/>
                <a:gd name="connsiteX0" fmla="*/ 2385040 w 2385040"/>
                <a:gd name="connsiteY0" fmla="*/ 0 h 257442"/>
                <a:gd name="connsiteX1" fmla="*/ 2330319 w 2385040"/>
                <a:gd name="connsiteY1" fmla="*/ 257442 h 257442"/>
                <a:gd name="connsiteX2" fmla="*/ 0 w 2385040"/>
                <a:gd name="connsiteY2" fmla="*/ 257442 h 257442"/>
                <a:gd name="connsiteX3" fmla="*/ 0 w 2385040"/>
                <a:gd name="connsiteY3" fmla="*/ 0 h 257442"/>
                <a:gd name="connsiteX0" fmla="*/ 2385041 w 2385041"/>
                <a:gd name="connsiteY0" fmla="*/ 0 h 257442"/>
                <a:gd name="connsiteX1" fmla="*/ 2330320 w 2385041"/>
                <a:gd name="connsiteY1" fmla="*/ 257442 h 257442"/>
                <a:gd name="connsiteX2" fmla="*/ 1 w 2385041"/>
                <a:gd name="connsiteY2" fmla="*/ 257442 h 257442"/>
                <a:gd name="connsiteX3" fmla="*/ 0 w 2385041"/>
                <a:gd name="connsiteY3" fmla="*/ 0 h 257442"/>
                <a:gd name="connsiteX0" fmla="*/ 2222432 w 2330320"/>
                <a:gd name="connsiteY0" fmla="*/ 0 h 257442"/>
                <a:gd name="connsiteX1" fmla="*/ 2330320 w 2330320"/>
                <a:gd name="connsiteY1" fmla="*/ 257442 h 257442"/>
                <a:gd name="connsiteX2" fmla="*/ 1 w 2330320"/>
                <a:gd name="connsiteY2" fmla="*/ 257442 h 257442"/>
                <a:gd name="connsiteX3" fmla="*/ 0 w 2330320"/>
                <a:gd name="connsiteY3" fmla="*/ 0 h 257442"/>
                <a:gd name="connsiteX0" fmla="*/ 2222432 w 2222432"/>
                <a:gd name="connsiteY0" fmla="*/ 0 h 257442"/>
                <a:gd name="connsiteX1" fmla="*/ 2167711 w 2222432"/>
                <a:gd name="connsiteY1" fmla="*/ 257442 h 257442"/>
                <a:gd name="connsiteX2" fmla="*/ 1 w 2222432"/>
                <a:gd name="connsiteY2" fmla="*/ 257442 h 257442"/>
                <a:gd name="connsiteX3" fmla="*/ 0 w 2222432"/>
                <a:gd name="connsiteY3" fmla="*/ 0 h 257442"/>
                <a:gd name="connsiteX0" fmla="*/ 2222432 w 2222432"/>
                <a:gd name="connsiteY0" fmla="*/ 0 h 257442"/>
                <a:gd name="connsiteX1" fmla="*/ 2167711 w 2222432"/>
                <a:gd name="connsiteY1" fmla="*/ 257442 h 257442"/>
                <a:gd name="connsiteX2" fmla="*/ 1 w 2222432"/>
                <a:gd name="connsiteY2" fmla="*/ 257442 h 257442"/>
                <a:gd name="connsiteX3" fmla="*/ 0 w 2222432"/>
                <a:gd name="connsiteY3" fmla="*/ 0 h 257442"/>
                <a:gd name="connsiteX0" fmla="*/ 2222431 w 2222431"/>
                <a:gd name="connsiteY0" fmla="*/ 0 h 257442"/>
                <a:gd name="connsiteX1" fmla="*/ 2167710 w 2222431"/>
                <a:gd name="connsiteY1" fmla="*/ 257442 h 257442"/>
                <a:gd name="connsiteX2" fmla="*/ 0 w 2222431"/>
                <a:gd name="connsiteY2" fmla="*/ 257442 h 257442"/>
                <a:gd name="connsiteX3" fmla="*/ 0 w 2222431"/>
                <a:gd name="connsiteY3" fmla="*/ 0 h 257442"/>
                <a:gd name="connsiteX0" fmla="*/ 2121442 w 2167710"/>
                <a:gd name="connsiteY0" fmla="*/ 0 h 257442"/>
                <a:gd name="connsiteX1" fmla="*/ 2167710 w 2167710"/>
                <a:gd name="connsiteY1" fmla="*/ 257442 h 257442"/>
                <a:gd name="connsiteX2" fmla="*/ 0 w 2167710"/>
                <a:gd name="connsiteY2" fmla="*/ 257442 h 257442"/>
                <a:gd name="connsiteX3" fmla="*/ 0 w 2167710"/>
                <a:gd name="connsiteY3" fmla="*/ 0 h 257442"/>
                <a:gd name="connsiteX0" fmla="*/ 2121442 w 2121442"/>
                <a:gd name="connsiteY0" fmla="*/ 0 h 257442"/>
                <a:gd name="connsiteX1" fmla="*/ 2066721 w 2121442"/>
                <a:gd name="connsiteY1" fmla="*/ 257442 h 257442"/>
                <a:gd name="connsiteX2" fmla="*/ 0 w 2121442"/>
                <a:gd name="connsiteY2" fmla="*/ 257442 h 257442"/>
                <a:gd name="connsiteX3" fmla="*/ 0 w 2121442"/>
                <a:gd name="connsiteY3" fmla="*/ 0 h 257442"/>
                <a:gd name="connsiteX0" fmla="*/ 2121442 w 2121442"/>
                <a:gd name="connsiteY0" fmla="*/ 0 h 257442"/>
                <a:gd name="connsiteX1" fmla="*/ 2066721 w 2121442"/>
                <a:gd name="connsiteY1" fmla="*/ 257442 h 257442"/>
                <a:gd name="connsiteX2" fmla="*/ 0 w 2121442"/>
                <a:gd name="connsiteY2" fmla="*/ 257442 h 257442"/>
                <a:gd name="connsiteX3" fmla="*/ 0 w 2121442"/>
                <a:gd name="connsiteY3" fmla="*/ 0 h 257442"/>
                <a:gd name="connsiteX0" fmla="*/ 2121442 w 2121442"/>
                <a:gd name="connsiteY0" fmla="*/ 0 h 257442"/>
                <a:gd name="connsiteX1" fmla="*/ 2066721 w 2121442"/>
                <a:gd name="connsiteY1" fmla="*/ 257442 h 257442"/>
                <a:gd name="connsiteX2" fmla="*/ 0 w 2121442"/>
                <a:gd name="connsiteY2" fmla="*/ 257442 h 257442"/>
                <a:gd name="connsiteX3" fmla="*/ 0 w 2121442"/>
                <a:gd name="connsiteY3" fmla="*/ 0 h 257442"/>
                <a:gd name="connsiteX0" fmla="*/ 1953127 w 2066721"/>
                <a:gd name="connsiteY0" fmla="*/ 0 h 257442"/>
                <a:gd name="connsiteX1" fmla="*/ 2066721 w 2066721"/>
                <a:gd name="connsiteY1" fmla="*/ 257442 h 257442"/>
                <a:gd name="connsiteX2" fmla="*/ 0 w 2066721"/>
                <a:gd name="connsiteY2" fmla="*/ 257442 h 257442"/>
                <a:gd name="connsiteX3" fmla="*/ 0 w 2066721"/>
                <a:gd name="connsiteY3" fmla="*/ 0 h 257442"/>
                <a:gd name="connsiteX0" fmla="*/ 1953127 w 1953127"/>
                <a:gd name="connsiteY0" fmla="*/ 0 h 257442"/>
                <a:gd name="connsiteX1" fmla="*/ 1898407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1953127 w 1953127"/>
                <a:gd name="connsiteY0" fmla="*/ 0 h 257442"/>
                <a:gd name="connsiteX1" fmla="*/ 1898407 w 1953127"/>
                <a:gd name="connsiteY1" fmla="*/ 257442 h 257442"/>
                <a:gd name="connsiteX2" fmla="*/ 1 w 1953127"/>
                <a:gd name="connsiteY2" fmla="*/ 257442 h 257442"/>
                <a:gd name="connsiteX3" fmla="*/ 0 w 1953127"/>
                <a:gd name="connsiteY3" fmla="*/ 0 h 257442"/>
                <a:gd name="connsiteX0" fmla="*/ 1953126 w 1953126"/>
                <a:gd name="connsiteY0" fmla="*/ 0 h 257442"/>
                <a:gd name="connsiteX1" fmla="*/ 1898406 w 1953126"/>
                <a:gd name="connsiteY1" fmla="*/ 257442 h 257442"/>
                <a:gd name="connsiteX2" fmla="*/ 0 w 1953126"/>
                <a:gd name="connsiteY2" fmla="*/ 257442 h 257442"/>
                <a:gd name="connsiteX3" fmla="*/ 0 w 1953126"/>
                <a:gd name="connsiteY3" fmla="*/ 0 h 257442"/>
                <a:gd name="connsiteX0" fmla="*/ 1792826 w 1898406"/>
                <a:gd name="connsiteY0" fmla="*/ 0 h 257442"/>
                <a:gd name="connsiteX1" fmla="*/ 1898406 w 1898406"/>
                <a:gd name="connsiteY1" fmla="*/ 257442 h 257442"/>
                <a:gd name="connsiteX2" fmla="*/ 0 w 1898406"/>
                <a:gd name="connsiteY2" fmla="*/ 257442 h 257442"/>
                <a:gd name="connsiteX3" fmla="*/ 0 w 1898406"/>
                <a:gd name="connsiteY3" fmla="*/ 0 h 257442"/>
                <a:gd name="connsiteX0" fmla="*/ 1792826 w 1792826"/>
                <a:gd name="connsiteY0" fmla="*/ 0 h 257442"/>
                <a:gd name="connsiteX1" fmla="*/ 1738105 w 1792826"/>
                <a:gd name="connsiteY1" fmla="*/ 257442 h 257442"/>
                <a:gd name="connsiteX2" fmla="*/ 0 w 1792826"/>
                <a:gd name="connsiteY2" fmla="*/ 257442 h 257442"/>
                <a:gd name="connsiteX3" fmla="*/ 0 w 1792826"/>
                <a:gd name="connsiteY3" fmla="*/ 0 h 257442"/>
                <a:gd name="connsiteX0" fmla="*/ 1792827 w 1792827"/>
                <a:gd name="connsiteY0" fmla="*/ 0 h 257442"/>
                <a:gd name="connsiteX1" fmla="*/ 1738106 w 1792827"/>
                <a:gd name="connsiteY1" fmla="*/ 257442 h 257442"/>
                <a:gd name="connsiteX2" fmla="*/ 0 w 1792827"/>
                <a:gd name="connsiteY2" fmla="*/ 257442 h 257442"/>
                <a:gd name="connsiteX3" fmla="*/ 1 w 1792827"/>
                <a:gd name="connsiteY3" fmla="*/ 0 h 257442"/>
                <a:gd name="connsiteX0" fmla="*/ 1792827 w 1792827"/>
                <a:gd name="connsiteY0" fmla="*/ 0 h 257442"/>
                <a:gd name="connsiteX1" fmla="*/ 1738106 w 1792827"/>
                <a:gd name="connsiteY1" fmla="*/ 257442 h 257442"/>
                <a:gd name="connsiteX2" fmla="*/ 0 w 1792827"/>
                <a:gd name="connsiteY2" fmla="*/ 257442 h 257442"/>
                <a:gd name="connsiteX3" fmla="*/ 1 w 1792827"/>
                <a:gd name="connsiteY3" fmla="*/ 0 h 257442"/>
                <a:gd name="connsiteX0" fmla="*/ 1953128 w 1953128"/>
                <a:gd name="connsiteY0" fmla="*/ 0 h 257442"/>
                <a:gd name="connsiteX1" fmla="*/ 1738106 w 1953128"/>
                <a:gd name="connsiteY1" fmla="*/ 257442 h 257442"/>
                <a:gd name="connsiteX2" fmla="*/ 0 w 1953128"/>
                <a:gd name="connsiteY2" fmla="*/ 257442 h 257442"/>
                <a:gd name="connsiteX3" fmla="*/ 1 w 1953128"/>
                <a:gd name="connsiteY3" fmla="*/ 0 h 257442"/>
                <a:gd name="connsiteX0" fmla="*/ 1953128 w 1953128"/>
                <a:gd name="connsiteY0" fmla="*/ 0 h 257442"/>
                <a:gd name="connsiteX1" fmla="*/ 1898406 w 1953128"/>
                <a:gd name="connsiteY1" fmla="*/ 257442 h 257442"/>
                <a:gd name="connsiteX2" fmla="*/ 0 w 1953128"/>
                <a:gd name="connsiteY2" fmla="*/ 257442 h 257442"/>
                <a:gd name="connsiteX3" fmla="*/ 1 w 1953128"/>
                <a:gd name="connsiteY3" fmla="*/ 0 h 257442"/>
                <a:gd name="connsiteX0" fmla="*/ 1953128 w 1953128"/>
                <a:gd name="connsiteY0" fmla="*/ 0 h 257442"/>
                <a:gd name="connsiteX1" fmla="*/ 1898406 w 1953128"/>
                <a:gd name="connsiteY1" fmla="*/ 257442 h 257442"/>
                <a:gd name="connsiteX2" fmla="*/ 0 w 1953128"/>
                <a:gd name="connsiteY2" fmla="*/ 257442 h 257442"/>
                <a:gd name="connsiteX3" fmla="*/ 1 w 1953128"/>
                <a:gd name="connsiteY3" fmla="*/ 0 h 257442"/>
                <a:gd name="connsiteX0" fmla="*/ 1953128 w 1953128"/>
                <a:gd name="connsiteY0" fmla="*/ 0 h 257442"/>
                <a:gd name="connsiteX1" fmla="*/ 1898406 w 1953128"/>
                <a:gd name="connsiteY1" fmla="*/ 257442 h 257442"/>
                <a:gd name="connsiteX2" fmla="*/ 0 w 1953128"/>
                <a:gd name="connsiteY2" fmla="*/ 257442 h 257442"/>
                <a:gd name="connsiteX3" fmla="*/ 0 w 1953128"/>
                <a:gd name="connsiteY3" fmla="*/ 0 h 257442"/>
                <a:gd name="connsiteX0" fmla="*/ 2121442 w 2121442"/>
                <a:gd name="connsiteY0" fmla="*/ 0 h 257442"/>
                <a:gd name="connsiteX1" fmla="*/ 1898406 w 2121442"/>
                <a:gd name="connsiteY1" fmla="*/ 257442 h 257442"/>
                <a:gd name="connsiteX2" fmla="*/ 0 w 2121442"/>
                <a:gd name="connsiteY2" fmla="*/ 257442 h 257442"/>
                <a:gd name="connsiteX3" fmla="*/ 0 w 2121442"/>
                <a:gd name="connsiteY3" fmla="*/ 0 h 257442"/>
                <a:gd name="connsiteX0" fmla="*/ 2121442 w 2121442"/>
                <a:gd name="connsiteY0" fmla="*/ 0 h 257442"/>
                <a:gd name="connsiteX1" fmla="*/ 2066721 w 2121442"/>
                <a:gd name="connsiteY1" fmla="*/ 257442 h 257442"/>
                <a:gd name="connsiteX2" fmla="*/ 0 w 2121442"/>
                <a:gd name="connsiteY2" fmla="*/ 257442 h 257442"/>
                <a:gd name="connsiteX3" fmla="*/ 0 w 2121442"/>
                <a:gd name="connsiteY3" fmla="*/ 0 h 257442"/>
                <a:gd name="connsiteX0" fmla="*/ 2121442 w 2121442"/>
                <a:gd name="connsiteY0" fmla="*/ 0 h 257442"/>
                <a:gd name="connsiteX1" fmla="*/ 2066721 w 2121442"/>
                <a:gd name="connsiteY1" fmla="*/ 257442 h 257442"/>
                <a:gd name="connsiteX2" fmla="*/ 0 w 2121442"/>
                <a:gd name="connsiteY2" fmla="*/ 257442 h 257442"/>
                <a:gd name="connsiteX3" fmla="*/ 0 w 2121442"/>
                <a:gd name="connsiteY3" fmla="*/ 0 h 257442"/>
                <a:gd name="connsiteX0" fmla="*/ 2121442 w 2121442"/>
                <a:gd name="connsiteY0" fmla="*/ 0 h 257442"/>
                <a:gd name="connsiteX1" fmla="*/ 2066721 w 2121442"/>
                <a:gd name="connsiteY1" fmla="*/ 257442 h 257442"/>
                <a:gd name="connsiteX2" fmla="*/ 0 w 2121442"/>
                <a:gd name="connsiteY2" fmla="*/ 257442 h 257442"/>
                <a:gd name="connsiteX3" fmla="*/ 0 w 2121442"/>
                <a:gd name="connsiteY3" fmla="*/ 0 h 257442"/>
                <a:gd name="connsiteX0" fmla="*/ 2385040 w 2385040"/>
                <a:gd name="connsiteY0" fmla="*/ 0 h 257442"/>
                <a:gd name="connsiteX1" fmla="*/ 2066721 w 2385040"/>
                <a:gd name="connsiteY1" fmla="*/ 257442 h 257442"/>
                <a:gd name="connsiteX2" fmla="*/ 0 w 2385040"/>
                <a:gd name="connsiteY2" fmla="*/ 257442 h 257442"/>
                <a:gd name="connsiteX3" fmla="*/ 0 w 2385040"/>
                <a:gd name="connsiteY3" fmla="*/ 0 h 257442"/>
                <a:gd name="connsiteX0" fmla="*/ 2385040 w 2385040"/>
                <a:gd name="connsiteY0" fmla="*/ 0 h 257442"/>
                <a:gd name="connsiteX1" fmla="*/ 2330319 w 2385040"/>
                <a:gd name="connsiteY1" fmla="*/ 257442 h 257442"/>
                <a:gd name="connsiteX2" fmla="*/ 0 w 2385040"/>
                <a:gd name="connsiteY2" fmla="*/ 257442 h 257442"/>
                <a:gd name="connsiteX3" fmla="*/ 0 w 2385040"/>
                <a:gd name="connsiteY3" fmla="*/ 0 h 257442"/>
                <a:gd name="connsiteX0" fmla="*/ 2385040 w 2385040"/>
                <a:gd name="connsiteY0" fmla="*/ 0 h 257442"/>
                <a:gd name="connsiteX1" fmla="*/ 2330319 w 2385040"/>
                <a:gd name="connsiteY1" fmla="*/ 257442 h 257442"/>
                <a:gd name="connsiteX2" fmla="*/ 0 w 2385040"/>
                <a:gd name="connsiteY2" fmla="*/ 257442 h 257442"/>
                <a:gd name="connsiteX3" fmla="*/ 0 w 2385040"/>
                <a:gd name="connsiteY3" fmla="*/ 0 h 257442"/>
                <a:gd name="connsiteX0" fmla="*/ 2385040 w 2385040"/>
                <a:gd name="connsiteY0" fmla="*/ 0 h 257442"/>
                <a:gd name="connsiteX1" fmla="*/ 2330319 w 2385040"/>
                <a:gd name="connsiteY1" fmla="*/ 257442 h 257442"/>
                <a:gd name="connsiteX2" fmla="*/ 0 w 2385040"/>
                <a:gd name="connsiteY2" fmla="*/ 257442 h 257442"/>
                <a:gd name="connsiteX3" fmla="*/ 0 w 2385040"/>
                <a:gd name="connsiteY3" fmla="*/ 0 h 257442"/>
                <a:gd name="connsiteX0" fmla="*/ 2553355 w 2553355"/>
                <a:gd name="connsiteY0" fmla="*/ 0 h 257442"/>
                <a:gd name="connsiteX1" fmla="*/ 2330319 w 2553355"/>
                <a:gd name="connsiteY1" fmla="*/ 257442 h 257442"/>
                <a:gd name="connsiteX2" fmla="*/ 0 w 2553355"/>
                <a:gd name="connsiteY2" fmla="*/ 257442 h 257442"/>
                <a:gd name="connsiteX3" fmla="*/ 0 w 2553355"/>
                <a:gd name="connsiteY3" fmla="*/ 0 h 257442"/>
                <a:gd name="connsiteX0" fmla="*/ 2553355 w 2553355"/>
                <a:gd name="connsiteY0" fmla="*/ 0 h 257442"/>
                <a:gd name="connsiteX1" fmla="*/ 2498634 w 2553355"/>
                <a:gd name="connsiteY1" fmla="*/ 257442 h 257442"/>
                <a:gd name="connsiteX2" fmla="*/ 0 w 2553355"/>
                <a:gd name="connsiteY2" fmla="*/ 257442 h 257442"/>
                <a:gd name="connsiteX3" fmla="*/ 0 w 2553355"/>
                <a:gd name="connsiteY3" fmla="*/ 0 h 257442"/>
                <a:gd name="connsiteX0" fmla="*/ 2553355 w 2553355"/>
                <a:gd name="connsiteY0" fmla="*/ 0 h 257442"/>
                <a:gd name="connsiteX1" fmla="*/ 2498634 w 2553355"/>
                <a:gd name="connsiteY1" fmla="*/ 257442 h 257442"/>
                <a:gd name="connsiteX2" fmla="*/ 0 w 2553355"/>
                <a:gd name="connsiteY2" fmla="*/ 257442 h 257442"/>
                <a:gd name="connsiteX3" fmla="*/ 0 w 2553355"/>
                <a:gd name="connsiteY3" fmla="*/ 0 h 257442"/>
                <a:gd name="connsiteX0" fmla="*/ 2553355 w 2553355"/>
                <a:gd name="connsiteY0" fmla="*/ 0 h 257442"/>
                <a:gd name="connsiteX1" fmla="*/ 2498634 w 2553355"/>
                <a:gd name="connsiteY1" fmla="*/ 257442 h 257442"/>
                <a:gd name="connsiteX2" fmla="*/ 0 w 2553355"/>
                <a:gd name="connsiteY2" fmla="*/ 257442 h 257442"/>
                <a:gd name="connsiteX3" fmla="*/ 0 w 2553355"/>
                <a:gd name="connsiteY3" fmla="*/ 0 h 257442"/>
                <a:gd name="connsiteX0" fmla="*/ 2713655 w 2713655"/>
                <a:gd name="connsiteY0" fmla="*/ 0 h 257442"/>
                <a:gd name="connsiteX1" fmla="*/ 2498634 w 2713655"/>
                <a:gd name="connsiteY1" fmla="*/ 257442 h 257442"/>
                <a:gd name="connsiteX2" fmla="*/ 0 w 2713655"/>
                <a:gd name="connsiteY2" fmla="*/ 257442 h 257442"/>
                <a:gd name="connsiteX3" fmla="*/ 0 w 2713655"/>
                <a:gd name="connsiteY3" fmla="*/ 0 h 257442"/>
                <a:gd name="connsiteX0" fmla="*/ 2713655 w 2713655"/>
                <a:gd name="connsiteY0" fmla="*/ 0 h 257442"/>
                <a:gd name="connsiteX1" fmla="*/ 2658934 w 2713655"/>
                <a:gd name="connsiteY1" fmla="*/ 257442 h 257442"/>
                <a:gd name="connsiteX2" fmla="*/ 0 w 2713655"/>
                <a:gd name="connsiteY2" fmla="*/ 257442 h 257442"/>
                <a:gd name="connsiteX3" fmla="*/ 0 w 2713655"/>
                <a:gd name="connsiteY3" fmla="*/ 0 h 257442"/>
                <a:gd name="connsiteX0" fmla="*/ 2713655 w 2713655"/>
                <a:gd name="connsiteY0" fmla="*/ 0 h 257442"/>
                <a:gd name="connsiteX1" fmla="*/ 2658934 w 2713655"/>
                <a:gd name="connsiteY1" fmla="*/ 257442 h 257442"/>
                <a:gd name="connsiteX2" fmla="*/ 0 w 2713655"/>
                <a:gd name="connsiteY2" fmla="*/ 257442 h 257442"/>
                <a:gd name="connsiteX3" fmla="*/ 0 w 2713655"/>
                <a:gd name="connsiteY3" fmla="*/ 0 h 257442"/>
                <a:gd name="connsiteX0" fmla="*/ 2713655 w 2713655"/>
                <a:gd name="connsiteY0" fmla="*/ 0 h 257442"/>
                <a:gd name="connsiteX1" fmla="*/ 2658934 w 2713655"/>
                <a:gd name="connsiteY1" fmla="*/ 257442 h 257442"/>
                <a:gd name="connsiteX2" fmla="*/ 0 w 2713655"/>
                <a:gd name="connsiteY2" fmla="*/ 257442 h 257442"/>
                <a:gd name="connsiteX3" fmla="*/ 0 w 2713655"/>
                <a:gd name="connsiteY3" fmla="*/ 0 h 257442"/>
                <a:gd name="connsiteX0" fmla="*/ 2881971 w 2881971"/>
                <a:gd name="connsiteY0" fmla="*/ 0 h 257442"/>
                <a:gd name="connsiteX1" fmla="*/ 2658934 w 2881971"/>
                <a:gd name="connsiteY1" fmla="*/ 257442 h 257442"/>
                <a:gd name="connsiteX2" fmla="*/ 0 w 2881971"/>
                <a:gd name="connsiteY2" fmla="*/ 257442 h 257442"/>
                <a:gd name="connsiteX3" fmla="*/ 0 w 2881971"/>
                <a:gd name="connsiteY3" fmla="*/ 0 h 257442"/>
                <a:gd name="connsiteX0" fmla="*/ 2881971 w 2881971"/>
                <a:gd name="connsiteY0" fmla="*/ 0 h 257442"/>
                <a:gd name="connsiteX1" fmla="*/ 2827250 w 2881971"/>
                <a:gd name="connsiteY1" fmla="*/ 257442 h 257442"/>
                <a:gd name="connsiteX2" fmla="*/ 0 w 2881971"/>
                <a:gd name="connsiteY2" fmla="*/ 257442 h 257442"/>
                <a:gd name="connsiteX3" fmla="*/ 0 w 2881971"/>
                <a:gd name="connsiteY3" fmla="*/ 0 h 257442"/>
                <a:gd name="connsiteX0" fmla="*/ 2881971 w 2881971"/>
                <a:gd name="connsiteY0" fmla="*/ 0 h 257442"/>
                <a:gd name="connsiteX1" fmla="*/ 2827250 w 2881971"/>
                <a:gd name="connsiteY1" fmla="*/ 257442 h 257442"/>
                <a:gd name="connsiteX2" fmla="*/ 0 w 2881971"/>
                <a:gd name="connsiteY2" fmla="*/ 257442 h 257442"/>
                <a:gd name="connsiteX3" fmla="*/ 0 w 2881971"/>
                <a:gd name="connsiteY3" fmla="*/ 0 h 257442"/>
                <a:gd name="connsiteX0" fmla="*/ 2881971 w 2881971"/>
                <a:gd name="connsiteY0" fmla="*/ 0 h 257442"/>
                <a:gd name="connsiteX1" fmla="*/ 2827250 w 2881971"/>
                <a:gd name="connsiteY1" fmla="*/ 257442 h 257442"/>
                <a:gd name="connsiteX2" fmla="*/ 0 w 2881971"/>
                <a:gd name="connsiteY2" fmla="*/ 257442 h 257442"/>
                <a:gd name="connsiteX3" fmla="*/ 0 w 2881971"/>
                <a:gd name="connsiteY3" fmla="*/ 0 h 257442"/>
                <a:gd name="connsiteX0" fmla="*/ 3050286 w 3050286"/>
                <a:gd name="connsiteY0" fmla="*/ 0 h 257442"/>
                <a:gd name="connsiteX1" fmla="*/ 2827250 w 3050286"/>
                <a:gd name="connsiteY1" fmla="*/ 257442 h 257442"/>
                <a:gd name="connsiteX2" fmla="*/ 0 w 3050286"/>
                <a:gd name="connsiteY2" fmla="*/ 257442 h 257442"/>
                <a:gd name="connsiteX3" fmla="*/ 0 w 3050286"/>
                <a:gd name="connsiteY3" fmla="*/ 0 h 257442"/>
                <a:gd name="connsiteX0" fmla="*/ 3050286 w 3050286"/>
                <a:gd name="connsiteY0" fmla="*/ 0 h 257442"/>
                <a:gd name="connsiteX1" fmla="*/ 2995564 w 3050286"/>
                <a:gd name="connsiteY1" fmla="*/ 257442 h 257442"/>
                <a:gd name="connsiteX2" fmla="*/ 0 w 3050286"/>
                <a:gd name="connsiteY2" fmla="*/ 257442 h 257442"/>
                <a:gd name="connsiteX3" fmla="*/ 0 w 3050286"/>
                <a:gd name="connsiteY3" fmla="*/ 0 h 257442"/>
                <a:gd name="connsiteX0" fmla="*/ 3050287 w 3050287"/>
                <a:gd name="connsiteY0" fmla="*/ 0 h 257442"/>
                <a:gd name="connsiteX1" fmla="*/ 2995565 w 3050287"/>
                <a:gd name="connsiteY1" fmla="*/ 257442 h 257442"/>
                <a:gd name="connsiteX2" fmla="*/ 0 w 3050287"/>
                <a:gd name="connsiteY2" fmla="*/ 257442 h 257442"/>
                <a:gd name="connsiteX3" fmla="*/ 1 w 3050287"/>
                <a:gd name="connsiteY3" fmla="*/ 0 h 257442"/>
                <a:gd name="connsiteX0" fmla="*/ 3050287 w 3050287"/>
                <a:gd name="connsiteY0" fmla="*/ 0 h 257442"/>
                <a:gd name="connsiteX1" fmla="*/ 2995565 w 3050287"/>
                <a:gd name="connsiteY1" fmla="*/ 257442 h 257442"/>
                <a:gd name="connsiteX2" fmla="*/ 0 w 3050287"/>
                <a:gd name="connsiteY2" fmla="*/ 257442 h 257442"/>
                <a:gd name="connsiteX3" fmla="*/ 1 w 3050287"/>
                <a:gd name="connsiteY3" fmla="*/ 0 h 257442"/>
                <a:gd name="connsiteX0" fmla="*/ 3218602 w 3218602"/>
                <a:gd name="connsiteY0" fmla="*/ 0 h 257442"/>
                <a:gd name="connsiteX1" fmla="*/ 2995565 w 3218602"/>
                <a:gd name="connsiteY1" fmla="*/ 257442 h 257442"/>
                <a:gd name="connsiteX2" fmla="*/ 0 w 3218602"/>
                <a:gd name="connsiteY2" fmla="*/ 257442 h 257442"/>
                <a:gd name="connsiteX3" fmla="*/ 1 w 3218602"/>
                <a:gd name="connsiteY3" fmla="*/ 0 h 257442"/>
                <a:gd name="connsiteX0" fmla="*/ 3218602 w 3218602"/>
                <a:gd name="connsiteY0" fmla="*/ 0 h 257442"/>
                <a:gd name="connsiteX1" fmla="*/ 3163880 w 3218602"/>
                <a:gd name="connsiteY1" fmla="*/ 257442 h 257442"/>
                <a:gd name="connsiteX2" fmla="*/ 0 w 3218602"/>
                <a:gd name="connsiteY2" fmla="*/ 257442 h 257442"/>
                <a:gd name="connsiteX3" fmla="*/ 1 w 3218602"/>
                <a:gd name="connsiteY3" fmla="*/ 0 h 257442"/>
                <a:gd name="connsiteX0" fmla="*/ 3218602 w 3218602"/>
                <a:gd name="connsiteY0" fmla="*/ 0 h 257442"/>
                <a:gd name="connsiteX1" fmla="*/ 3163880 w 3218602"/>
                <a:gd name="connsiteY1" fmla="*/ 257442 h 257442"/>
                <a:gd name="connsiteX2" fmla="*/ 0 w 3218602"/>
                <a:gd name="connsiteY2" fmla="*/ 257442 h 257442"/>
                <a:gd name="connsiteX3" fmla="*/ 1 w 3218602"/>
                <a:gd name="connsiteY3" fmla="*/ 0 h 257442"/>
                <a:gd name="connsiteX0" fmla="*/ 3218602 w 3218602"/>
                <a:gd name="connsiteY0" fmla="*/ 0 h 257442"/>
                <a:gd name="connsiteX1" fmla="*/ 3163880 w 3218602"/>
                <a:gd name="connsiteY1" fmla="*/ 257442 h 257442"/>
                <a:gd name="connsiteX2" fmla="*/ 0 w 3218602"/>
                <a:gd name="connsiteY2" fmla="*/ 257442 h 257442"/>
                <a:gd name="connsiteX3" fmla="*/ 0 w 3218602"/>
                <a:gd name="connsiteY3" fmla="*/ 0 h 257442"/>
                <a:gd name="connsiteX0" fmla="*/ 3378902 w 3378902"/>
                <a:gd name="connsiteY0" fmla="*/ 0 h 257442"/>
                <a:gd name="connsiteX1" fmla="*/ 3163880 w 3378902"/>
                <a:gd name="connsiteY1" fmla="*/ 257442 h 257442"/>
                <a:gd name="connsiteX2" fmla="*/ 0 w 3378902"/>
                <a:gd name="connsiteY2" fmla="*/ 257442 h 257442"/>
                <a:gd name="connsiteX3" fmla="*/ 0 w 3378902"/>
                <a:gd name="connsiteY3" fmla="*/ 0 h 257442"/>
                <a:gd name="connsiteX0" fmla="*/ 3378902 w 3378902"/>
                <a:gd name="connsiteY0" fmla="*/ 0 h 257442"/>
                <a:gd name="connsiteX1" fmla="*/ 3324181 w 3378902"/>
                <a:gd name="connsiteY1" fmla="*/ 257442 h 257442"/>
                <a:gd name="connsiteX2" fmla="*/ 0 w 3378902"/>
                <a:gd name="connsiteY2" fmla="*/ 257442 h 257442"/>
                <a:gd name="connsiteX3" fmla="*/ 0 w 3378902"/>
                <a:gd name="connsiteY3" fmla="*/ 0 h 257442"/>
                <a:gd name="connsiteX0" fmla="*/ 3378902 w 3378902"/>
                <a:gd name="connsiteY0" fmla="*/ 0 h 257442"/>
                <a:gd name="connsiteX1" fmla="*/ 3324181 w 3378902"/>
                <a:gd name="connsiteY1" fmla="*/ 257442 h 257442"/>
                <a:gd name="connsiteX2" fmla="*/ 0 w 3378902"/>
                <a:gd name="connsiteY2" fmla="*/ 257442 h 257442"/>
                <a:gd name="connsiteX3" fmla="*/ 0 w 3378902"/>
                <a:gd name="connsiteY3" fmla="*/ 0 h 257442"/>
                <a:gd name="connsiteX0" fmla="*/ 3378902 w 3378902"/>
                <a:gd name="connsiteY0" fmla="*/ 0 h 257442"/>
                <a:gd name="connsiteX1" fmla="*/ 3324181 w 3378902"/>
                <a:gd name="connsiteY1" fmla="*/ 257442 h 257442"/>
                <a:gd name="connsiteX2" fmla="*/ 0 w 3378902"/>
                <a:gd name="connsiteY2" fmla="*/ 257442 h 257442"/>
                <a:gd name="connsiteX3" fmla="*/ 0 w 3378902"/>
                <a:gd name="connsiteY3" fmla="*/ 0 h 257442"/>
                <a:gd name="connsiteX0" fmla="*/ 3655067 w 3655067"/>
                <a:gd name="connsiteY0" fmla="*/ 0 h 257442"/>
                <a:gd name="connsiteX1" fmla="*/ 3324181 w 3655067"/>
                <a:gd name="connsiteY1" fmla="*/ 257442 h 257442"/>
                <a:gd name="connsiteX2" fmla="*/ 0 w 3655067"/>
                <a:gd name="connsiteY2" fmla="*/ 257442 h 257442"/>
                <a:gd name="connsiteX3" fmla="*/ 0 w 3655067"/>
                <a:gd name="connsiteY3" fmla="*/ 0 h 257442"/>
                <a:gd name="connsiteX0" fmla="*/ 3655067 w 3655067"/>
                <a:gd name="connsiteY0" fmla="*/ 0 h 257442"/>
                <a:gd name="connsiteX1" fmla="*/ 3600346 w 3655067"/>
                <a:gd name="connsiteY1" fmla="*/ 257442 h 257442"/>
                <a:gd name="connsiteX2" fmla="*/ 0 w 3655067"/>
                <a:gd name="connsiteY2" fmla="*/ 257442 h 257442"/>
                <a:gd name="connsiteX3" fmla="*/ 0 w 3655067"/>
                <a:gd name="connsiteY3" fmla="*/ 0 h 257442"/>
                <a:gd name="connsiteX0" fmla="*/ 3655067 w 3655067"/>
                <a:gd name="connsiteY0" fmla="*/ 0 h 257442"/>
                <a:gd name="connsiteX1" fmla="*/ 3600346 w 3655067"/>
                <a:gd name="connsiteY1" fmla="*/ 257442 h 257442"/>
                <a:gd name="connsiteX2" fmla="*/ 0 w 3655067"/>
                <a:gd name="connsiteY2" fmla="*/ 257442 h 257442"/>
                <a:gd name="connsiteX3" fmla="*/ 0 w 3655067"/>
                <a:gd name="connsiteY3" fmla="*/ 0 h 257442"/>
                <a:gd name="connsiteX0" fmla="*/ 3655067 w 3655067"/>
                <a:gd name="connsiteY0" fmla="*/ 0 h 257442"/>
                <a:gd name="connsiteX1" fmla="*/ 3600346 w 3655067"/>
                <a:gd name="connsiteY1" fmla="*/ 257442 h 257442"/>
                <a:gd name="connsiteX2" fmla="*/ 0 w 3655067"/>
                <a:gd name="connsiteY2" fmla="*/ 257442 h 257442"/>
                <a:gd name="connsiteX3" fmla="*/ 0 w 3655067"/>
                <a:gd name="connsiteY3" fmla="*/ 0 h 257442"/>
                <a:gd name="connsiteX0" fmla="*/ 3396534 w 3600346"/>
                <a:gd name="connsiteY0" fmla="*/ 0 h 257442"/>
                <a:gd name="connsiteX1" fmla="*/ 3600346 w 3600346"/>
                <a:gd name="connsiteY1" fmla="*/ 257442 h 257442"/>
                <a:gd name="connsiteX2" fmla="*/ 0 w 3600346"/>
                <a:gd name="connsiteY2" fmla="*/ 257442 h 257442"/>
                <a:gd name="connsiteX3" fmla="*/ 0 w 3600346"/>
                <a:gd name="connsiteY3" fmla="*/ 0 h 257442"/>
                <a:gd name="connsiteX0" fmla="*/ 3396534 w 3396534"/>
                <a:gd name="connsiteY0" fmla="*/ 0 h 257442"/>
                <a:gd name="connsiteX1" fmla="*/ 3341813 w 3396534"/>
                <a:gd name="connsiteY1" fmla="*/ 257442 h 257442"/>
                <a:gd name="connsiteX2" fmla="*/ 0 w 3396534"/>
                <a:gd name="connsiteY2" fmla="*/ 257442 h 257442"/>
                <a:gd name="connsiteX3" fmla="*/ 0 w 3396534"/>
                <a:gd name="connsiteY3" fmla="*/ 0 h 257442"/>
                <a:gd name="connsiteX0" fmla="*/ 3396534 w 3396534"/>
                <a:gd name="connsiteY0" fmla="*/ 0 h 257442"/>
                <a:gd name="connsiteX1" fmla="*/ 3341813 w 3396534"/>
                <a:gd name="connsiteY1" fmla="*/ 257442 h 257442"/>
                <a:gd name="connsiteX2" fmla="*/ 0 w 3396534"/>
                <a:gd name="connsiteY2" fmla="*/ 257442 h 257442"/>
                <a:gd name="connsiteX3" fmla="*/ 0 w 3396534"/>
                <a:gd name="connsiteY3" fmla="*/ 0 h 257442"/>
                <a:gd name="connsiteX0" fmla="*/ 3396534 w 3396534"/>
                <a:gd name="connsiteY0" fmla="*/ 0 h 257442"/>
                <a:gd name="connsiteX1" fmla="*/ 3341813 w 3396534"/>
                <a:gd name="connsiteY1" fmla="*/ 257442 h 257442"/>
                <a:gd name="connsiteX2" fmla="*/ 0 w 3396534"/>
                <a:gd name="connsiteY2" fmla="*/ 257442 h 257442"/>
                <a:gd name="connsiteX3" fmla="*/ 0 w 3396534"/>
                <a:gd name="connsiteY3" fmla="*/ 0 h 257442"/>
                <a:gd name="connsiteX0" fmla="*/ 3228219 w 3341813"/>
                <a:gd name="connsiteY0" fmla="*/ 0 h 257442"/>
                <a:gd name="connsiteX1" fmla="*/ 3341813 w 3341813"/>
                <a:gd name="connsiteY1" fmla="*/ 257442 h 257442"/>
                <a:gd name="connsiteX2" fmla="*/ 0 w 3341813"/>
                <a:gd name="connsiteY2" fmla="*/ 257442 h 257442"/>
                <a:gd name="connsiteX3" fmla="*/ 0 w 3341813"/>
                <a:gd name="connsiteY3" fmla="*/ 0 h 257442"/>
                <a:gd name="connsiteX0" fmla="*/ 3228219 w 3228219"/>
                <a:gd name="connsiteY0" fmla="*/ 0 h 257442"/>
                <a:gd name="connsiteX1" fmla="*/ 3173499 w 3228219"/>
                <a:gd name="connsiteY1" fmla="*/ 257442 h 257442"/>
                <a:gd name="connsiteX2" fmla="*/ 0 w 3228219"/>
                <a:gd name="connsiteY2" fmla="*/ 257442 h 257442"/>
                <a:gd name="connsiteX3" fmla="*/ 0 w 3228219"/>
                <a:gd name="connsiteY3" fmla="*/ 0 h 257442"/>
                <a:gd name="connsiteX0" fmla="*/ 3228219 w 3228219"/>
                <a:gd name="connsiteY0" fmla="*/ 0 h 257442"/>
                <a:gd name="connsiteX1" fmla="*/ 3173499 w 3228219"/>
                <a:gd name="connsiteY1" fmla="*/ 257442 h 257442"/>
                <a:gd name="connsiteX2" fmla="*/ 1 w 3228219"/>
                <a:gd name="connsiteY2" fmla="*/ 257442 h 257442"/>
                <a:gd name="connsiteX3" fmla="*/ 0 w 3228219"/>
                <a:gd name="connsiteY3" fmla="*/ 0 h 257442"/>
                <a:gd name="connsiteX0" fmla="*/ 3228218 w 3228218"/>
                <a:gd name="connsiteY0" fmla="*/ 0 h 257442"/>
                <a:gd name="connsiteX1" fmla="*/ 3173498 w 3228218"/>
                <a:gd name="connsiteY1" fmla="*/ 257442 h 257442"/>
                <a:gd name="connsiteX2" fmla="*/ 0 w 3228218"/>
                <a:gd name="connsiteY2" fmla="*/ 257442 h 257442"/>
                <a:gd name="connsiteX3" fmla="*/ 0 w 3228218"/>
                <a:gd name="connsiteY3" fmla="*/ 0 h 257442"/>
                <a:gd name="connsiteX0" fmla="*/ 3396533 w 3396533"/>
                <a:gd name="connsiteY0" fmla="*/ 0 h 257442"/>
                <a:gd name="connsiteX1" fmla="*/ 3173498 w 3396533"/>
                <a:gd name="connsiteY1" fmla="*/ 257442 h 257442"/>
                <a:gd name="connsiteX2" fmla="*/ 0 w 3396533"/>
                <a:gd name="connsiteY2" fmla="*/ 257442 h 257442"/>
                <a:gd name="connsiteX3" fmla="*/ 0 w 3396533"/>
                <a:gd name="connsiteY3" fmla="*/ 0 h 257442"/>
                <a:gd name="connsiteX0" fmla="*/ 3396533 w 3396533"/>
                <a:gd name="connsiteY0" fmla="*/ 0 h 257442"/>
                <a:gd name="connsiteX1" fmla="*/ 3341812 w 3396533"/>
                <a:gd name="connsiteY1" fmla="*/ 257442 h 257442"/>
                <a:gd name="connsiteX2" fmla="*/ 0 w 3396533"/>
                <a:gd name="connsiteY2" fmla="*/ 257442 h 257442"/>
                <a:gd name="connsiteX3" fmla="*/ 0 w 3396533"/>
                <a:gd name="connsiteY3" fmla="*/ 0 h 257442"/>
                <a:gd name="connsiteX0" fmla="*/ 3396534 w 3396534"/>
                <a:gd name="connsiteY0" fmla="*/ 0 h 257442"/>
                <a:gd name="connsiteX1" fmla="*/ 3341813 w 3396534"/>
                <a:gd name="connsiteY1" fmla="*/ 257442 h 257442"/>
                <a:gd name="connsiteX2" fmla="*/ 0 w 3396534"/>
                <a:gd name="connsiteY2" fmla="*/ 257442 h 257442"/>
                <a:gd name="connsiteX3" fmla="*/ 1 w 3396534"/>
                <a:gd name="connsiteY3" fmla="*/ 0 h 257442"/>
                <a:gd name="connsiteX0" fmla="*/ 3396534 w 3396534"/>
                <a:gd name="connsiteY0" fmla="*/ 0 h 257442"/>
                <a:gd name="connsiteX1" fmla="*/ 3341813 w 3396534"/>
                <a:gd name="connsiteY1" fmla="*/ 257442 h 257442"/>
                <a:gd name="connsiteX2" fmla="*/ 0 w 3396534"/>
                <a:gd name="connsiteY2" fmla="*/ 257442 h 257442"/>
                <a:gd name="connsiteX3" fmla="*/ 0 w 3396534"/>
                <a:gd name="connsiteY3" fmla="*/ 0 h 257442"/>
                <a:gd name="connsiteX0" fmla="*/ 3556835 w 3556835"/>
                <a:gd name="connsiteY0" fmla="*/ 0 h 257442"/>
                <a:gd name="connsiteX1" fmla="*/ 3341813 w 3556835"/>
                <a:gd name="connsiteY1" fmla="*/ 257442 h 257442"/>
                <a:gd name="connsiteX2" fmla="*/ 0 w 3556835"/>
                <a:gd name="connsiteY2" fmla="*/ 257442 h 257442"/>
                <a:gd name="connsiteX3" fmla="*/ 0 w 3556835"/>
                <a:gd name="connsiteY3" fmla="*/ 0 h 257442"/>
                <a:gd name="connsiteX0" fmla="*/ 3556835 w 3556835"/>
                <a:gd name="connsiteY0" fmla="*/ 0 h 257442"/>
                <a:gd name="connsiteX1" fmla="*/ 3502114 w 3556835"/>
                <a:gd name="connsiteY1" fmla="*/ 257442 h 257442"/>
                <a:gd name="connsiteX2" fmla="*/ 0 w 3556835"/>
                <a:gd name="connsiteY2" fmla="*/ 257442 h 257442"/>
                <a:gd name="connsiteX3" fmla="*/ 0 w 3556835"/>
                <a:gd name="connsiteY3" fmla="*/ 0 h 257442"/>
                <a:gd name="connsiteX0" fmla="*/ 3556835 w 3556835"/>
                <a:gd name="connsiteY0" fmla="*/ 0 h 257442"/>
                <a:gd name="connsiteX1" fmla="*/ 3502114 w 3556835"/>
                <a:gd name="connsiteY1" fmla="*/ 257442 h 257442"/>
                <a:gd name="connsiteX2" fmla="*/ 0 w 3556835"/>
                <a:gd name="connsiteY2" fmla="*/ 257442 h 257442"/>
                <a:gd name="connsiteX3" fmla="*/ 0 w 3556835"/>
                <a:gd name="connsiteY3" fmla="*/ 0 h 257442"/>
                <a:gd name="connsiteX0" fmla="*/ 3556835 w 3556835"/>
                <a:gd name="connsiteY0" fmla="*/ 0 h 257442"/>
                <a:gd name="connsiteX1" fmla="*/ 3502114 w 3556835"/>
                <a:gd name="connsiteY1" fmla="*/ 257442 h 257442"/>
                <a:gd name="connsiteX2" fmla="*/ 0 w 3556835"/>
                <a:gd name="connsiteY2" fmla="*/ 257442 h 257442"/>
                <a:gd name="connsiteX3" fmla="*/ 0 w 355683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56835" h="257442">
                  <a:moveTo>
                    <a:pt x="3556835" y="0"/>
                  </a:moveTo>
                  <a:lnTo>
                    <a:pt x="350211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54" name="btfpRunningAgenda1LevelTextLeft149777">
              <a:extLst>
                <a:ext uri="{FF2B5EF4-FFF2-40B4-BE49-F238E27FC236}">
                  <a16:creationId xmlns:a16="http://schemas.microsoft.com/office/drawing/2014/main" id="{0BB5C715-30FA-ECC8-D6F7-D1D5A4A63F4A}"/>
                </a:ext>
              </a:extLst>
            </p:cNvPr>
            <p:cNvSpPr txBox="1"/>
            <p:nvPr/>
          </p:nvSpPr>
          <p:spPr bwMode="gray">
            <a:xfrm>
              <a:off x="0" y="876300"/>
              <a:ext cx="3502114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customer advocacy</a:t>
              </a:r>
            </a:p>
          </p:txBody>
        </p:sp>
      </p:grpSp>
      <p:grpSp>
        <p:nvGrpSpPr>
          <p:cNvPr id="1058" name="btfpColumnHeaderBox736196">
            <a:extLst>
              <a:ext uri="{FF2B5EF4-FFF2-40B4-BE49-F238E27FC236}">
                <a16:creationId xmlns:a16="http://schemas.microsoft.com/office/drawing/2014/main" id="{63C1C93B-3DDD-D98E-34FA-08AE42EB266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6366273" y="1334613"/>
            <a:ext cx="5212410" cy="565217"/>
            <a:chOff x="6366272" y="1220485"/>
            <a:chExt cx="5495528" cy="565217"/>
          </a:xfrm>
        </p:grpSpPr>
        <p:sp>
          <p:nvSpPr>
            <p:cNvPr id="1056" name="btfpColumnHeaderBoxText736196">
              <a:extLst>
                <a:ext uri="{FF2B5EF4-FFF2-40B4-BE49-F238E27FC236}">
                  <a16:creationId xmlns:a16="http://schemas.microsoft.com/office/drawing/2014/main" id="{1CDA3872-44A4-FAB3-FB83-446AD1C447BD}"/>
                </a:ext>
              </a:extLst>
            </p:cNvPr>
            <p:cNvSpPr txBox="1"/>
            <p:nvPr/>
          </p:nvSpPr>
          <p:spPr bwMode="gray">
            <a:xfrm>
              <a:off x="6366272" y="1220485"/>
              <a:ext cx="5495528" cy="55975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b="1" dirty="0">
                  <a:solidFill>
                    <a:srgbClr val="000000"/>
                  </a:solidFill>
                </a:rPr>
                <a:t>In Europe &amp; Australia, Target has slightly lower advocacy compared to other vendors</a:t>
              </a:r>
            </a:p>
          </p:txBody>
        </p:sp>
        <p:cxnSp>
          <p:nvCxnSpPr>
            <p:cNvPr id="1057" name="btfpColumnHeaderBoxLine736196">
              <a:extLst>
                <a:ext uri="{FF2B5EF4-FFF2-40B4-BE49-F238E27FC236}">
                  <a16:creationId xmlns:a16="http://schemas.microsoft.com/office/drawing/2014/main" id="{B3E04546-9209-F1DA-6B09-E618E43F1CA2}"/>
                </a:ext>
              </a:extLst>
            </p:cNvPr>
            <p:cNvCxnSpPr/>
            <p:nvPr/>
          </p:nvCxnSpPr>
          <p:spPr bwMode="gray">
            <a:xfrm>
              <a:off x="6366272" y="1785702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61" name="btfpColumnHeaderBox411215">
            <a:extLst>
              <a:ext uri="{FF2B5EF4-FFF2-40B4-BE49-F238E27FC236}">
                <a16:creationId xmlns:a16="http://schemas.microsoft.com/office/drawing/2014/main" id="{0801C343-8301-6B9E-5CB8-686C9679CDDD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330200" y="1594666"/>
            <a:ext cx="5088225" cy="318997"/>
            <a:chOff x="330200" y="1231234"/>
            <a:chExt cx="5495528" cy="318997"/>
          </a:xfrm>
        </p:grpSpPr>
        <p:sp>
          <p:nvSpPr>
            <p:cNvPr id="1059" name="btfpColumnHeaderBoxText411215">
              <a:extLst>
                <a:ext uri="{FF2B5EF4-FFF2-40B4-BE49-F238E27FC236}">
                  <a16:creationId xmlns:a16="http://schemas.microsoft.com/office/drawing/2014/main" id="{D1328364-80A6-8ED8-8992-A68565F478D2}"/>
                </a:ext>
              </a:extLst>
            </p:cNvPr>
            <p:cNvSpPr txBox="1"/>
            <p:nvPr/>
          </p:nvSpPr>
          <p:spPr bwMode="gray">
            <a:xfrm>
              <a:off x="330200" y="1231234"/>
              <a:ext cx="5495528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b="1" dirty="0">
                  <a:solidFill>
                    <a:srgbClr val="000000"/>
                  </a:solidFill>
                </a:rPr>
                <a:t>In the US, Peer 3 NPS leads other priority vendors</a:t>
              </a:r>
            </a:p>
          </p:txBody>
        </p:sp>
        <p:cxnSp>
          <p:nvCxnSpPr>
            <p:cNvPr id="1060" name="btfpColumnHeaderBoxLine411215">
              <a:extLst>
                <a:ext uri="{FF2B5EF4-FFF2-40B4-BE49-F238E27FC236}">
                  <a16:creationId xmlns:a16="http://schemas.microsoft.com/office/drawing/2014/main" id="{B27526A7-5181-A0F3-D796-916D80B36529}"/>
                </a:ext>
              </a:extLst>
            </p:cNvPr>
            <p:cNvCxnSpPr/>
            <p:nvPr/>
          </p:nvCxnSpPr>
          <p:spPr bwMode="gray">
            <a:xfrm>
              <a:off x="330200" y="1550231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9E3C8BA3-7FE5-1CFE-E24E-9B9637DC14B8}"/>
              </a:ext>
            </a:extLst>
          </p:cNvPr>
          <p:cNvGrpSpPr/>
          <p:nvPr/>
        </p:nvGrpSpPr>
        <p:grpSpPr>
          <a:xfrm>
            <a:off x="3535445" y="2356079"/>
            <a:ext cx="1632752" cy="98281"/>
            <a:chOff x="3535445" y="2141020"/>
            <a:chExt cx="1632752" cy="98281"/>
          </a:xfrm>
        </p:grpSpPr>
        <p:sp>
          <p:nvSpPr>
            <p:cNvPr id="37" name="btfpLegendSquare149936">
              <a:extLst>
                <a:ext uri="{FF2B5EF4-FFF2-40B4-BE49-F238E27FC236}">
                  <a16:creationId xmlns:a16="http://schemas.microsoft.com/office/drawing/2014/main" id="{9AE52ADD-C630-22F4-FF50-ADCD9C875B62}"/>
                </a:ext>
              </a:extLst>
            </p:cNvPr>
            <p:cNvSpPr/>
            <p:nvPr/>
          </p:nvSpPr>
          <p:spPr bwMode="gray">
            <a:xfrm>
              <a:off x="3535445" y="2141020"/>
              <a:ext cx="108109" cy="98281"/>
            </a:xfrm>
            <a:prstGeom prst="rect">
              <a:avLst/>
            </a:prstGeom>
            <a:solidFill>
              <a:srgbClr val="83AC9A"/>
            </a:solidFill>
            <a:ln w="9525" cap="flat" cmpd="sng" algn="ctr">
              <a:solidFill>
                <a:srgbClr val="83AC9A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0181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000">
                  <a:solidFill>
                    <a:srgbClr val="333333"/>
                  </a:solidFill>
                </a:rPr>
                <a:t>Promoter</a:t>
              </a:r>
            </a:p>
          </p:txBody>
        </p:sp>
        <p:sp>
          <p:nvSpPr>
            <p:cNvPr id="38" name="btfpLegendSquare149936">
              <a:extLst>
                <a:ext uri="{FF2B5EF4-FFF2-40B4-BE49-F238E27FC236}">
                  <a16:creationId xmlns:a16="http://schemas.microsoft.com/office/drawing/2014/main" id="{52BC695F-B1D7-E10F-8D9F-E4A88672A6BC}"/>
                </a:ext>
              </a:extLst>
            </p:cNvPr>
            <p:cNvSpPr/>
            <p:nvPr/>
          </p:nvSpPr>
          <p:spPr bwMode="gray">
            <a:xfrm>
              <a:off x="4369961" y="2141020"/>
              <a:ext cx="108109" cy="98281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 cap="flat" cmpd="sng" algn="ctr">
              <a:solidFill>
                <a:schemeClr val="accent1">
                  <a:lumMod val="40000"/>
                  <a:lumOff val="60000"/>
                </a:schemeClr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0181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000">
                  <a:solidFill>
                    <a:srgbClr val="333333"/>
                  </a:solidFill>
                </a:rPr>
                <a:t>Neutral</a:t>
              </a:r>
            </a:p>
          </p:txBody>
        </p:sp>
        <p:sp>
          <p:nvSpPr>
            <p:cNvPr id="40" name="btfpLegendSquare149936">
              <a:extLst>
                <a:ext uri="{FF2B5EF4-FFF2-40B4-BE49-F238E27FC236}">
                  <a16:creationId xmlns:a16="http://schemas.microsoft.com/office/drawing/2014/main" id="{E0A538C4-F530-53CA-A183-FA996DAF928A}"/>
                </a:ext>
              </a:extLst>
            </p:cNvPr>
            <p:cNvSpPr/>
            <p:nvPr/>
          </p:nvSpPr>
          <p:spPr bwMode="gray">
            <a:xfrm>
              <a:off x="5060088" y="2141020"/>
              <a:ext cx="108109" cy="98281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 cap="flat" cmpd="sng" algn="ctr">
              <a:solidFill>
                <a:schemeClr val="accent1">
                  <a:lumMod val="40000"/>
                  <a:lumOff val="60000"/>
                </a:schemeClr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0181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000">
                  <a:solidFill>
                    <a:srgbClr val="333333"/>
                  </a:solidFill>
                </a:rPr>
                <a:t>Detractor</a:t>
              </a:r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C4F24FE9-6EFA-73AA-1733-C067B8BFEF91}"/>
              </a:ext>
            </a:extLst>
          </p:cNvPr>
          <p:cNvSpPr/>
          <p:nvPr/>
        </p:nvSpPr>
        <p:spPr bwMode="gray">
          <a:xfrm>
            <a:off x="8731775" y="955344"/>
            <a:ext cx="506565" cy="199530"/>
          </a:xfrm>
          <a:prstGeom prst="rect">
            <a:avLst/>
          </a:prstGeom>
          <a:solidFill>
            <a:srgbClr val="FAEEC3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>
                <a:solidFill>
                  <a:srgbClr val="000000"/>
                </a:solidFill>
              </a:rPr>
              <a:t>Low N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BBF6E5EC-8560-F0D5-C40D-CC6D7F009F0F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4827" y="2498590"/>
            <a:ext cx="232676" cy="23202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8B0E67C9-9050-56C9-612E-CBE200338225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88219" y="2495762"/>
            <a:ext cx="232677" cy="23202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663546DB-1F54-501C-6D58-52551F5AD74B}"/>
              </a:ext>
            </a:extLst>
          </p:cNvPr>
          <p:cNvGrpSpPr/>
          <p:nvPr/>
        </p:nvGrpSpPr>
        <p:grpSpPr>
          <a:xfrm>
            <a:off x="9638564" y="2356079"/>
            <a:ext cx="1632752" cy="98281"/>
            <a:chOff x="3535445" y="2141020"/>
            <a:chExt cx="1632752" cy="98281"/>
          </a:xfrm>
        </p:grpSpPr>
        <p:sp>
          <p:nvSpPr>
            <p:cNvPr id="9" name="btfpLegendSquare149936">
              <a:extLst>
                <a:ext uri="{FF2B5EF4-FFF2-40B4-BE49-F238E27FC236}">
                  <a16:creationId xmlns:a16="http://schemas.microsoft.com/office/drawing/2014/main" id="{1A6EDF2D-1C11-55EE-4973-360AE685A660}"/>
                </a:ext>
              </a:extLst>
            </p:cNvPr>
            <p:cNvSpPr/>
            <p:nvPr/>
          </p:nvSpPr>
          <p:spPr bwMode="gray">
            <a:xfrm>
              <a:off x="3535445" y="2141020"/>
              <a:ext cx="108109" cy="98281"/>
            </a:xfrm>
            <a:prstGeom prst="rect">
              <a:avLst/>
            </a:prstGeom>
            <a:solidFill>
              <a:srgbClr val="83AC9A"/>
            </a:solidFill>
            <a:ln w="9525" cap="flat" cmpd="sng" algn="ctr">
              <a:solidFill>
                <a:srgbClr val="83AC9A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0181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000">
                  <a:solidFill>
                    <a:srgbClr val="333333"/>
                  </a:solidFill>
                </a:rPr>
                <a:t>Promoter</a:t>
              </a:r>
            </a:p>
          </p:txBody>
        </p:sp>
        <p:sp>
          <p:nvSpPr>
            <p:cNvPr id="10" name="btfpLegendSquare149936">
              <a:extLst>
                <a:ext uri="{FF2B5EF4-FFF2-40B4-BE49-F238E27FC236}">
                  <a16:creationId xmlns:a16="http://schemas.microsoft.com/office/drawing/2014/main" id="{C0A0AA25-CF9B-BA2B-5A9D-5DCCA6F03986}"/>
                </a:ext>
              </a:extLst>
            </p:cNvPr>
            <p:cNvSpPr/>
            <p:nvPr/>
          </p:nvSpPr>
          <p:spPr bwMode="gray">
            <a:xfrm>
              <a:off x="4369961" y="2141020"/>
              <a:ext cx="108109" cy="98281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 cap="flat" cmpd="sng" algn="ctr">
              <a:solidFill>
                <a:schemeClr val="accent1">
                  <a:lumMod val="40000"/>
                  <a:lumOff val="60000"/>
                </a:schemeClr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0181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000">
                  <a:solidFill>
                    <a:srgbClr val="333333"/>
                  </a:solidFill>
                </a:rPr>
                <a:t>Neutral</a:t>
              </a:r>
            </a:p>
          </p:txBody>
        </p:sp>
        <p:sp>
          <p:nvSpPr>
            <p:cNvPr id="11" name="btfpLegendSquare149936">
              <a:extLst>
                <a:ext uri="{FF2B5EF4-FFF2-40B4-BE49-F238E27FC236}">
                  <a16:creationId xmlns:a16="http://schemas.microsoft.com/office/drawing/2014/main" id="{BF3AA1BF-D249-F925-7474-3520A26D4917}"/>
                </a:ext>
              </a:extLst>
            </p:cNvPr>
            <p:cNvSpPr/>
            <p:nvPr/>
          </p:nvSpPr>
          <p:spPr bwMode="gray">
            <a:xfrm>
              <a:off x="5060088" y="2141020"/>
              <a:ext cx="108109" cy="98281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 cap="flat" cmpd="sng" algn="ctr">
              <a:solidFill>
                <a:schemeClr val="accent1">
                  <a:lumMod val="40000"/>
                  <a:lumOff val="60000"/>
                </a:schemeClr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0181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000">
                  <a:solidFill>
                    <a:srgbClr val="333333"/>
                  </a:solidFill>
                </a:rPr>
                <a:t>Detractor</a:t>
              </a:r>
            </a:p>
          </p:txBody>
        </p:sp>
      </p:grpSp>
      <p:pic>
        <p:nvPicPr>
          <p:cNvPr id="32" name="Picture 31">
            <a:extLst>
              <a:ext uri="{FF2B5EF4-FFF2-40B4-BE49-F238E27FC236}">
                <a16:creationId xmlns:a16="http://schemas.microsoft.com/office/drawing/2014/main" id="{987F1279-1C36-F9EC-7B08-90902C61A192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1305" y="936034"/>
            <a:ext cx="281540" cy="280744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F803FB4B-C26B-BCCC-FAB7-4C86DF975F3B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2504" y="936033"/>
            <a:ext cx="281541" cy="280746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EA53A843-757C-1503-931D-9B44A2DAA661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3468" y="936034"/>
            <a:ext cx="281540" cy="280744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DB7188CC-CFC5-310E-0E34-6E42DA68CF98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6315" y="2495762"/>
            <a:ext cx="232677" cy="23202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712687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3" name="btfpColumnIndicatorGroup2">
            <a:extLst>
              <a:ext uri="{FF2B5EF4-FFF2-40B4-BE49-F238E27FC236}">
                <a16:creationId xmlns:a16="http://schemas.microsoft.com/office/drawing/2014/main" id="{D95911B5-5F7D-E9E1-6C32-44040A1950EB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51" name="btfpColumnGapBlocker413347">
              <a:extLst>
                <a:ext uri="{FF2B5EF4-FFF2-40B4-BE49-F238E27FC236}">
                  <a16:creationId xmlns:a16="http://schemas.microsoft.com/office/drawing/2014/main" id="{5D3C3CAE-B59E-33E1-74E3-7B8AED6F8A64}"/>
                </a:ext>
              </a:extLst>
            </p:cNvPr>
            <p:cNvSpPr/>
            <p:nvPr/>
          </p:nvSpPr>
          <p:spPr bwMode="gray">
            <a:xfrm>
              <a:off x="11861801" y="6926580"/>
              <a:ext cx="330199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49" name="btfpColumnGapBlocker209988">
              <a:extLst>
                <a:ext uri="{FF2B5EF4-FFF2-40B4-BE49-F238E27FC236}">
                  <a16:creationId xmlns:a16="http://schemas.microsoft.com/office/drawing/2014/main" id="{5FBF39A2-1360-B931-8518-81CAB7354BD9}"/>
                </a:ext>
              </a:extLst>
            </p:cNvPr>
            <p:cNvSpPr/>
            <p:nvPr/>
          </p:nvSpPr>
          <p:spPr bwMode="gray">
            <a:xfrm>
              <a:off x="10137208" y="6926580"/>
              <a:ext cx="540545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47" name="btfpColumnIndicator324808">
              <a:extLst>
                <a:ext uri="{FF2B5EF4-FFF2-40B4-BE49-F238E27FC236}">
                  <a16:creationId xmlns:a16="http://schemas.microsoft.com/office/drawing/2014/main" id="{323E955C-50DE-F37C-F881-38377448F242}"/>
                </a:ext>
              </a:extLst>
            </p:cNvPr>
            <p:cNvCxnSpPr/>
            <p:nvPr/>
          </p:nvCxnSpPr>
          <p:spPr bwMode="gray">
            <a:xfrm flipV="1">
              <a:off x="11861801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btfpColumnIndicator838648">
              <a:extLst>
                <a:ext uri="{FF2B5EF4-FFF2-40B4-BE49-F238E27FC236}">
                  <a16:creationId xmlns:a16="http://schemas.microsoft.com/office/drawing/2014/main" id="{D91FC2BF-0029-ED64-1CEB-526153A87EE5}"/>
                </a:ext>
              </a:extLst>
            </p:cNvPr>
            <p:cNvCxnSpPr/>
            <p:nvPr/>
          </p:nvCxnSpPr>
          <p:spPr bwMode="gray">
            <a:xfrm flipV="1">
              <a:off x="10677753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3" name="btfpColumnGapBlocker235244">
              <a:extLst>
                <a:ext uri="{FF2B5EF4-FFF2-40B4-BE49-F238E27FC236}">
                  <a16:creationId xmlns:a16="http://schemas.microsoft.com/office/drawing/2014/main" id="{3AB6012A-28D8-B469-C9DF-448305554F0B}"/>
                </a:ext>
              </a:extLst>
            </p:cNvPr>
            <p:cNvSpPr/>
            <p:nvPr/>
          </p:nvSpPr>
          <p:spPr bwMode="gray">
            <a:xfrm>
              <a:off x="8412616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41" name="btfpColumnIndicator468300">
              <a:extLst>
                <a:ext uri="{FF2B5EF4-FFF2-40B4-BE49-F238E27FC236}">
                  <a16:creationId xmlns:a16="http://schemas.microsoft.com/office/drawing/2014/main" id="{19792EFA-9EC8-815A-92A1-88DE1A264C92}"/>
                </a:ext>
              </a:extLst>
            </p:cNvPr>
            <p:cNvCxnSpPr/>
            <p:nvPr/>
          </p:nvCxnSpPr>
          <p:spPr bwMode="gray">
            <a:xfrm flipV="1">
              <a:off x="1013720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btfpColumnIndicator104530">
              <a:extLst>
                <a:ext uri="{FF2B5EF4-FFF2-40B4-BE49-F238E27FC236}">
                  <a16:creationId xmlns:a16="http://schemas.microsoft.com/office/drawing/2014/main" id="{59CD7CD2-CF1F-5EE3-B8E4-A9641090C4CC}"/>
                </a:ext>
              </a:extLst>
            </p:cNvPr>
            <p:cNvCxnSpPr/>
            <p:nvPr/>
          </p:nvCxnSpPr>
          <p:spPr bwMode="gray">
            <a:xfrm flipV="1">
              <a:off x="895316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7" name="btfpColumnGapBlocker944988">
              <a:extLst>
                <a:ext uri="{FF2B5EF4-FFF2-40B4-BE49-F238E27FC236}">
                  <a16:creationId xmlns:a16="http://schemas.microsoft.com/office/drawing/2014/main" id="{C12E214E-E997-DA3E-5F18-491061D2A0BC}"/>
                </a:ext>
              </a:extLst>
            </p:cNvPr>
            <p:cNvSpPr/>
            <p:nvPr/>
          </p:nvSpPr>
          <p:spPr bwMode="gray">
            <a:xfrm>
              <a:off x="668802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35" name="btfpColumnIndicator772870">
              <a:extLst>
                <a:ext uri="{FF2B5EF4-FFF2-40B4-BE49-F238E27FC236}">
                  <a16:creationId xmlns:a16="http://schemas.microsoft.com/office/drawing/2014/main" id="{DC2380CF-9337-5A26-E996-AD97F8C6958D}"/>
                </a:ext>
              </a:extLst>
            </p:cNvPr>
            <p:cNvCxnSpPr/>
            <p:nvPr/>
          </p:nvCxnSpPr>
          <p:spPr bwMode="gray">
            <a:xfrm flipV="1">
              <a:off x="841261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btfpColumnIndicator221577">
              <a:extLst>
                <a:ext uri="{FF2B5EF4-FFF2-40B4-BE49-F238E27FC236}">
                  <a16:creationId xmlns:a16="http://schemas.microsoft.com/office/drawing/2014/main" id="{913BCF43-5FCF-52F8-C8B4-CE697F95F6BB}"/>
                </a:ext>
              </a:extLst>
            </p:cNvPr>
            <p:cNvCxnSpPr/>
            <p:nvPr/>
          </p:nvCxnSpPr>
          <p:spPr bwMode="gray">
            <a:xfrm flipV="1">
              <a:off x="722856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1" name="btfpColumnGapBlocker219660">
              <a:extLst>
                <a:ext uri="{FF2B5EF4-FFF2-40B4-BE49-F238E27FC236}">
                  <a16:creationId xmlns:a16="http://schemas.microsoft.com/office/drawing/2014/main" id="{7795E094-47A6-1D9C-056A-49FE3AC3114C}"/>
                </a:ext>
              </a:extLst>
            </p:cNvPr>
            <p:cNvSpPr/>
            <p:nvPr/>
          </p:nvSpPr>
          <p:spPr bwMode="gray">
            <a:xfrm>
              <a:off x="496343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29" name="btfpColumnIndicator608904">
              <a:extLst>
                <a:ext uri="{FF2B5EF4-FFF2-40B4-BE49-F238E27FC236}">
                  <a16:creationId xmlns:a16="http://schemas.microsoft.com/office/drawing/2014/main" id="{B887AF71-3CC7-2393-533A-6574FF7BA2CF}"/>
                </a:ext>
              </a:extLst>
            </p:cNvPr>
            <p:cNvCxnSpPr/>
            <p:nvPr/>
          </p:nvCxnSpPr>
          <p:spPr bwMode="gray">
            <a:xfrm flipV="1">
              <a:off x="668802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btfpColumnIndicator348420">
              <a:extLst>
                <a:ext uri="{FF2B5EF4-FFF2-40B4-BE49-F238E27FC236}">
                  <a16:creationId xmlns:a16="http://schemas.microsoft.com/office/drawing/2014/main" id="{A1B8227D-90C2-28C2-045C-E14AE12FD0FF}"/>
                </a:ext>
              </a:extLst>
            </p:cNvPr>
            <p:cNvCxnSpPr/>
            <p:nvPr/>
          </p:nvCxnSpPr>
          <p:spPr bwMode="gray">
            <a:xfrm flipV="1">
              <a:off x="550397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5" name="btfpColumnGapBlocker130323">
              <a:extLst>
                <a:ext uri="{FF2B5EF4-FFF2-40B4-BE49-F238E27FC236}">
                  <a16:creationId xmlns:a16="http://schemas.microsoft.com/office/drawing/2014/main" id="{E29A1B48-738D-18E8-7562-7B4BAB12A06A}"/>
                </a:ext>
              </a:extLst>
            </p:cNvPr>
            <p:cNvSpPr/>
            <p:nvPr/>
          </p:nvSpPr>
          <p:spPr bwMode="gray">
            <a:xfrm>
              <a:off x="3238840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23" name="btfpColumnIndicator914352">
              <a:extLst>
                <a:ext uri="{FF2B5EF4-FFF2-40B4-BE49-F238E27FC236}">
                  <a16:creationId xmlns:a16="http://schemas.microsoft.com/office/drawing/2014/main" id="{4DF42451-6846-0DA8-C767-058187FD08D5}"/>
                </a:ext>
              </a:extLst>
            </p:cNvPr>
            <p:cNvCxnSpPr/>
            <p:nvPr/>
          </p:nvCxnSpPr>
          <p:spPr bwMode="gray">
            <a:xfrm flipV="1">
              <a:off x="496343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btfpColumnIndicator981079">
              <a:extLst>
                <a:ext uri="{FF2B5EF4-FFF2-40B4-BE49-F238E27FC236}">
                  <a16:creationId xmlns:a16="http://schemas.microsoft.com/office/drawing/2014/main" id="{84D06D7F-78F8-2AA8-FCF6-BAB3FED042BE}"/>
                </a:ext>
              </a:extLst>
            </p:cNvPr>
            <p:cNvCxnSpPr/>
            <p:nvPr/>
          </p:nvCxnSpPr>
          <p:spPr bwMode="gray">
            <a:xfrm flipV="1">
              <a:off x="377938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9" name="btfpColumnGapBlocker712987">
              <a:extLst>
                <a:ext uri="{FF2B5EF4-FFF2-40B4-BE49-F238E27FC236}">
                  <a16:creationId xmlns:a16="http://schemas.microsoft.com/office/drawing/2014/main" id="{F5DE73A2-8E00-9E50-0AB6-B21904CC920B}"/>
                </a:ext>
              </a:extLst>
            </p:cNvPr>
            <p:cNvSpPr/>
            <p:nvPr/>
          </p:nvSpPr>
          <p:spPr bwMode="gray">
            <a:xfrm>
              <a:off x="151424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7" name="btfpColumnIndicator576732">
              <a:extLst>
                <a:ext uri="{FF2B5EF4-FFF2-40B4-BE49-F238E27FC236}">
                  <a16:creationId xmlns:a16="http://schemas.microsoft.com/office/drawing/2014/main" id="{C4445755-E955-54F2-AFB4-A910FE74CE44}"/>
                </a:ext>
              </a:extLst>
            </p:cNvPr>
            <p:cNvCxnSpPr/>
            <p:nvPr/>
          </p:nvCxnSpPr>
          <p:spPr bwMode="gray">
            <a:xfrm flipV="1">
              <a:off x="323884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btfpColumnIndicator696835">
              <a:extLst>
                <a:ext uri="{FF2B5EF4-FFF2-40B4-BE49-F238E27FC236}">
                  <a16:creationId xmlns:a16="http://schemas.microsoft.com/office/drawing/2014/main" id="{B9F8D5A4-1780-5ECF-97C2-F0737ED3DD60}"/>
                </a:ext>
              </a:extLst>
            </p:cNvPr>
            <p:cNvCxnSpPr/>
            <p:nvPr/>
          </p:nvCxnSpPr>
          <p:spPr bwMode="gray">
            <a:xfrm flipV="1">
              <a:off x="205479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3" name="btfpColumnGapBlocker905158">
              <a:extLst>
                <a:ext uri="{FF2B5EF4-FFF2-40B4-BE49-F238E27FC236}">
                  <a16:creationId xmlns:a16="http://schemas.microsoft.com/office/drawing/2014/main" id="{68C1C5BB-EAC7-5E7E-DEC9-1191C5183543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1" name="btfpColumnIndicator907701">
              <a:extLst>
                <a:ext uri="{FF2B5EF4-FFF2-40B4-BE49-F238E27FC236}">
                  <a16:creationId xmlns:a16="http://schemas.microsoft.com/office/drawing/2014/main" id="{D22FA2CA-9E6C-5B42-5B98-33B491A494CB}"/>
                </a:ext>
              </a:extLst>
            </p:cNvPr>
            <p:cNvCxnSpPr/>
            <p:nvPr/>
          </p:nvCxnSpPr>
          <p:spPr bwMode="gray">
            <a:xfrm flipV="1">
              <a:off x="151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btfpColumnIndicator353171">
              <a:extLst>
                <a:ext uri="{FF2B5EF4-FFF2-40B4-BE49-F238E27FC236}">
                  <a16:creationId xmlns:a16="http://schemas.microsoft.com/office/drawing/2014/main" id="{F0CE9336-9DEA-F669-F048-1453E536BC9E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2" name="btfpColumnIndicatorGroup1">
            <a:extLst>
              <a:ext uri="{FF2B5EF4-FFF2-40B4-BE49-F238E27FC236}">
                <a16:creationId xmlns:a16="http://schemas.microsoft.com/office/drawing/2014/main" id="{9776D206-5119-996D-75C7-AE81199F0360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50" name="btfpColumnGapBlocker829417">
              <a:extLst>
                <a:ext uri="{FF2B5EF4-FFF2-40B4-BE49-F238E27FC236}">
                  <a16:creationId xmlns:a16="http://schemas.microsoft.com/office/drawing/2014/main" id="{0B07E294-52D3-316E-D724-A6A3EBEB96CF}"/>
                </a:ext>
              </a:extLst>
            </p:cNvPr>
            <p:cNvSpPr/>
            <p:nvPr/>
          </p:nvSpPr>
          <p:spPr bwMode="gray">
            <a:xfrm>
              <a:off x="11861801" y="-205740"/>
              <a:ext cx="330199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48" name="btfpColumnGapBlocker124078">
              <a:extLst>
                <a:ext uri="{FF2B5EF4-FFF2-40B4-BE49-F238E27FC236}">
                  <a16:creationId xmlns:a16="http://schemas.microsoft.com/office/drawing/2014/main" id="{0F9D454A-5E41-0ABB-A5B3-3ABC6B078C97}"/>
                </a:ext>
              </a:extLst>
            </p:cNvPr>
            <p:cNvSpPr/>
            <p:nvPr/>
          </p:nvSpPr>
          <p:spPr bwMode="gray">
            <a:xfrm>
              <a:off x="10137208" y="-205740"/>
              <a:ext cx="540545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46" name="btfpColumnIndicator253287">
              <a:extLst>
                <a:ext uri="{FF2B5EF4-FFF2-40B4-BE49-F238E27FC236}">
                  <a16:creationId xmlns:a16="http://schemas.microsoft.com/office/drawing/2014/main" id="{251048E8-CFC7-4706-278C-7F76FCBA7FB1}"/>
                </a:ext>
              </a:extLst>
            </p:cNvPr>
            <p:cNvCxnSpPr/>
            <p:nvPr/>
          </p:nvCxnSpPr>
          <p:spPr bwMode="gray">
            <a:xfrm flipV="1">
              <a:off x="11861801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btfpColumnIndicator981328">
              <a:extLst>
                <a:ext uri="{FF2B5EF4-FFF2-40B4-BE49-F238E27FC236}">
                  <a16:creationId xmlns:a16="http://schemas.microsoft.com/office/drawing/2014/main" id="{AB643EBE-456A-88E8-2DE4-FE85C1294A1E}"/>
                </a:ext>
              </a:extLst>
            </p:cNvPr>
            <p:cNvCxnSpPr/>
            <p:nvPr/>
          </p:nvCxnSpPr>
          <p:spPr bwMode="gray">
            <a:xfrm flipV="1">
              <a:off x="10677753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2" name="btfpColumnGapBlocker739924">
              <a:extLst>
                <a:ext uri="{FF2B5EF4-FFF2-40B4-BE49-F238E27FC236}">
                  <a16:creationId xmlns:a16="http://schemas.microsoft.com/office/drawing/2014/main" id="{12872C1B-EA6C-C486-4A11-9205D6350C3A}"/>
                </a:ext>
              </a:extLst>
            </p:cNvPr>
            <p:cNvSpPr/>
            <p:nvPr/>
          </p:nvSpPr>
          <p:spPr bwMode="gray">
            <a:xfrm>
              <a:off x="8412616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40" name="btfpColumnIndicator233530">
              <a:extLst>
                <a:ext uri="{FF2B5EF4-FFF2-40B4-BE49-F238E27FC236}">
                  <a16:creationId xmlns:a16="http://schemas.microsoft.com/office/drawing/2014/main" id="{F73F4FBA-F856-C201-1DAA-5E0C81372C79}"/>
                </a:ext>
              </a:extLst>
            </p:cNvPr>
            <p:cNvCxnSpPr/>
            <p:nvPr/>
          </p:nvCxnSpPr>
          <p:spPr bwMode="gray">
            <a:xfrm flipV="1">
              <a:off x="1013720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btfpColumnIndicator699835">
              <a:extLst>
                <a:ext uri="{FF2B5EF4-FFF2-40B4-BE49-F238E27FC236}">
                  <a16:creationId xmlns:a16="http://schemas.microsoft.com/office/drawing/2014/main" id="{0C1D418A-7EE8-4434-4635-8C3DF084EEAF}"/>
                </a:ext>
              </a:extLst>
            </p:cNvPr>
            <p:cNvCxnSpPr/>
            <p:nvPr/>
          </p:nvCxnSpPr>
          <p:spPr bwMode="gray">
            <a:xfrm flipV="1">
              <a:off x="895316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6" name="btfpColumnGapBlocker903670">
              <a:extLst>
                <a:ext uri="{FF2B5EF4-FFF2-40B4-BE49-F238E27FC236}">
                  <a16:creationId xmlns:a16="http://schemas.microsoft.com/office/drawing/2014/main" id="{4C083389-A9C8-6045-73EE-42AEF0E59BF1}"/>
                </a:ext>
              </a:extLst>
            </p:cNvPr>
            <p:cNvSpPr/>
            <p:nvPr/>
          </p:nvSpPr>
          <p:spPr bwMode="gray">
            <a:xfrm>
              <a:off x="668802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34" name="btfpColumnIndicator421714">
              <a:extLst>
                <a:ext uri="{FF2B5EF4-FFF2-40B4-BE49-F238E27FC236}">
                  <a16:creationId xmlns:a16="http://schemas.microsoft.com/office/drawing/2014/main" id="{D9494481-C764-79F8-E5F8-4023985C0630}"/>
                </a:ext>
              </a:extLst>
            </p:cNvPr>
            <p:cNvCxnSpPr/>
            <p:nvPr/>
          </p:nvCxnSpPr>
          <p:spPr bwMode="gray">
            <a:xfrm flipV="1">
              <a:off x="841261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btfpColumnIndicator506643">
              <a:extLst>
                <a:ext uri="{FF2B5EF4-FFF2-40B4-BE49-F238E27FC236}">
                  <a16:creationId xmlns:a16="http://schemas.microsoft.com/office/drawing/2014/main" id="{601ABDC9-2990-2CD8-2579-1500F5BCB87A}"/>
                </a:ext>
              </a:extLst>
            </p:cNvPr>
            <p:cNvCxnSpPr/>
            <p:nvPr/>
          </p:nvCxnSpPr>
          <p:spPr bwMode="gray">
            <a:xfrm flipV="1">
              <a:off x="722856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0" name="btfpColumnGapBlocker250321">
              <a:extLst>
                <a:ext uri="{FF2B5EF4-FFF2-40B4-BE49-F238E27FC236}">
                  <a16:creationId xmlns:a16="http://schemas.microsoft.com/office/drawing/2014/main" id="{2E3626FB-FBBF-822C-9ED6-A6C3B1625CC8}"/>
                </a:ext>
              </a:extLst>
            </p:cNvPr>
            <p:cNvSpPr/>
            <p:nvPr/>
          </p:nvSpPr>
          <p:spPr bwMode="gray">
            <a:xfrm>
              <a:off x="496343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28" name="btfpColumnIndicator309130">
              <a:extLst>
                <a:ext uri="{FF2B5EF4-FFF2-40B4-BE49-F238E27FC236}">
                  <a16:creationId xmlns:a16="http://schemas.microsoft.com/office/drawing/2014/main" id="{6B96A8C6-9666-F04C-AD2D-F3CA2D9868EB}"/>
                </a:ext>
              </a:extLst>
            </p:cNvPr>
            <p:cNvCxnSpPr/>
            <p:nvPr/>
          </p:nvCxnSpPr>
          <p:spPr bwMode="gray">
            <a:xfrm flipV="1">
              <a:off x="668802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btfpColumnIndicator896913">
              <a:extLst>
                <a:ext uri="{FF2B5EF4-FFF2-40B4-BE49-F238E27FC236}">
                  <a16:creationId xmlns:a16="http://schemas.microsoft.com/office/drawing/2014/main" id="{DCC582C5-0A96-E536-8205-AB7033298D04}"/>
                </a:ext>
              </a:extLst>
            </p:cNvPr>
            <p:cNvCxnSpPr/>
            <p:nvPr/>
          </p:nvCxnSpPr>
          <p:spPr bwMode="gray">
            <a:xfrm flipV="1">
              <a:off x="550397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4" name="btfpColumnGapBlocker920739">
              <a:extLst>
                <a:ext uri="{FF2B5EF4-FFF2-40B4-BE49-F238E27FC236}">
                  <a16:creationId xmlns:a16="http://schemas.microsoft.com/office/drawing/2014/main" id="{89FA6FF7-04E5-F3D1-5129-5EE634DA6FF6}"/>
                </a:ext>
              </a:extLst>
            </p:cNvPr>
            <p:cNvSpPr/>
            <p:nvPr/>
          </p:nvSpPr>
          <p:spPr bwMode="gray">
            <a:xfrm>
              <a:off x="3238840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22" name="btfpColumnIndicator141663">
              <a:extLst>
                <a:ext uri="{FF2B5EF4-FFF2-40B4-BE49-F238E27FC236}">
                  <a16:creationId xmlns:a16="http://schemas.microsoft.com/office/drawing/2014/main" id="{1E726299-B093-C0E3-A1D1-F10FE6A937F6}"/>
                </a:ext>
              </a:extLst>
            </p:cNvPr>
            <p:cNvCxnSpPr/>
            <p:nvPr/>
          </p:nvCxnSpPr>
          <p:spPr bwMode="gray">
            <a:xfrm flipV="1">
              <a:off x="496343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btfpColumnIndicator235523">
              <a:extLst>
                <a:ext uri="{FF2B5EF4-FFF2-40B4-BE49-F238E27FC236}">
                  <a16:creationId xmlns:a16="http://schemas.microsoft.com/office/drawing/2014/main" id="{2358C271-45E6-2B16-90EB-70B34626B8B1}"/>
                </a:ext>
              </a:extLst>
            </p:cNvPr>
            <p:cNvCxnSpPr/>
            <p:nvPr/>
          </p:nvCxnSpPr>
          <p:spPr bwMode="gray">
            <a:xfrm flipV="1">
              <a:off x="377938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8" name="btfpColumnGapBlocker766600">
              <a:extLst>
                <a:ext uri="{FF2B5EF4-FFF2-40B4-BE49-F238E27FC236}">
                  <a16:creationId xmlns:a16="http://schemas.microsoft.com/office/drawing/2014/main" id="{E01B098B-F4F2-CB3A-2855-CE3FEF5A8DEA}"/>
                </a:ext>
              </a:extLst>
            </p:cNvPr>
            <p:cNvSpPr/>
            <p:nvPr/>
          </p:nvSpPr>
          <p:spPr bwMode="gray">
            <a:xfrm>
              <a:off x="151424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6" name="btfpColumnIndicator292342">
              <a:extLst>
                <a:ext uri="{FF2B5EF4-FFF2-40B4-BE49-F238E27FC236}">
                  <a16:creationId xmlns:a16="http://schemas.microsoft.com/office/drawing/2014/main" id="{5128B7DF-FA16-7618-DD8F-E0739C00C5D3}"/>
                </a:ext>
              </a:extLst>
            </p:cNvPr>
            <p:cNvCxnSpPr/>
            <p:nvPr/>
          </p:nvCxnSpPr>
          <p:spPr bwMode="gray">
            <a:xfrm flipV="1">
              <a:off x="323884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btfpColumnIndicator760583">
              <a:extLst>
                <a:ext uri="{FF2B5EF4-FFF2-40B4-BE49-F238E27FC236}">
                  <a16:creationId xmlns:a16="http://schemas.microsoft.com/office/drawing/2014/main" id="{C585EB0E-8684-2C47-E785-4BE8135C857C}"/>
                </a:ext>
              </a:extLst>
            </p:cNvPr>
            <p:cNvCxnSpPr/>
            <p:nvPr/>
          </p:nvCxnSpPr>
          <p:spPr bwMode="gray">
            <a:xfrm flipV="1">
              <a:off x="205479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2" name="btfpColumnGapBlocker402875">
              <a:extLst>
                <a:ext uri="{FF2B5EF4-FFF2-40B4-BE49-F238E27FC236}">
                  <a16:creationId xmlns:a16="http://schemas.microsoft.com/office/drawing/2014/main" id="{5A8881C5-F62F-C9B5-EF06-8F3B0FDBBCC7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0" name="btfpColumnIndicator437329">
              <a:extLst>
                <a:ext uri="{FF2B5EF4-FFF2-40B4-BE49-F238E27FC236}">
                  <a16:creationId xmlns:a16="http://schemas.microsoft.com/office/drawing/2014/main" id="{4C982FFC-32F4-B5F1-12DD-83D1043F3401}"/>
                </a:ext>
              </a:extLst>
            </p:cNvPr>
            <p:cNvCxnSpPr/>
            <p:nvPr/>
          </p:nvCxnSpPr>
          <p:spPr bwMode="gray">
            <a:xfrm flipV="1">
              <a:off x="151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btfpColumnIndicator272302">
              <a:extLst>
                <a:ext uri="{FF2B5EF4-FFF2-40B4-BE49-F238E27FC236}">
                  <a16:creationId xmlns:a16="http://schemas.microsoft.com/office/drawing/2014/main" id="{87FEC7A1-D971-4328-DB7F-FB0D8CF4852C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1C870BAE-1DB0-43ED-75B6-F26F00D703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5241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606" imgH="608" progId="TCLayout.ActiveDocument.1">
                  <p:embed/>
                </p:oleObj>
              </mc:Choice>
              <mc:Fallback>
                <p:oleObj name="think-cell Slide" r:id="rId21" imgW="606" imgH="608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870BAE-1DB0-43ED-75B6-F26F00D703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304339B-6D1B-4CFD-A6B0-2F67A92A6A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-10423"/>
            <a:ext cx="11522075" cy="876687"/>
          </a:xfrm>
        </p:spPr>
        <p:txBody>
          <a:bodyPr vert="horz"/>
          <a:lstStyle/>
          <a:p>
            <a:r>
              <a:rPr lang="en-US" b="1" dirty="0"/>
              <a:t>Customer sentiment |</a:t>
            </a:r>
            <a:r>
              <a:rPr lang="en-US" dirty="0"/>
              <a:t> Target customer feedback slightly lags other vendors; customers emphasize comprehensive functionality, but note a “clunky” interface</a:t>
            </a:r>
          </a:p>
        </p:txBody>
      </p:sp>
      <p:grpSp>
        <p:nvGrpSpPr>
          <p:cNvPr id="3" name="btfpStatusSticker830826">
            <a:extLst>
              <a:ext uri="{FF2B5EF4-FFF2-40B4-BE49-F238E27FC236}">
                <a16:creationId xmlns:a16="http://schemas.microsoft.com/office/drawing/2014/main" id="{13F94254-A4CC-43EC-8C64-6C88C441427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100356" y="955344"/>
            <a:ext cx="1761444" cy="235611"/>
            <a:chOff x="10100356" y="955344"/>
            <a:chExt cx="1761444" cy="235611"/>
          </a:xfrm>
        </p:grpSpPr>
        <p:sp>
          <p:nvSpPr>
            <p:cNvPr id="4" name="btfpStatusStickerText830826">
              <a:extLst>
                <a:ext uri="{FF2B5EF4-FFF2-40B4-BE49-F238E27FC236}">
                  <a16:creationId xmlns:a16="http://schemas.microsoft.com/office/drawing/2014/main" id="{F9D7924A-439A-427B-B49A-B5756D95C26B}"/>
                </a:ext>
              </a:extLst>
            </p:cNvPr>
            <p:cNvSpPr txBox="1"/>
            <p:nvPr/>
          </p:nvSpPr>
          <p:spPr bwMode="gray">
            <a:xfrm>
              <a:off x="10100356" y="955344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Preliminary</a:t>
              </a:r>
            </a:p>
          </p:txBody>
        </p:sp>
        <p:cxnSp>
          <p:nvCxnSpPr>
            <p:cNvPr id="5" name="btfpStatusStickerLine830826">
              <a:extLst>
                <a:ext uri="{FF2B5EF4-FFF2-40B4-BE49-F238E27FC236}">
                  <a16:creationId xmlns:a16="http://schemas.microsoft.com/office/drawing/2014/main" id="{BBD341D8-5991-4C22-89EF-748D2AA2DA90}"/>
                </a:ext>
              </a:extLst>
            </p:cNvPr>
            <p:cNvCxnSpPr/>
            <p:nvPr/>
          </p:nvCxnSpPr>
          <p:spPr bwMode="gray">
            <a:xfrm rot="720000">
              <a:off x="10100356" y="955344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btfpColumnHeaderBox294814">
            <a:extLst>
              <a:ext uri="{FF2B5EF4-FFF2-40B4-BE49-F238E27FC236}">
                <a16:creationId xmlns:a16="http://schemas.microsoft.com/office/drawing/2014/main" id="{863CBC3C-91C4-4E65-A3A5-FB63CEFE4EB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380327" y="1266055"/>
            <a:ext cx="2858513" cy="503663"/>
            <a:chOff x="330200" y="575626"/>
            <a:chExt cx="3483504" cy="503663"/>
          </a:xfrm>
        </p:grpSpPr>
        <p:sp>
          <p:nvSpPr>
            <p:cNvPr id="32" name="btfpColumnHeaderBoxText294814">
              <a:extLst>
                <a:ext uri="{FF2B5EF4-FFF2-40B4-BE49-F238E27FC236}">
                  <a16:creationId xmlns:a16="http://schemas.microsoft.com/office/drawing/2014/main" id="{535DB04F-E89B-4C5B-88A1-E174DBF42F46}"/>
                </a:ext>
              </a:extLst>
            </p:cNvPr>
            <p:cNvSpPr txBox="1"/>
            <p:nvPr/>
          </p:nvSpPr>
          <p:spPr bwMode="gray">
            <a:xfrm>
              <a:off x="330200" y="575626"/>
              <a:ext cx="3483504" cy="49879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 dirty="0"/>
                <a:t>Target advocacy slightly lags other fitness software vendors</a:t>
              </a:r>
            </a:p>
          </p:txBody>
        </p:sp>
        <p:cxnSp>
          <p:nvCxnSpPr>
            <p:cNvPr id="33" name="btfpColumnHeaderBoxLine294814">
              <a:extLst>
                <a:ext uri="{FF2B5EF4-FFF2-40B4-BE49-F238E27FC236}">
                  <a16:creationId xmlns:a16="http://schemas.microsoft.com/office/drawing/2014/main" id="{68FC38ED-CDF1-4C8F-8FF4-820A1B4F5E08}"/>
                </a:ext>
              </a:extLst>
            </p:cNvPr>
            <p:cNvCxnSpPr/>
            <p:nvPr/>
          </p:nvCxnSpPr>
          <p:spPr bwMode="gray">
            <a:xfrm>
              <a:off x="330200" y="1079289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btfpColumnHeaderBox745172">
            <a:extLst>
              <a:ext uri="{FF2B5EF4-FFF2-40B4-BE49-F238E27FC236}">
                <a16:creationId xmlns:a16="http://schemas.microsoft.com/office/drawing/2014/main" id="{B4303B39-A3B7-426C-92B4-677E047EA11B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3779385" y="1279369"/>
            <a:ext cx="4633232" cy="498792"/>
            <a:chOff x="-552791" y="1134259"/>
            <a:chExt cx="12414591" cy="498792"/>
          </a:xfrm>
        </p:grpSpPr>
        <p:sp>
          <p:nvSpPr>
            <p:cNvPr id="24" name="btfpColumnHeaderBoxText745172">
              <a:extLst>
                <a:ext uri="{FF2B5EF4-FFF2-40B4-BE49-F238E27FC236}">
                  <a16:creationId xmlns:a16="http://schemas.microsoft.com/office/drawing/2014/main" id="{7FC4BAE0-E350-4CA0-9A42-306C330B68DA}"/>
                </a:ext>
              </a:extLst>
            </p:cNvPr>
            <p:cNvSpPr txBox="1"/>
            <p:nvPr/>
          </p:nvSpPr>
          <p:spPr bwMode="gray">
            <a:xfrm>
              <a:off x="-552791" y="1134259"/>
              <a:ext cx="12414591" cy="49879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/>
                <a:t>Promoters cite broad features &amp; analytics; detractors cite clunky UI, poor innovation &amp; customer service</a:t>
              </a:r>
            </a:p>
          </p:txBody>
        </p:sp>
        <p:cxnSp>
          <p:nvCxnSpPr>
            <p:cNvPr id="25" name="btfpColumnHeaderBoxLine745172">
              <a:extLst>
                <a:ext uri="{FF2B5EF4-FFF2-40B4-BE49-F238E27FC236}">
                  <a16:creationId xmlns:a16="http://schemas.microsoft.com/office/drawing/2014/main" id="{9F36EE38-8AA6-4776-88C4-97AD06431257}"/>
                </a:ext>
              </a:extLst>
            </p:cNvPr>
            <p:cNvCxnSpPr/>
            <p:nvPr/>
          </p:nvCxnSpPr>
          <p:spPr bwMode="gray">
            <a:xfrm>
              <a:off x="-552791" y="1633051"/>
              <a:ext cx="12414591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5247F591-6C3C-F0FB-D267-61068E21D960}"/>
              </a:ext>
            </a:extLst>
          </p:cNvPr>
          <p:cNvSpPr/>
          <p:nvPr/>
        </p:nvSpPr>
        <p:spPr bwMode="gray">
          <a:xfrm>
            <a:off x="3782148" y="1918913"/>
            <a:ext cx="855804" cy="2066930"/>
          </a:xfrm>
          <a:prstGeom prst="rect">
            <a:avLst/>
          </a:prstGeom>
          <a:solidFill>
            <a:srgbClr val="507867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00" b="1">
                <a:solidFill>
                  <a:srgbClr val="FFFFFF"/>
                </a:solidFill>
              </a:rPr>
              <a:t>Promoter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AE2825E-3B28-0F1A-D005-9D7B53D9C59B}"/>
              </a:ext>
            </a:extLst>
          </p:cNvPr>
          <p:cNvSpPr/>
          <p:nvPr/>
        </p:nvSpPr>
        <p:spPr bwMode="gray">
          <a:xfrm>
            <a:off x="3773346" y="4064202"/>
            <a:ext cx="855804" cy="711412"/>
          </a:xfrm>
          <a:prstGeom prst="rect">
            <a:avLst/>
          </a:prstGeom>
          <a:solidFill>
            <a:srgbClr val="D6D6D6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00" b="1">
                <a:solidFill>
                  <a:srgbClr val="000000"/>
                </a:solidFill>
              </a:rPr>
              <a:t>Neutra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25D4554-229D-2314-71E2-F92C49AD367B}"/>
              </a:ext>
            </a:extLst>
          </p:cNvPr>
          <p:cNvSpPr/>
          <p:nvPr/>
        </p:nvSpPr>
        <p:spPr bwMode="gray">
          <a:xfrm>
            <a:off x="3782148" y="4853973"/>
            <a:ext cx="855804" cy="1532857"/>
          </a:xfrm>
          <a:prstGeom prst="rect">
            <a:avLst/>
          </a:prstGeom>
          <a:solidFill>
            <a:srgbClr val="FF9999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00" b="1">
                <a:solidFill>
                  <a:schemeClr val="tx1"/>
                </a:solidFill>
              </a:rPr>
              <a:t>Detractors</a:t>
            </a:r>
          </a:p>
        </p:txBody>
      </p:sp>
      <p:grpSp>
        <p:nvGrpSpPr>
          <p:cNvPr id="42" name="btfpRunningAgenda2Level683009">
            <a:extLst>
              <a:ext uri="{FF2B5EF4-FFF2-40B4-BE49-F238E27FC236}">
                <a16:creationId xmlns:a16="http://schemas.microsoft.com/office/drawing/2014/main" id="{6CF9F1BF-1B81-085F-3604-3717D2AFCD33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0" y="944429"/>
            <a:ext cx="5502911" cy="257442"/>
            <a:chOff x="0" y="876300"/>
            <a:chExt cx="5502911" cy="257442"/>
          </a:xfrm>
        </p:grpSpPr>
        <p:sp>
          <p:nvSpPr>
            <p:cNvPr id="39" name="btfpRunningAgenda2LevelBarLeft683009">
              <a:extLst>
                <a:ext uri="{FF2B5EF4-FFF2-40B4-BE49-F238E27FC236}">
                  <a16:creationId xmlns:a16="http://schemas.microsoft.com/office/drawing/2014/main" id="{328C65C5-0841-610C-0D02-21C329A09019}"/>
                </a:ext>
              </a:extLst>
            </p:cNvPr>
            <p:cNvSpPr/>
            <p:nvPr/>
          </p:nvSpPr>
          <p:spPr bwMode="gray">
            <a:xfrm>
              <a:off x="0" y="876300"/>
              <a:ext cx="3556835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28734 w 1128734"/>
                <a:gd name="connsiteY0" fmla="*/ 0 h 257442"/>
                <a:gd name="connsiteX1" fmla="*/ 896080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314682 w 1314682"/>
                <a:gd name="connsiteY0" fmla="*/ 0 h 257442"/>
                <a:gd name="connsiteX1" fmla="*/ 1074013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474983 w 1474983"/>
                <a:gd name="connsiteY0" fmla="*/ 0 h 257442"/>
                <a:gd name="connsiteX1" fmla="*/ 1259961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635283 w 1635283"/>
                <a:gd name="connsiteY0" fmla="*/ 0 h 257442"/>
                <a:gd name="connsiteX1" fmla="*/ 14202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787569 w 1787569"/>
                <a:gd name="connsiteY0" fmla="*/ 0 h 257442"/>
                <a:gd name="connsiteX1" fmla="*/ 1580562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888557 w 1888557"/>
                <a:gd name="connsiteY0" fmla="*/ 0 h 257442"/>
                <a:gd name="connsiteX1" fmla="*/ 1732848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2040843 w 2040843"/>
                <a:gd name="connsiteY0" fmla="*/ 0 h 257442"/>
                <a:gd name="connsiteX1" fmla="*/ 1833836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141832 w 2141832"/>
                <a:gd name="connsiteY0" fmla="*/ 0 h 257442"/>
                <a:gd name="connsiteX1" fmla="*/ 1986122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2 w 2141832"/>
                <a:gd name="connsiteY0" fmla="*/ 0 h 257442"/>
                <a:gd name="connsiteX1" fmla="*/ 2087110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302133 w 2302133"/>
                <a:gd name="connsiteY0" fmla="*/ 0 h 257442"/>
                <a:gd name="connsiteX1" fmla="*/ 2087111 w 2302133"/>
                <a:gd name="connsiteY1" fmla="*/ 257442 h 257442"/>
                <a:gd name="connsiteX2" fmla="*/ 0 w 2302133"/>
                <a:gd name="connsiteY2" fmla="*/ 257442 h 257442"/>
                <a:gd name="connsiteX3" fmla="*/ 1 w 2302133"/>
                <a:gd name="connsiteY3" fmla="*/ 0 h 257442"/>
                <a:gd name="connsiteX0" fmla="*/ 2302133 w 2302133"/>
                <a:gd name="connsiteY0" fmla="*/ 0 h 257442"/>
                <a:gd name="connsiteX1" fmla="*/ 2247412 w 2302133"/>
                <a:gd name="connsiteY1" fmla="*/ 257442 h 257442"/>
                <a:gd name="connsiteX2" fmla="*/ 0 w 2302133"/>
                <a:gd name="connsiteY2" fmla="*/ 257442 h 257442"/>
                <a:gd name="connsiteX3" fmla="*/ 1 w 2302133"/>
                <a:gd name="connsiteY3" fmla="*/ 0 h 257442"/>
                <a:gd name="connsiteX0" fmla="*/ 2302132 w 2302132"/>
                <a:gd name="connsiteY0" fmla="*/ 0 h 257442"/>
                <a:gd name="connsiteX1" fmla="*/ 2247411 w 2302132"/>
                <a:gd name="connsiteY1" fmla="*/ 257442 h 257442"/>
                <a:gd name="connsiteX2" fmla="*/ 0 w 2302132"/>
                <a:gd name="connsiteY2" fmla="*/ 257442 h 257442"/>
                <a:gd name="connsiteX3" fmla="*/ 0 w 2302132"/>
                <a:gd name="connsiteY3" fmla="*/ 0 h 257442"/>
                <a:gd name="connsiteX0" fmla="*/ 2302133 w 2302133"/>
                <a:gd name="connsiteY0" fmla="*/ 0 h 257442"/>
                <a:gd name="connsiteX1" fmla="*/ 2247412 w 2302133"/>
                <a:gd name="connsiteY1" fmla="*/ 257442 h 257442"/>
                <a:gd name="connsiteX2" fmla="*/ 1 w 2302133"/>
                <a:gd name="connsiteY2" fmla="*/ 257442 h 257442"/>
                <a:gd name="connsiteX3" fmla="*/ 0 w 2302133"/>
                <a:gd name="connsiteY3" fmla="*/ 0 h 257442"/>
                <a:gd name="connsiteX0" fmla="*/ 2462433 w 2462433"/>
                <a:gd name="connsiteY0" fmla="*/ 0 h 257442"/>
                <a:gd name="connsiteX1" fmla="*/ 22474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3 w 2462433"/>
                <a:gd name="connsiteY0" fmla="*/ 0 h 257442"/>
                <a:gd name="connsiteX1" fmla="*/ 24077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3 w 2462433"/>
                <a:gd name="connsiteY0" fmla="*/ 0 h 257442"/>
                <a:gd name="connsiteX1" fmla="*/ 24077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2 w 2462432"/>
                <a:gd name="connsiteY0" fmla="*/ 0 h 257442"/>
                <a:gd name="connsiteX1" fmla="*/ 2407711 w 2462432"/>
                <a:gd name="connsiteY1" fmla="*/ 257442 h 257442"/>
                <a:gd name="connsiteX2" fmla="*/ 0 w 2462432"/>
                <a:gd name="connsiteY2" fmla="*/ 257442 h 257442"/>
                <a:gd name="connsiteX3" fmla="*/ 0 w 2462432"/>
                <a:gd name="connsiteY3" fmla="*/ 0 h 257442"/>
                <a:gd name="connsiteX0" fmla="*/ 2563421 w 2563421"/>
                <a:gd name="connsiteY0" fmla="*/ 0 h 257442"/>
                <a:gd name="connsiteX1" fmla="*/ 2407711 w 2563421"/>
                <a:gd name="connsiteY1" fmla="*/ 257442 h 257442"/>
                <a:gd name="connsiteX2" fmla="*/ 0 w 2563421"/>
                <a:gd name="connsiteY2" fmla="*/ 257442 h 257442"/>
                <a:gd name="connsiteX3" fmla="*/ 0 w 2563421"/>
                <a:gd name="connsiteY3" fmla="*/ 0 h 257442"/>
                <a:gd name="connsiteX0" fmla="*/ 2563421 w 2563421"/>
                <a:gd name="connsiteY0" fmla="*/ 0 h 257442"/>
                <a:gd name="connsiteX1" fmla="*/ 2508700 w 2563421"/>
                <a:gd name="connsiteY1" fmla="*/ 257442 h 257442"/>
                <a:gd name="connsiteX2" fmla="*/ 0 w 2563421"/>
                <a:gd name="connsiteY2" fmla="*/ 257442 h 257442"/>
                <a:gd name="connsiteX3" fmla="*/ 0 w 2563421"/>
                <a:gd name="connsiteY3" fmla="*/ 0 h 257442"/>
                <a:gd name="connsiteX0" fmla="*/ 2563422 w 2563422"/>
                <a:gd name="connsiteY0" fmla="*/ 0 h 257442"/>
                <a:gd name="connsiteX1" fmla="*/ 2508701 w 2563422"/>
                <a:gd name="connsiteY1" fmla="*/ 257442 h 257442"/>
                <a:gd name="connsiteX2" fmla="*/ 0 w 2563422"/>
                <a:gd name="connsiteY2" fmla="*/ 257442 h 257442"/>
                <a:gd name="connsiteX3" fmla="*/ 1 w 2563422"/>
                <a:gd name="connsiteY3" fmla="*/ 0 h 257442"/>
                <a:gd name="connsiteX0" fmla="*/ 2563422 w 2563422"/>
                <a:gd name="connsiteY0" fmla="*/ 0 h 257442"/>
                <a:gd name="connsiteX1" fmla="*/ 2508701 w 2563422"/>
                <a:gd name="connsiteY1" fmla="*/ 257442 h 257442"/>
                <a:gd name="connsiteX2" fmla="*/ 0 w 2563422"/>
                <a:gd name="connsiteY2" fmla="*/ 257442 h 257442"/>
                <a:gd name="connsiteX3" fmla="*/ 0 w 2563422"/>
                <a:gd name="connsiteY3" fmla="*/ 0 h 257442"/>
                <a:gd name="connsiteX0" fmla="*/ 2715707 w 2715707"/>
                <a:gd name="connsiteY0" fmla="*/ 0 h 257442"/>
                <a:gd name="connsiteX1" fmla="*/ 2508701 w 2715707"/>
                <a:gd name="connsiteY1" fmla="*/ 257442 h 257442"/>
                <a:gd name="connsiteX2" fmla="*/ 0 w 2715707"/>
                <a:gd name="connsiteY2" fmla="*/ 257442 h 257442"/>
                <a:gd name="connsiteX3" fmla="*/ 0 w 2715707"/>
                <a:gd name="connsiteY3" fmla="*/ 0 h 257442"/>
                <a:gd name="connsiteX0" fmla="*/ 2715707 w 2715707"/>
                <a:gd name="connsiteY0" fmla="*/ 0 h 257442"/>
                <a:gd name="connsiteX1" fmla="*/ 2660986 w 2715707"/>
                <a:gd name="connsiteY1" fmla="*/ 257442 h 257442"/>
                <a:gd name="connsiteX2" fmla="*/ 0 w 2715707"/>
                <a:gd name="connsiteY2" fmla="*/ 257442 h 257442"/>
                <a:gd name="connsiteX3" fmla="*/ 0 w 2715707"/>
                <a:gd name="connsiteY3" fmla="*/ 0 h 257442"/>
                <a:gd name="connsiteX0" fmla="*/ 2715707 w 2715707"/>
                <a:gd name="connsiteY0" fmla="*/ 0 h 257442"/>
                <a:gd name="connsiteX1" fmla="*/ 2660986 w 2715707"/>
                <a:gd name="connsiteY1" fmla="*/ 257442 h 257442"/>
                <a:gd name="connsiteX2" fmla="*/ 0 w 2715707"/>
                <a:gd name="connsiteY2" fmla="*/ 257442 h 257442"/>
                <a:gd name="connsiteX3" fmla="*/ 0 w 2715707"/>
                <a:gd name="connsiteY3" fmla="*/ 0 h 257442"/>
                <a:gd name="connsiteX0" fmla="*/ 2715707 w 2715707"/>
                <a:gd name="connsiteY0" fmla="*/ 0 h 257442"/>
                <a:gd name="connsiteX1" fmla="*/ 2660986 w 2715707"/>
                <a:gd name="connsiteY1" fmla="*/ 257442 h 257442"/>
                <a:gd name="connsiteX2" fmla="*/ 0 w 2715707"/>
                <a:gd name="connsiteY2" fmla="*/ 257442 h 257442"/>
                <a:gd name="connsiteX3" fmla="*/ 0 w 2715707"/>
                <a:gd name="connsiteY3" fmla="*/ 0 h 257442"/>
                <a:gd name="connsiteX0" fmla="*/ 2884023 w 2884023"/>
                <a:gd name="connsiteY0" fmla="*/ 0 h 257442"/>
                <a:gd name="connsiteX1" fmla="*/ 2660986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2884023 w 2884023"/>
                <a:gd name="connsiteY0" fmla="*/ 0 h 257442"/>
                <a:gd name="connsiteX1" fmla="*/ 2829302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2884023 w 2884023"/>
                <a:gd name="connsiteY0" fmla="*/ 0 h 257442"/>
                <a:gd name="connsiteX1" fmla="*/ 2829302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2884023 w 2884023"/>
                <a:gd name="connsiteY0" fmla="*/ 0 h 257442"/>
                <a:gd name="connsiteX1" fmla="*/ 2829302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3052337 w 3052337"/>
                <a:gd name="connsiteY0" fmla="*/ 0 h 257442"/>
                <a:gd name="connsiteX1" fmla="*/ 2829302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220653 w 3220653"/>
                <a:gd name="connsiteY0" fmla="*/ 0 h 257442"/>
                <a:gd name="connsiteX1" fmla="*/ 2997616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380954 w 3380954"/>
                <a:gd name="connsiteY0" fmla="*/ 0 h 257442"/>
                <a:gd name="connsiteX1" fmla="*/ 3165932 w 3380954"/>
                <a:gd name="connsiteY1" fmla="*/ 257442 h 257442"/>
                <a:gd name="connsiteX2" fmla="*/ 0 w 3380954"/>
                <a:gd name="connsiteY2" fmla="*/ 257442 h 257442"/>
                <a:gd name="connsiteX3" fmla="*/ 0 w 3380954"/>
                <a:gd name="connsiteY3" fmla="*/ 0 h 257442"/>
                <a:gd name="connsiteX0" fmla="*/ 3380954 w 3380954"/>
                <a:gd name="connsiteY0" fmla="*/ 0 h 257442"/>
                <a:gd name="connsiteX1" fmla="*/ 3326232 w 3380954"/>
                <a:gd name="connsiteY1" fmla="*/ 257442 h 257442"/>
                <a:gd name="connsiteX2" fmla="*/ 0 w 3380954"/>
                <a:gd name="connsiteY2" fmla="*/ 257442 h 257442"/>
                <a:gd name="connsiteX3" fmla="*/ 0 w 3380954"/>
                <a:gd name="connsiteY3" fmla="*/ 0 h 257442"/>
                <a:gd name="connsiteX0" fmla="*/ 3380955 w 3380955"/>
                <a:gd name="connsiteY0" fmla="*/ 0 h 257442"/>
                <a:gd name="connsiteX1" fmla="*/ 3326233 w 3380955"/>
                <a:gd name="connsiteY1" fmla="*/ 257442 h 257442"/>
                <a:gd name="connsiteX2" fmla="*/ 0 w 3380955"/>
                <a:gd name="connsiteY2" fmla="*/ 257442 h 257442"/>
                <a:gd name="connsiteX3" fmla="*/ 1 w 3380955"/>
                <a:gd name="connsiteY3" fmla="*/ 0 h 257442"/>
                <a:gd name="connsiteX0" fmla="*/ 3380955 w 3380955"/>
                <a:gd name="connsiteY0" fmla="*/ 0 h 257442"/>
                <a:gd name="connsiteX1" fmla="*/ 3326233 w 3380955"/>
                <a:gd name="connsiteY1" fmla="*/ 257442 h 257442"/>
                <a:gd name="connsiteX2" fmla="*/ 0 w 3380955"/>
                <a:gd name="connsiteY2" fmla="*/ 257442 h 257442"/>
                <a:gd name="connsiteX3" fmla="*/ 1 w 3380955"/>
                <a:gd name="connsiteY3" fmla="*/ 0 h 257442"/>
                <a:gd name="connsiteX0" fmla="*/ 3549269 w 3549269"/>
                <a:gd name="connsiteY0" fmla="*/ 0 h 257442"/>
                <a:gd name="connsiteX1" fmla="*/ 3326233 w 3549269"/>
                <a:gd name="connsiteY1" fmla="*/ 257442 h 257442"/>
                <a:gd name="connsiteX2" fmla="*/ 0 w 3549269"/>
                <a:gd name="connsiteY2" fmla="*/ 257442 h 257442"/>
                <a:gd name="connsiteX3" fmla="*/ 1 w 3549269"/>
                <a:gd name="connsiteY3" fmla="*/ 0 h 257442"/>
                <a:gd name="connsiteX0" fmla="*/ 3549269 w 3549269"/>
                <a:gd name="connsiteY0" fmla="*/ 0 h 257442"/>
                <a:gd name="connsiteX1" fmla="*/ 3494548 w 3549269"/>
                <a:gd name="connsiteY1" fmla="*/ 257442 h 257442"/>
                <a:gd name="connsiteX2" fmla="*/ 0 w 3549269"/>
                <a:gd name="connsiteY2" fmla="*/ 257442 h 257442"/>
                <a:gd name="connsiteX3" fmla="*/ 1 w 3549269"/>
                <a:gd name="connsiteY3" fmla="*/ 0 h 257442"/>
                <a:gd name="connsiteX0" fmla="*/ 3549268 w 3549268"/>
                <a:gd name="connsiteY0" fmla="*/ 0 h 257442"/>
                <a:gd name="connsiteX1" fmla="*/ 3494547 w 3549268"/>
                <a:gd name="connsiteY1" fmla="*/ 257442 h 257442"/>
                <a:gd name="connsiteX2" fmla="*/ 0 w 3549268"/>
                <a:gd name="connsiteY2" fmla="*/ 257442 h 257442"/>
                <a:gd name="connsiteX3" fmla="*/ 0 w 3549268"/>
                <a:gd name="connsiteY3" fmla="*/ 0 h 257442"/>
                <a:gd name="connsiteX0" fmla="*/ 3549269 w 3549269"/>
                <a:gd name="connsiteY0" fmla="*/ 0 h 257442"/>
                <a:gd name="connsiteX1" fmla="*/ 3494548 w 3549269"/>
                <a:gd name="connsiteY1" fmla="*/ 257442 h 257442"/>
                <a:gd name="connsiteX2" fmla="*/ 1 w 3549269"/>
                <a:gd name="connsiteY2" fmla="*/ 257442 h 257442"/>
                <a:gd name="connsiteX3" fmla="*/ 0 w 3549269"/>
                <a:gd name="connsiteY3" fmla="*/ 0 h 257442"/>
                <a:gd name="connsiteX0" fmla="*/ 3717585 w 3717585"/>
                <a:gd name="connsiteY0" fmla="*/ 0 h 257442"/>
                <a:gd name="connsiteX1" fmla="*/ 3494548 w 3717585"/>
                <a:gd name="connsiteY1" fmla="*/ 257442 h 257442"/>
                <a:gd name="connsiteX2" fmla="*/ 1 w 3717585"/>
                <a:gd name="connsiteY2" fmla="*/ 257442 h 257442"/>
                <a:gd name="connsiteX3" fmla="*/ 0 w 3717585"/>
                <a:gd name="connsiteY3" fmla="*/ 0 h 257442"/>
                <a:gd name="connsiteX0" fmla="*/ 3717585 w 3717585"/>
                <a:gd name="connsiteY0" fmla="*/ 0 h 257442"/>
                <a:gd name="connsiteX1" fmla="*/ 3662864 w 3717585"/>
                <a:gd name="connsiteY1" fmla="*/ 257442 h 257442"/>
                <a:gd name="connsiteX2" fmla="*/ 1 w 3717585"/>
                <a:gd name="connsiteY2" fmla="*/ 257442 h 257442"/>
                <a:gd name="connsiteX3" fmla="*/ 0 w 3717585"/>
                <a:gd name="connsiteY3" fmla="*/ 0 h 257442"/>
                <a:gd name="connsiteX0" fmla="*/ 3717585 w 3717585"/>
                <a:gd name="connsiteY0" fmla="*/ 0 h 257442"/>
                <a:gd name="connsiteX1" fmla="*/ 3662864 w 3717585"/>
                <a:gd name="connsiteY1" fmla="*/ 257442 h 257442"/>
                <a:gd name="connsiteX2" fmla="*/ 1 w 3717585"/>
                <a:gd name="connsiteY2" fmla="*/ 257442 h 257442"/>
                <a:gd name="connsiteX3" fmla="*/ 0 w 3717585"/>
                <a:gd name="connsiteY3" fmla="*/ 0 h 257442"/>
                <a:gd name="connsiteX0" fmla="*/ 3717584 w 3717584"/>
                <a:gd name="connsiteY0" fmla="*/ 0 h 257442"/>
                <a:gd name="connsiteX1" fmla="*/ 3662863 w 3717584"/>
                <a:gd name="connsiteY1" fmla="*/ 257442 h 257442"/>
                <a:gd name="connsiteX2" fmla="*/ 0 w 3717584"/>
                <a:gd name="connsiteY2" fmla="*/ 257442 h 257442"/>
                <a:gd name="connsiteX3" fmla="*/ 0 w 3717584"/>
                <a:gd name="connsiteY3" fmla="*/ 0 h 257442"/>
                <a:gd name="connsiteX0" fmla="*/ 3877884 w 3877884"/>
                <a:gd name="connsiteY0" fmla="*/ 0 h 257442"/>
                <a:gd name="connsiteX1" fmla="*/ 3662863 w 3877884"/>
                <a:gd name="connsiteY1" fmla="*/ 257442 h 257442"/>
                <a:gd name="connsiteX2" fmla="*/ 0 w 3877884"/>
                <a:gd name="connsiteY2" fmla="*/ 257442 h 257442"/>
                <a:gd name="connsiteX3" fmla="*/ 0 w 3877884"/>
                <a:gd name="connsiteY3" fmla="*/ 0 h 257442"/>
                <a:gd name="connsiteX0" fmla="*/ 3877884 w 3877884"/>
                <a:gd name="connsiteY0" fmla="*/ 0 h 257442"/>
                <a:gd name="connsiteX1" fmla="*/ 3823163 w 3877884"/>
                <a:gd name="connsiteY1" fmla="*/ 257442 h 257442"/>
                <a:gd name="connsiteX2" fmla="*/ 0 w 3877884"/>
                <a:gd name="connsiteY2" fmla="*/ 257442 h 257442"/>
                <a:gd name="connsiteX3" fmla="*/ 0 w 3877884"/>
                <a:gd name="connsiteY3" fmla="*/ 0 h 257442"/>
                <a:gd name="connsiteX0" fmla="*/ 3877885 w 3877885"/>
                <a:gd name="connsiteY0" fmla="*/ 0 h 257442"/>
                <a:gd name="connsiteX1" fmla="*/ 3823164 w 3877885"/>
                <a:gd name="connsiteY1" fmla="*/ 257442 h 257442"/>
                <a:gd name="connsiteX2" fmla="*/ 0 w 3877885"/>
                <a:gd name="connsiteY2" fmla="*/ 257442 h 257442"/>
                <a:gd name="connsiteX3" fmla="*/ 1 w 3877885"/>
                <a:gd name="connsiteY3" fmla="*/ 0 h 257442"/>
                <a:gd name="connsiteX0" fmla="*/ 3877885 w 3877885"/>
                <a:gd name="connsiteY0" fmla="*/ 0 h 257442"/>
                <a:gd name="connsiteX1" fmla="*/ 3823164 w 3877885"/>
                <a:gd name="connsiteY1" fmla="*/ 257442 h 257442"/>
                <a:gd name="connsiteX2" fmla="*/ 0 w 3877885"/>
                <a:gd name="connsiteY2" fmla="*/ 257442 h 257442"/>
                <a:gd name="connsiteX3" fmla="*/ 1 w 3877885"/>
                <a:gd name="connsiteY3" fmla="*/ 0 h 257442"/>
                <a:gd name="connsiteX0" fmla="*/ 4038186 w 4038186"/>
                <a:gd name="connsiteY0" fmla="*/ 0 h 257442"/>
                <a:gd name="connsiteX1" fmla="*/ 3823164 w 4038186"/>
                <a:gd name="connsiteY1" fmla="*/ 257442 h 257442"/>
                <a:gd name="connsiteX2" fmla="*/ 0 w 4038186"/>
                <a:gd name="connsiteY2" fmla="*/ 257442 h 257442"/>
                <a:gd name="connsiteX3" fmla="*/ 1 w 4038186"/>
                <a:gd name="connsiteY3" fmla="*/ 0 h 257442"/>
                <a:gd name="connsiteX0" fmla="*/ 4038186 w 4038186"/>
                <a:gd name="connsiteY0" fmla="*/ 0 h 257442"/>
                <a:gd name="connsiteX1" fmla="*/ 3983464 w 4038186"/>
                <a:gd name="connsiteY1" fmla="*/ 257442 h 257442"/>
                <a:gd name="connsiteX2" fmla="*/ 0 w 4038186"/>
                <a:gd name="connsiteY2" fmla="*/ 257442 h 257442"/>
                <a:gd name="connsiteX3" fmla="*/ 1 w 4038186"/>
                <a:gd name="connsiteY3" fmla="*/ 0 h 257442"/>
                <a:gd name="connsiteX0" fmla="*/ 4038186 w 4038186"/>
                <a:gd name="connsiteY0" fmla="*/ 0 h 257442"/>
                <a:gd name="connsiteX1" fmla="*/ 3983464 w 4038186"/>
                <a:gd name="connsiteY1" fmla="*/ 257442 h 257442"/>
                <a:gd name="connsiteX2" fmla="*/ 0 w 4038186"/>
                <a:gd name="connsiteY2" fmla="*/ 257442 h 257442"/>
                <a:gd name="connsiteX3" fmla="*/ 1 w 4038186"/>
                <a:gd name="connsiteY3" fmla="*/ 0 h 257442"/>
                <a:gd name="connsiteX0" fmla="*/ 4038186 w 4038186"/>
                <a:gd name="connsiteY0" fmla="*/ 0 h 257442"/>
                <a:gd name="connsiteX1" fmla="*/ 3983464 w 4038186"/>
                <a:gd name="connsiteY1" fmla="*/ 257442 h 257442"/>
                <a:gd name="connsiteX2" fmla="*/ 0 w 4038186"/>
                <a:gd name="connsiteY2" fmla="*/ 257442 h 257442"/>
                <a:gd name="connsiteX3" fmla="*/ 0 w 4038186"/>
                <a:gd name="connsiteY3" fmla="*/ 0 h 257442"/>
                <a:gd name="connsiteX0" fmla="*/ 950801 w 3983464"/>
                <a:gd name="connsiteY0" fmla="*/ 0 h 257442"/>
                <a:gd name="connsiteX1" fmla="*/ 3983464 w 3983464"/>
                <a:gd name="connsiteY1" fmla="*/ 257442 h 257442"/>
                <a:gd name="connsiteX2" fmla="*/ 0 w 3983464"/>
                <a:gd name="connsiteY2" fmla="*/ 257442 h 257442"/>
                <a:gd name="connsiteX3" fmla="*/ 0 w 3983464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19115 w 1119115"/>
                <a:gd name="connsiteY0" fmla="*/ 0 h 257442"/>
                <a:gd name="connsiteX1" fmla="*/ 896079 w 1119115"/>
                <a:gd name="connsiteY1" fmla="*/ 257442 h 257442"/>
                <a:gd name="connsiteX2" fmla="*/ 0 w 1119115"/>
                <a:gd name="connsiteY2" fmla="*/ 257442 h 257442"/>
                <a:gd name="connsiteX3" fmla="*/ 0 w 1119115"/>
                <a:gd name="connsiteY3" fmla="*/ 0 h 257442"/>
                <a:gd name="connsiteX0" fmla="*/ 1119115 w 1119115"/>
                <a:gd name="connsiteY0" fmla="*/ 0 h 257442"/>
                <a:gd name="connsiteX1" fmla="*/ 1064394 w 1119115"/>
                <a:gd name="connsiteY1" fmla="*/ 257442 h 257442"/>
                <a:gd name="connsiteX2" fmla="*/ 0 w 1119115"/>
                <a:gd name="connsiteY2" fmla="*/ 257442 h 257442"/>
                <a:gd name="connsiteX3" fmla="*/ 0 w 1119115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279416 w 1279416"/>
                <a:gd name="connsiteY0" fmla="*/ 0 h 257442"/>
                <a:gd name="connsiteX1" fmla="*/ 10643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431702 w 1431702"/>
                <a:gd name="connsiteY0" fmla="*/ 0 h 257442"/>
                <a:gd name="connsiteX1" fmla="*/ 1224695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606878 w 1606878"/>
                <a:gd name="connsiteY0" fmla="*/ 0 h 257442"/>
                <a:gd name="connsiteX1" fmla="*/ 1376981 w 1606878"/>
                <a:gd name="connsiteY1" fmla="*/ 257442 h 257442"/>
                <a:gd name="connsiteX2" fmla="*/ 0 w 1606878"/>
                <a:gd name="connsiteY2" fmla="*/ 257442 h 257442"/>
                <a:gd name="connsiteX3" fmla="*/ 0 w 1606878"/>
                <a:gd name="connsiteY3" fmla="*/ 0 h 257442"/>
                <a:gd name="connsiteX0" fmla="*/ 1606878 w 1606878"/>
                <a:gd name="connsiteY0" fmla="*/ 0 h 257442"/>
                <a:gd name="connsiteX1" fmla="*/ 1552157 w 1606878"/>
                <a:gd name="connsiteY1" fmla="*/ 257442 h 257442"/>
                <a:gd name="connsiteX2" fmla="*/ 0 w 1606878"/>
                <a:gd name="connsiteY2" fmla="*/ 257442 h 257442"/>
                <a:gd name="connsiteX3" fmla="*/ 0 w 1606878"/>
                <a:gd name="connsiteY3" fmla="*/ 0 h 257442"/>
                <a:gd name="connsiteX0" fmla="*/ 1606878 w 1606878"/>
                <a:gd name="connsiteY0" fmla="*/ 0 h 257442"/>
                <a:gd name="connsiteX1" fmla="*/ 1552157 w 1606878"/>
                <a:gd name="connsiteY1" fmla="*/ 257442 h 257442"/>
                <a:gd name="connsiteX2" fmla="*/ 0 w 1606878"/>
                <a:gd name="connsiteY2" fmla="*/ 257442 h 257442"/>
                <a:gd name="connsiteX3" fmla="*/ 0 w 1606878"/>
                <a:gd name="connsiteY3" fmla="*/ 0 h 257442"/>
                <a:gd name="connsiteX0" fmla="*/ 1606878 w 1606878"/>
                <a:gd name="connsiteY0" fmla="*/ 0 h 257442"/>
                <a:gd name="connsiteX1" fmla="*/ 1552157 w 1606878"/>
                <a:gd name="connsiteY1" fmla="*/ 257442 h 257442"/>
                <a:gd name="connsiteX2" fmla="*/ 0 w 1606878"/>
                <a:gd name="connsiteY2" fmla="*/ 257442 h 257442"/>
                <a:gd name="connsiteX3" fmla="*/ 0 w 1606878"/>
                <a:gd name="connsiteY3" fmla="*/ 0 h 257442"/>
                <a:gd name="connsiteX0" fmla="*/ 1792827 w 1792827"/>
                <a:gd name="connsiteY0" fmla="*/ 0 h 257442"/>
                <a:gd name="connsiteX1" fmla="*/ 1552157 w 1792827"/>
                <a:gd name="connsiteY1" fmla="*/ 257442 h 257442"/>
                <a:gd name="connsiteX2" fmla="*/ 0 w 1792827"/>
                <a:gd name="connsiteY2" fmla="*/ 257442 h 257442"/>
                <a:gd name="connsiteX3" fmla="*/ 0 w 1792827"/>
                <a:gd name="connsiteY3" fmla="*/ 0 h 257442"/>
                <a:gd name="connsiteX0" fmla="*/ 1792827 w 1792827"/>
                <a:gd name="connsiteY0" fmla="*/ 0 h 257442"/>
                <a:gd name="connsiteX1" fmla="*/ 1738106 w 1792827"/>
                <a:gd name="connsiteY1" fmla="*/ 257442 h 257442"/>
                <a:gd name="connsiteX2" fmla="*/ 0 w 1792827"/>
                <a:gd name="connsiteY2" fmla="*/ 257442 h 257442"/>
                <a:gd name="connsiteX3" fmla="*/ 0 w 1792827"/>
                <a:gd name="connsiteY3" fmla="*/ 0 h 257442"/>
                <a:gd name="connsiteX0" fmla="*/ 1792827 w 1792827"/>
                <a:gd name="connsiteY0" fmla="*/ 0 h 257442"/>
                <a:gd name="connsiteX1" fmla="*/ 1738106 w 1792827"/>
                <a:gd name="connsiteY1" fmla="*/ 257442 h 257442"/>
                <a:gd name="connsiteX2" fmla="*/ 0 w 1792827"/>
                <a:gd name="connsiteY2" fmla="*/ 257442 h 257442"/>
                <a:gd name="connsiteX3" fmla="*/ 0 w 1792827"/>
                <a:gd name="connsiteY3" fmla="*/ 0 h 257442"/>
                <a:gd name="connsiteX0" fmla="*/ 1792827 w 1792827"/>
                <a:gd name="connsiteY0" fmla="*/ 0 h 257442"/>
                <a:gd name="connsiteX1" fmla="*/ 1738106 w 1792827"/>
                <a:gd name="connsiteY1" fmla="*/ 257442 h 257442"/>
                <a:gd name="connsiteX2" fmla="*/ 0 w 1792827"/>
                <a:gd name="connsiteY2" fmla="*/ 257442 h 257442"/>
                <a:gd name="connsiteX3" fmla="*/ 0 w 1792827"/>
                <a:gd name="connsiteY3" fmla="*/ 0 h 257442"/>
                <a:gd name="connsiteX0" fmla="*/ 1953127 w 1953127"/>
                <a:gd name="connsiteY0" fmla="*/ 0 h 257442"/>
                <a:gd name="connsiteX1" fmla="*/ 17381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1953127 w 1953127"/>
                <a:gd name="connsiteY0" fmla="*/ 0 h 257442"/>
                <a:gd name="connsiteX1" fmla="*/ 18984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1953127 w 1953127"/>
                <a:gd name="connsiteY0" fmla="*/ 0 h 257442"/>
                <a:gd name="connsiteX1" fmla="*/ 18984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1953127 w 1953127"/>
                <a:gd name="connsiteY0" fmla="*/ 0 h 257442"/>
                <a:gd name="connsiteX1" fmla="*/ 18984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2121442 w 2121442"/>
                <a:gd name="connsiteY0" fmla="*/ 0 h 257442"/>
                <a:gd name="connsiteX1" fmla="*/ 1898406 w 2121442"/>
                <a:gd name="connsiteY1" fmla="*/ 257442 h 257442"/>
                <a:gd name="connsiteX2" fmla="*/ 0 w 2121442"/>
                <a:gd name="connsiteY2" fmla="*/ 257442 h 257442"/>
                <a:gd name="connsiteX3" fmla="*/ 0 w 2121442"/>
                <a:gd name="connsiteY3" fmla="*/ 0 h 257442"/>
                <a:gd name="connsiteX0" fmla="*/ 2121442 w 2121442"/>
                <a:gd name="connsiteY0" fmla="*/ 0 h 257442"/>
                <a:gd name="connsiteX1" fmla="*/ 2066720 w 2121442"/>
                <a:gd name="connsiteY1" fmla="*/ 257442 h 257442"/>
                <a:gd name="connsiteX2" fmla="*/ 0 w 2121442"/>
                <a:gd name="connsiteY2" fmla="*/ 257442 h 257442"/>
                <a:gd name="connsiteX3" fmla="*/ 0 w 2121442"/>
                <a:gd name="connsiteY3" fmla="*/ 0 h 257442"/>
                <a:gd name="connsiteX0" fmla="*/ 2121443 w 2121443"/>
                <a:gd name="connsiteY0" fmla="*/ 0 h 257442"/>
                <a:gd name="connsiteX1" fmla="*/ 2066721 w 2121443"/>
                <a:gd name="connsiteY1" fmla="*/ 257442 h 257442"/>
                <a:gd name="connsiteX2" fmla="*/ 0 w 2121443"/>
                <a:gd name="connsiteY2" fmla="*/ 257442 h 257442"/>
                <a:gd name="connsiteX3" fmla="*/ 1 w 2121443"/>
                <a:gd name="connsiteY3" fmla="*/ 0 h 257442"/>
                <a:gd name="connsiteX0" fmla="*/ 2121443 w 2121443"/>
                <a:gd name="connsiteY0" fmla="*/ 0 h 257442"/>
                <a:gd name="connsiteX1" fmla="*/ 2066721 w 2121443"/>
                <a:gd name="connsiteY1" fmla="*/ 257442 h 257442"/>
                <a:gd name="connsiteX2" fmla="*/ 0 w 2121443"/>
                <a:gd name="connsiteY2" fmla="*/ 257442 h 257442"/>
                <a:gd name="connsiteX3" fmla="*/ 1 w 2121443"/>
                <a:gd name="connsiteY3" fmla="*/ 0 h 257442"/>
                <a:gd name="connsiteX0" fmla="*/ 2222432 w 2222432"/>
                <a:gd name="connsiteY0" fmla="*/ 0 h 257442"/>
                <a:gd name="connsiteX1" fmla="*/ 2066721 w 2222432"/>
                <a:gd name="connsiteY1" fmla="*/ 257442 h 257442"/>
                <a:gd name="connsiteX2" fmla="*/ 0 w 2222432"/>
                <a:gd name="connsiteY2" fmla="*/ 257442 h 257442"/>
                <a:gd name="connsiteX3" fmla="*/ 1 w 2222432"/>
                <a:gd name="connsiteY3" fmla="*/ 0 h 257442"/>
                <a:gd name="connsiteX0" fmla="*/ 2222432 w 2222432"/>
                <a:gd name="connsiteY0" fmla="*/ 0 h 257442"/>
                <a:gd name="connsiteX1" fmla="*/ 2167710 w 2222432"/>
                <a:gd name="connsiteY1" fmla="*/ 257442 h 257442"/>
                <a:gd name="connsiteX2" fmla="*/ 0 w 2222432"/>
                <a:gd name="connsiteY2" fmla="*/ 257442 h 257442"/>
                <a:gd name="connsiteX3" fmla="*/ 1 w 2222432"/>
                <a:gd name="connsiteY3" fmla="*/ 0 h 257442"/>
                <a:gd name="connsiteX0" fmla="*/ 2222432 w 2222432"/>
                <a:gd name="connsiteY0" fmla="*/ 0 h 257442"/>
                <a:gd name="connsiteX1" fmla="*/ 2167710 w 2222432"/>
                <a:gd name="connsiteY1" fmla="*/ 257442 h 257442"/>
                <a:gd name="connsiteX2" fmla="*/ 0 w 2222432"/>
                <a:gd name="connsiteY2" fmla="*/ 257442 h 257442"/>
                <a:gd name="connsiteX3" fmla="*/ 1 w 2222432"/>
                <a:gd name="connsiteY3" fmla="*/ 0 h 257442"/>
                <a:gd name="connsiteX0" fmla="*/ 2222432 w 2222432"/>
                <a:gd name="connsiteY0" fmla="*/ 0 h 257442"/>
                <a:gd name="connsiteX1" fmla="*/ 2167710 w 2222432"/>
                <a:gd name="connsiteY1" fmla="*/ 257442 h 257442"/>
                <a:gd name="connsiteX2" fmla="*/ 0 w 2222432"/>
                <a:gd name="connsiteY2" fmla="*/ 257442 h 257442"/>
                <a:gd name="connsiteX3" fmla="*/ 0 w 2222432"/>
                <a:gd name="connsiteY3" fmla="*/ 0 h 257442"/>
                <a:gd name="connsiteX0" fmla="*/ 2385040 w 2385040"/>
                <a:gd name="connsiteY0" fmla="*/ 0 h 257442"/>
                <a:gd name="connsiteX1" fmla="*/ 2167710 w 2385040"/>
                <a:gd name="connsiteY1" fmla="*/ 257442 h 257442"/>
                <a:gd name="connsiteX2" fmla="*/ 0 w 2385040"/>
                <a:gd name="connsiteY2" fmla="*/ 257442 h 257442"/>
                <a:gd name="connsiteX3" fmla="*/ 0 w 2385040"/>
                <a:gd name="connsiteY3" fmla="*/ 0 h 257442"/>
                <a:gd name="connsiteX0" fmla="*/ 2385040 w 2385040"/>
                <a:gd name="connsiteY0" fmla="*/ 0 h 257442"/>
                <a:gd name="connsiteX1" fmla="*/ 2330319 w 2385040"/>
                <a:gd name="connsiteY1" fmla="*/ 257442 h 257442"/>
                <a:gd name="connsiteX2" fmla="*/ 0 w 2385040"/>
                <a:gd name="connsiteY2" fmla="*/ 257442 h 257442"/>
                <a:gd name="connsiteX3" fmla="*/ 0 w 2385040"/>
                <a:gd name="connsiteY3" fmla="*/ 0 h 257442"/>
                <a:gd name="connsiteX0" fmla="*/ 2385040 w 2385040"/>
                <a:gd name="connsiteY0" fmla="*/ 0 h 257442"/>
                <a:gd name="connsiteX1" fmla="*/ 2330319 w 2385040"/>
                <a:gd name="connsiteY1" fmla="*/ 257442 h 257442"/>
                <a:gd name="connsiteX2" fmla="*/ 0 w 2385040"/>
                <a:gd name="connsiteY2" fmla="*/ 257442 h 257442"/>
                <a:gd name="connsiteX3" fmla="*/ 0 w 2385040"/>
                <a:gd name="connsiteY3" fmla="*/ 0 h 257442"/>
                <a:gd name="connsiteX0" fmla="*/ 2385040 w 2385040"/>
                <a:gd name="connsiteY0" fmla="*/ 0 h 257442"/>
                <a:gd name="connsiteX1" fmla="*/ 2330319 w 2385040"/>
                <a:gd name="connsiteY1" fmla="*/ 257442 h 257442"/>
                <a:gd name="connsiteX2" fmla="*/ 0 w 2385040"/>
                <a:gd name="connsiteY2" fmla="*/ 257442 h 257442"/>
                <a:gd name="connsiteX3" fmla="*/ 0 w 2385040"/>
                <a:gd name="connsiteY3" fmla="*/ 0 h 257442"/>
                <a:gd name="connsiteX0" fmla="*/ 2553355 w 2553355"/>
                <a:gd name="connsiteY0" fmla="*/ 0 h 257442"/>
                <a:gd name="connsiteX1" fmla="*/ 2330319 w 2553355"/>
                <a:gd name="connsiteY1" fmla="*/ 257442 h 257442"/>
                <a:gd name="connsiteX2" fmla="*/ 0 w 2553355"/>
                <a:gd name="connsiteY2" fmla="*/ 257442 h 257442"/>
                <a:gd name="connsiteX3" fmla="*/ 0 w 2553355"/>
                <a:gd name="connsiteY3" fmla="*/ 0 h 257442"/>
                <a:gd name="connsiteX0" fmla="*/ 2553355 w 2553355"/>
                <a:gd name="connsiteY0" fmla="*/ 0 h 257442"/>
                <a:gd name="connsiteX1" fmla="*/ 2498634 w 2553355"/>
                <a:gd name="connsiteY1" fmla="*/ 257442 h 257442"/>
                <a:gd name="connsiteX2" fmla="*/ 0 w 2553355"/>
                <a:gd name="connsiteY2" fmla="*/ 257442 h 257442"/>
                <a:gd name="connsiteX3" fmla="*/ 0 w 2553355"/>
                <a:gd name="connsiteY3" fmla="*/ 0 h 257442"/>
                <a:gd name="connsiteX0" fmla="*/ 2553355 w 2553355"/>
                <a:gd name="connsiteY0" fmla="*/ 0 h 257442"/>
                <a:gd name="connsiteX1" fmla="*/ 2498634 w 2553355"/>
                <a:gd name="connsiteY1" fmla="*/ 257442 h 257442"/>
                <a:gd name="connsiteX2" fmla="*/ 0 w 2553355"/>
                <a:gd name="connsiteY2" fmla="*/ 257442 h 257442"/>
                <a:gd name="connsiteX3" fmla="*/ 0 w 2553355"/>
                <a:gd name="connsiteY3" fmla="*/ 0 h 257442"/>
                <a:gd name="connsiteX0" fmla="*/ 2553355 w 2553355"/>
                <a:gd name="connsiteY0" fmla="*/ 0 h 257442"/>
                <a:gd name="connsiteX1" fmla="*/ 2498634 w 2553355"/>
                <a:gd name="connsiteY1" fmla="*/ 257442 h 257442"/>
                <a:gd name="connsiteX2" fmla="*/ 0 w 2553355"/>
                <a:gd name="connsiteY2" fmla="*/ 257442 h 257442"/>
                <a:gd name="connsiteX3" fmla="*/ 0 w 2553355"/>
                <a:gd name="connsiteY3" fmla="*/ 0 h 257442"/>
                <a:gd name="connsiteX0" fmla="*/ 2713655 w 2713655"/>
                <a:gd name="connsiteY0" fmla="*/ 0 h 257442"/>
                <a:gd name="connsiteX1" fmla="*/ 2498634 w 2713655"/>
                <a:gd name="connsiteY1" fmla="*/ 257442 h 257442"/>
                <a:gd name="connsiteX2" fmla="*/ 0 w 2713655"/>
                <a:gd name="connsiteY2" fmla="*/ 257442 h 257442"/>
                <a:gd name="connsiteX3" fmla="*/ 0 w 2713655"/>
                <a:gd name="connsiteY3" fmla="*/ 0 h 257442"/>
                <a:gd name="connsiteX0" fmla="*/ 2713655 w 2713655"/>
                <a:gd name="connsiteY0" fmla="*/ 0 h 257442"/>
                <a:gd name="connsiteX1" fmla="*/ 2658934 w 2713655"/>
                <a:gd name="connsiteY1" fmla="*/ 257442 h 257442"/>
                <a:gd name="connsiteX2" fmla="*/ 0 w 2713655"/>
                <a:gd name="connsiteY2" fmla="*/ 257442 h 257442"/>
                <a:gd name="connsiteX3" fmla="*/ 0 w 2713655"/>
                <a:gd name="connsiteY3" fmla="*/ 0 h 257442"/>
                <a:gd name="connsiteX0" fmla="*/ 2713655 w 2713655"/>
                <a:gd name="connsiteY0" fmla="*/ 0 h 257442"/>
                <a:gd name="connsiteX1" fmla="*/ 2658934 w 2713655"/>
                <a:gd name="connsiteY1" fmla="*/ 257442 h 257442"/>
                <a:gd name="connsiteX2" fmla="*/ 0 w 2713655"/>
                <a:gd name="connsiteY2" fmla="*/ 257442 h 257442"/>
                <a:gd name="connsiteX3" fmla="*/ 0 w 2713655"/>
                <a:gd name="connsiteY3" fmla="*/ 0 h 257442"/>
                <a:gd name="connsiteX0" fmla="*/ 2713655 w 2713655"/>
                <a:gd name="connsiteY0" fmla="*/ 0 h 257442"/>
                <a:gd name="connsiteX1" fmla="*/ 2658934 w 2713655"/>
                <a:gd name="connsiteY1" fmla="*/ 257442 h 257442"/>
                <a:gd name="connsiteX2" fmla="*/ 0 w 2713655"/>
                <a:gd name="connsiteY2" fmla="*/ 257442 h 257442"/>
                <a:gd name="connsiteX3" fmla="*/ 0 w 2713655"/>
                <a:gd name="connsiteY3" fmla="*/ 0 h 257442"/>
                <a:gd name="connsiteX0" fmla="*/ 2891589 w 2891589"/>
                <a:gd name="connsiteY0" fmla="*/ 0 h 257442"/>
                <a:gd name="connsiteX1" fmla="*/ 2658934 w 2891589"/>
                <a:gd name="connsiteY1" fmla="*/ 257442 h 257442"/>
                <a:gd name="connsiteX2" fmla="*/ 0 w 2891589"/>
                <a:gd name="connsiteY2" fmla="*/ 257442 h 257442"/>
                <a:gd name="connsiteX3" fmla="*/ 0 w 2891589"/>
                <a:gd name="connsiteY3" fmla="*/ 0 h 257442"/>
                <a:gd name="connsiteX0" fmla="*/ 2891589 w 2891589"/>
                <a:gd name="connsiteY0" fmla="*/ 0 h 257442"/>
                <a:gd name="connsiteX1" fmla="*/ 2836868 w 2891589"/>
                <a:gd name="connsiteY1" fmla="*/ 257442 h 257442"/>
                <a:gd name="connsiteX2" fmla="*/ 0 w 2891589"/>
                <a:gd name="connsiteY2" fmla="*/ 257442 h 257442"/>
                <a:gd name="connsiteX3" fmla="*/ 0 w 2891589"/>
                <a:gd name="connsiteY3" fmla="*/ 0 h 257442"/>
                <a:gd name="connsiteX0" fmla="*/ 2891589 w 2891589"/>
                <a:gd name="connsiteY0" fmla="*/ 0 h 257442"/>
                <a:gd name="connsiteX1" fmla="*/ 2836868 w 2891589"/>
                <a:gd name="connsiteY1" fmla="*/ 257442 h 257442"/>
                <a:gd name="connsiteX2" fmla="*/ 0 w 2891589"/>
                <a:gd name="connsiteY2" fmla="*/ 257442 h 257442"/>
                <a:gd name="connsiteX3" fmla="*/ 0 w 2891589"/>
                <a:gd name="connsiteY3" fmla="*/ 0 h 257442"/>
                <a:gd name="connsiteX0" fmla="*/ 2891589 w 2891589"/>
                <a:gd name="connsiteY0" fmla="*/ 0 h 257442"/>
                <a:gd name="connsiteX1" fmla="*/ 2836868 w 2891589"/>
                <a:gd name="connsiteY1" fmla="*/ 257442 h 257442"/>
                <a:gd name="connsiteX2" fmla="*/ 0 w 2891589"/>
                <a:gd name="connsiteY2" fmla="*/ 257442 h 257442"/>
                <a:gd name="connsiteX3" fmla="*/ 0 w 2891589"/>
                <a:gd name="connsiteY3" fmla="*/ 0 h 257442"/>
                <a:gd name="connsiteX0" fmla="*/ 3059904 w 3059904"/>
                <a:gd name="connsiteY0" fmla="*/ 0 h 257442"/>
                <a:gd name="connsiteX1" fmla="*/ 2836868 w 3059904"/>
                <a:gd name="connsiteY1" fmla="*/ 257442 h 257442"/>
                <a:gd name="connsiteX2" fmla="*/ 0 w 3059904"/>
                <a:gd name="connsiteY2" fmla="*/ 257442 h 257442"/>
                <a:gd name="connsiteX3" fmla="*/ 0 w 3059904"/>
                <a:gd name="connsiteY3" fmla="*/ 0 h 257442"/>
                <a:gd name="connsiteX0" fmla="*/ 3059904 w 3059904"/>
                <a:gd name="connsiteY0" fmla="*/ 0 h 257442"/>
                <a:gd name="connsiteX1" fmla="*/ 3005182 w 3059904"/>
                <a:gd name="connsiteY1" fmla="*/ 257442 h 257442"/>
                <a:gd name="connsiteX2" fmla="*/ 0 w 3059904"/>
                <a:gd name="connsiteY2" fmla="*/ 257442 h 257442"/>
                <a:gd name="connsiteX3" fmla="*/ 0 w 3059904"/>
                <a:gd name="connsiteY3" fmla="*/ 0 h 257442"/>
                <a:gd name="connsiteX0" fmla="*/ 3059905 w 3059905"/>
                <a:gd name="connsiteY0" fmla="*/ 0 h 257442"/>
                <a:gd name="connsiteX1" fmla="*/ 3005183 w 3059905"/>
                <a:gd name="connsiteY1" fmla="*/ 257442 h 257442"/>
                <a:gd name="connsiteX2" fmla="*/ 0 w 3059905"/>
                <a:gd name="connsiteY2" fmla="*/ 257442 h 257442"/>
                <a:gd name="connsiteX3" fmla="*/ 1 w 3059905"/>
                <a:gd name="connsiteY3" fmla="*/ 0 h 257442"/>
                <a:gd name="connsiteX0" fmla="*/ 3059905 w 3059905"/>
                <a:gd name="connsiteY0" fmla="*/ 0 h 257442"/>
                <a:gd name="connsiteX1" fmla="*/ 3005183 w 3059905"/>
                <a:gd name="connsiteY1" fmla="*/ 257442 h 257442"/>
                <a:gd name="connsiteX2" fmla="*/ 0 w 3059905"/>
                <a:gd name="connsiteY2" fmla="*/ 257442 h 257442"/>
                <a:gd name="connsiteX3" fmla="*/ 1 w 3059905"/>
                <a:gd name="connsiteY3" fmla="*/ 0 h 257442"/>
                <a:gd name="connsiteX0" fmla="*/ 3228220 w 3228220"/>
                <a:gd name="connsiteY0" fmla="*/ 0 h 257442"/>
                <a:gd name="connsiteX1" fmla="*/ 3005183 w 3228220"/>
                <a:gd name="connsiteY1" fmla="*/ 257442 h 257442"/>
                <a:gd name="connsiteX2" fmla="*/ 0 w 3228220"/>
                <a:gd name="connsiteY2" fmla="*/ 257442 h 257442"/>
                <a:gd name="connsiteX3" fmla="*/ 1 w 3228220"/>
                <a:gd name="connsiteY3" fmla="*/ 0 h 257442"/>
                <a:gd name="connsiteX0" fmla="*/ 3228220 w 3228220"/>
                <a:gd name="connsiteY0" fmla="*/ 0 h 257442"/>
                <a:gd name="connsiteX1" fmla="*/ 3173498 w 3228220"/>
                <a:gd name="connsiteY1" fmla="*/ 257442 h 257442"/>
                <a:gd name="connsiteX2" fmla="*/ 0 w 3228220"/>
                <a:gd name="connsiteY2" fmla="*/ 257442 h 257442"/>
                <a:gd name="connsiteX3" fmla="*/ 1 w 3228220"/>
                <a:gd name="connsiteY3" fmla="*/ 0 h 257442"/>
                <a:gd name="connsiteX0" fmla="*/ 3228220 w 3228220"/>
                <a:gd name="connsiteY0" fmla="*/ 0 h 257442"/>
                <a:gd name="connsiteX1" fmla="*/ 3173498 w 3228220"/>
                <a:gd name="connsiteY1" fmla="*/ 257442 h 257442"/>
                <a:gd name="connsiteX2" fmla="*/ 0 w 3228220"/>
                <a:gd name="connsiteY2" fmla="*/ 257442 h 257442"/>
                <a:gd name="connsiteX3" fmla="*/ 1 w 3228220"/>
                <a:gd name="connsiteY3" fmla="*/ 0 h 257442"/>
                <a:gd name="connsiteX0" fmla="*/ 3228220 w 3228220"/>
                <a:gd name="connsiteY0" fmla="*/ 0 h 257442"/>
                <a:gd name="connsiteX1" fmla="*/ 3173498 w 3228220"/>
                <a:gd name="connsiteY1" fmla="*/ 257442 h 257442"/>
                <a:gd name="connsiteX2" fmla="*/ 0 w 3228220"/>
                <a:gd name="connsiteY2" fmla="*/ 257442 h 257442"/>
                <a:gd name="connsiteX3" fmla="*/ 0 w 3228220"/>
                <a:gd name="connsiteY3" fmla="*/ 0 h 257442"/>
                <a:gd name="connsiteX0" fmla="*/ 3396534 w 3396534"/>
                <a:gd name="connsiteY0" fmla="*/ 0 h 257442"/>
                <a:gd name="connsiteX1" fmla="*/ 3173498 w 3396534"/>
                <a:gd name="connsiteY1" fmla="*/ 257442 h 257442"/>
                <a:gd name="connsiteX2" fmla="*/ 0 w 3396534"/>
                <a:gd name="connsiteY2" fmla="*/ 257442 h 257442"/>
                <a:gd name="connsiteX3" fmla="*/ 0 w 3396534"/>
                <a:gd name="connsiteY3" fmla="*/ 0 h 257442"/>
                <a:gd name="connsiteX0" fmla="*/ 3396534 w 3396534"/>
                <a:gd name="connsiteY0" fmla="*/ 0 h 257442"/>
                <a:gd name="connsiteX1" fmla="*/ 3341813 w 3396534"/>
                <a:gd name="connsiteY1" fmla="*/ 257442 h 257442"/>
                <a:gd name="connsiteX2" fmla="*/ 0 w 3396534"/>
                <a:gd name="connsiteY2" fmla="*/ 257442 h 257442"/>
                <a:gd name="connsiteX3" fmla="*/ 0 w 3396534"/>
                <a:gd name="connsiteY3" fmla="*/ 0 h 257442"/>
                <a:gd name="connsiteX0" fmla="*/ 3396534 w 3396534"/>
                <a:gd name="connsiteY0" fmla="*/ 0 h 257442"/>
                <a:gd name="connsiteX1" fmla="*/ 3341813 w 3396534"/>
                <a:gd name="connsiteY1" fmla="*/ 257442 h 257442"/>
                <a:gd name="connsiteX2" fmla="*/ 0 w 3396534"/>
                <a:gd name="connsiteY2" fmla="*/ 257442 h 257442"/>
                <a:gd name="connsiteX3" fmla="*/ 0 w 3396534"/>
                <a:gd name="connsiteY3" fmla="*/ 0 h 257442"/>
                <a:gd name="connsiteX0" fmla="*/ 3396534 w 3396534"/>
                <a:gd name="connsiteY0" fmla="*/ 0 h 257442"/>
                <a:gd name="connsiteX1" fmla="*/ 3341813 w 3396534"/>
                <a:gd name="connsiteY1" fmla="*/ 257442 h 257442"/>
                <a:gd name="connsiteX2" fmla="*/ 0 w 3396534"/>
                <a:gd name="connsiteY2" fmla="*/ 257442 h 257442"/>
                <a:gd name="connsiteX3" fmla="*/ 0 w 3396534"/>
                <a:gd name="connsiteY3" fmla="*/ 0 h 257442"/>
                <a:gd name="connsiteX0" fmla="*/ 3556835 w 3556835"/>
                <a:gd name="connsiteY0" fmla="*/ 0 h 257442"/>
                <a:gd name="connsiteX1" fmla="*/ 3341813 w 3556835"/>
                <a:gd name="connsiteY1" fmla="*/ 257442 h 257442"/>
                <a:gd name="connsiteX2" fmla="*/ 0 w 3556835"/>
                <a:gd name="connsiteY2" fmla="*/ 257442 h 257442"/>
                <a:gd name="connsiteX3" fmla="*/ 0 w 3556835"/>
                <a:gd name="connsiteY3" fmla="*/ 0 h 257442"/>
                <a:gd name="connsiteX0" fmla="*/ 3556835 w 3556835"/>
                <a:gd name="connsiteY0" fmla="*/ 0 h 257442"/>
                <a:gd name="connsiteX1" fmla="*/ 3502114 w 3556835"/>
                <a:gd name="connsiteY1" fmla="*/ 257442 h 257442"/>
                <a:gd name="connsiteX2" fmla="*/ 0 w 3556835"/>
                <a:gd name="connsiteY2" fmla="*/ 257442 h 257442"/>
                <a:gd name="connsiteX3" fmla="*/ 0 w 3556835"/>
                <a:gd name="connsiteY3" fmla="*/ 0 h 257442"/>
                <a:gd name="connsiteX0" fmla="*/ 3556835 w 3556835"/>
                <a:gd name="connsiteY0" fmla="*/ 0 h 257442"/>
                <a:gd name="connsiteX1" fmla="*/ 3502114 w 3556835"/>
                <a:gd name="connsiteY1" fmla="*/ 257442 h 257442"/>
                <a:gd name="connsiteX2" fmla="*/ 0 w 3556835"/>
                <a:gd name="connsiteY2" fmla="*/ 257442 h 257442"/>
                <a:gd name="connsiteX3" fmla="*/ 0 w 3556835"/>
                <a:gd name="connsiteY3" fmla="*/ 0 h 257442"/>
                <a:gd name="connsiteX0" fmla="*/ 3556835 w 3556835"/>
                <a:gd name="connsiteY0" fmla="*/ 0 h 257442"/>
                <a:gd name="connsiteX1" fmla="*/ 3502114 w 3556835"/>
                <a:gd name="connsiteY1" fmla="*/ 257442 h 257442"/>
                <a:gd name="connsiteX2" fmla="*/ 0 w 3556835"/>
                <a:gd name="connsiteY2" fmla="*/ 257442 h 257442"/>
                <a:gd name="connsiteX3" fmla="*/ 0 w 355683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56835" h="257442">
                  <a:moveTo>
                    <a:pt x="3556835" y="0"/>
                  </a:moveTo>
                  <a:lnTo>
                    <a:pt x="350211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8" name="btfpRunningAgenda2LevelTextLeft683009">
              <a:extLst>
                <a:ext uri="{FF2B5EF4-FFF2-40B4-BE49-F238E27FC236}">
                  <a16:creationId xmlns:a16="http://schemas.microsoft.com/office/drawing/2014/main" id="{F144D00A-BD65-DAF0-6D3D-FEA8F1586CB1}"/>
                </a:ext>
              </a:extLst>
            </p:cNvPr>
            <p:cNvSpPr txBox="1"/>
            <p:nvPr/>
          </p:nvSpPr>
          <p:spPr bwMode="gray">
            <a:xfrm>
              <a:off x="0" y="876300"/>
              <a:ext cx="3502114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Customer advocacy</a:t>
              </a:r>
            </a:p>
          </p:txBody>
        </p:sp>
        <p:sp>
          <p:nvSpPr>
            <p:cNvPr id="41" name="btfpRunningAgenda2LevelBarRight683009">
              <a:extLst>
                <a:ext uri="{FF2B5EF4-FFF2-40B4-BE49-F238E27FC236}">
                  <a16:creationId xmlns:a16="http://schemas.microsoft.com/office/drawing/2014/main" id="{50F50B19-EEDD-E995-6549-397477416CE7}"/>
                </a:ext>
              </a:extLst>
            </p:cNvPr>
            <p:cNvSpPr/>
            <p:nvPr/>
          </p:nvSpPr>
          <p:spPr bwMode="gray">
            <a:xfrm>
              <a:off x="3421992" y="876300"/>
              <a:ext cx="2080919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19115 w 1119115"/>
                <a:gd name="connsiteY0" fmla="*/ 0 h 257442"/>
                <a:gd name="connsiteX1" fmla="*/ 896079 w 1119115"/>
                <a:gd name="connsiteY1" fmla="*/ 257442 h 257442"/>
                <a:gd name="connsiteX2" fmla="*/ 0 w 1119115"/>
                <a:gd name="connsiteY2" fmla="*/ 257442 h 257442"/>
                <a:gd name="connsiteX3" fmla="*/ 54721 w 1119115"/>
                <a:gd name="connsiteY3" fmla="*/ 0 h 257442"/>
                <a:gd name="connsiteX0" fmla="*/ 1119115 w 1119115"/>
                <a:gd name="connsiteY0" fmla="*/ 0 h 257442"/>
                <a:gd name="connsiteX1" fmla="*/ 1064394 w 1119115"/>
                <a:gd name="connsiteY1" fmla="*/ 257442 h 257442"/>
                <a:gd name="connsiteX2" fmla="*/ 0 w 1119115"/>
                <a:gd name="connsiteY2" fmla="*/ 257442 h 257442"/>
                <a:gd name="connsiteX3" fmla="*/ 54721 w 1119115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2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279416 w 1279416"/>
                <a:gd name="connsiteY0" fmla="*/ 0 h 257442"/>
                <a:gd name="connsiteX1" fmla="*/ 10643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606878 w 1606878"/>
                <a:gd name="connsiteY0" fmla="*/ 0 h 257442"/>
                <a:gd name="connsiteX1" fmla="*/ 1224695 w 1606878"/>
                <a:gd name="connsiteY1" fmla="*/ 257442 h 257442"/>
                <a:gd name="connsiteX2" fmla="*/ 0 w 1606878"/>
                <a:gd name="connsiteY2" fmla="*/ 257442 h 257442"/>
                <a:gd name="connsiteX3" fmla="*/ 54721 w 1606878"/>
                <a:gd name="connsiteY3" fmla="*/ 0 h 257442"/>
                <a:gd name="connsiteX0" fmla="*/ 1606878 w 1606878"/>
                <a:gd name="connsiteY0" fmla="*/ 0 h 257442"/>
                <a:gd name="connsiteX1" fmla="*/ 1552157 w 1606878"/>
                <a:gd name="connsiteY1" fmla="*/ 257442 h 257442"/>
                <a:gd name="connsiteX2" fmla="*/ 0 w 1606878"/>
                <a:gd name="connsiteY2" fmla="*/ 257442 h 257442"/>
                <a:gd name="connsiteX3" fmla="*/ 54721 w 1606878"/>
                <a:gd name="connsiteY3" fmla="*/ 0 h 257442"/>
                <a:gd name="connsiteX0" fmla="*/ 1606878 w 1606878"/>
                <a:gd name="connsiteY0" fmla="*/ 0 h 257442"/>
                <a:gd name="connsiteX1" fmla="*/ 1552157 w 1606878"/>
                <a:gd name="connsiteY1" fmla="*/ 257442 h 257442"/>
                <a:gd name="connsiteX2" fmla="*/ 0 w 1606878"/>
                <a:gd name="connsiteY2" fmla="*/ 257442 h 257442"/>
                <a:gd name="connsiteX3" fmla="*/ 54721 w 1606878"/>
                <a:gd name="connsiteY3" fmla="*/ 0 h 257442"/>
                <a:gd name="connsiteX0" fmla="*/ 1606878 w 1606878"/>
                <a:gd name="connsiteY0" fmla="*/ 0 h 257442"/>
                <a:gd name="connsiteX1" fmla="*/ 1552157 w 1606878"/>
                <a:gd name="connsiteY1" fmla="*/ 257442 h 257442"/>
                <a:gd name="connsiteX2" fmla="*/ 0 w 1606878"/>
                <a:gd name="connsiteY2" fmla="*/ 257442 h 257442"/>
                <a:gd name="connsiteX3" fmla="*/ 54721 w 1606878"/>
                <a:gd name="connsiteY3" fmla="*/ 0 h 257442"/>
                <a:gd name="connsiteX0" fmla="*/ 1792827 w 1792827"/>
                <a:gd name="connsiteY0" fmla="*/ 0 h 257442"/>
                <a:gd name="connsiteX1" fmla="*/ 1552157 w 1792827"/>
                <a:gd name="connsiteY1" fmla="*/ 257442 h 257442"/>
                <a:gd name="connsiteX2" fmla="*/ 0 w 1792827"/>
                <a:gd name="connsiteY2" fmla="*/ 257442 h 257442"/>
                <a:gd name="connsiteX3" fmla="*/ 54721 w 1792827"/>
                <a:gd name="connsiteY3" fmla="*/ 0 h 257442"/>
                <a:gd name="connsiteX0" fmla="*/ 1792827 w 1792827"/>
                <a:gd name="connsiteY0" fmla="*/ 0 h 257442"/>
                <a:gd name="connsiteX1" fmla="*/ 1738106 w 1792827"/>
                <a:gd name="connsiteY1" fmla="*/ 257442 h 257442"/>
                <a:gd name="connsiteX2" fmla="*/ 0 w 1792827"/>
                <a:gd name="connsiteY2" fmla="*/ 257442 h 257442"/>
                <a:gd name="connsiteX3" fmla="*/ 54721 w 1792827"/>
                <a:gd name="connsiteY3" fmla="*/ 0 h 257442"/>
                <a:gd name="connsiteX0" fmla="*/ 1792827 w 1792827"/>
                <a:gd name="connsiteY0" fmla="*/ 0 h 257442"/>
                <a:gd name="connsiteX1" fmla="*/ 1738106 w 1792827"/>
                <a:gd name="connsiteY1" fmla="*/ 257442 h 257442"/>
                <a:gd name="connsiteX2" fmla="*/ 0 w 1792827"/>
                <a:gd name="connsiteY2" fmla="*/ 257442 h 257442"/>
                <a:gd name="connsiteX3" fmla="*/ 54721 w 1792827"/>
                <a:gd name="connsiteY3" fmla="*/ 0 h 257442"/>
                <a:gd name="connsiteX0" fmla="*/ 1792827 w 1792827"/>
                <a:gd name="connsiteY0" fmla="*/ 0 h 257442"/>
                <a:gd name="connsiteX1" fmla="*/ 1738106 w 1792827"/>
                <a:gd name="connsiteY1" fmla="*/ 257442 h 257442"/>
                <a:gd name="connsiteX2" fmla="*/ 0 w 1792827"/>
                <a:gd name="connsiteY2" fmla="*/ 257442 h 257442"/>
                <a:gd name="connsiteX3" fmla="*/ 54721 w 1792827"/>
                <a:gd name="connsiteY3" fmla="*/ 0 h 257442"/>
                <a:gd name="connsiteX0" fmla="*/ 1953127 w 1953127"/>
                <a:gd name="connsiteY0" fmla="*/ 0 h 257442"/>
                <a:gd name="connsiteX1" fmla="*/ 1738106 w 1953127"/>
                <a:gd name="connsiteY1" fmla="*/ 257442 h 257442"/>
                <a:gd name="connsiteX2" fmla="*/ 0 w 1953127"/>
                <a:gd name="connsiteY2" fmla="*/ 257442 h 257442"/>
                <a:gd name="connsiteX3" fmla="*/ 54721 w 1953127"/>
                <a:gd name="connsiteY3" fmla="*/ 0 h 257442"/>
                <a:gd name="connsiteX0" fmla="*/ 1953127 w 1953127"/>
                <a:gd name="connsiteY0" fmla="*/ 0 h 257442"/>
                <a:gd name="connsiteX1" fmla="*/ 1898406 w 1953127"/>
                <a:gd name="connsiteY1" fmla="*/ 257442 h 257442"/>
                <a:gd name="connsiteX2" fmla="*/ 0 w 1953127"/>
                <a:gd name="connsiteY2" fmla="*/ 257442 h 257442"/>
                <a:gd name="connsiteX3" fmla="*/ 54721 w 1953127"/>
                <a:gd name="connsiteY3" fmla="*/ 0 h 257442"/>
                <a:gd name="connsiteX0" fmla="*/ 1953127 w 1953127"/>
                <a:gd name="connsiteY0" fmla="*/ 0 h 257442"/>
                <a:gd name="connsiteX1" fmla="*/ 1898406 w 1953127"/>
                <a:gd name="connsiteY1" fmla="*/ 257442 h 257442"/>
                <a:gd name="connsiteX2" fmla="*/ 0 w 1953127"/>
                <a:gd name="connsiteY2" fmla="*/ 257442 h 257442"/>
                <a:gd name="connsiteX3" fmla="*/ 54721 w 1953127"/>
                <a:gd name="connsiteY3" fmla="*/ 0 h 257442"/>
                <a:gd name="connsiteX0" fmla="*/ 1953127 w 1953127"/>
                <a:gd name="connsiteY0" fmla="*/ 0 h 257442"/>
                <a:gd name="connsiteX1" fmla="*/ 1898406 w 1953127"/>
                <a:gd name="connsiteY1" fmla="*/ 257442 h 257442"/>
                <a:gd name="connsiteX2" fmla="*/ 0 w 1953127"/>
                <a:gd name="connsiteY2" fmla="*/ 257442 h 257442"/>
                <a:gd name="connsiteX3" fmla="*/ 54721 w 1953127"/>
                <a:gd name="connsiteY3" fmla="*/ 0 h 257442"/>
                <a:gd name="connsiteX0" fmla="*/ 2121442 w 2121442"/>
                <a:gd name="connsiteY0" fmla="*/ 0 h 257442"/>
                <a:gd name="connsiteX1" fmla="*/ 1898406 w 2121442"/>
                <a:gd name="connsiteY1" fmla="*/ 257442 h 257442"/>
                <a:gd name="connsiteX2" fmla="*/ 0 w 2121442"/>
                <a:gd name="connsiteY2" fmla="*/ 257442 h 257442"/>
                <a:gd name="connsiteX3" fmla="*/ 54721 w 2121442"/>
                <a:gd name="connsiteY3" fmla="*/ 0 h 257442"/>
                <a:gd name="connsiteX0" fmla="*/ 2121442 w 2121442"/>
                <a:gd name="connsiteY0" fmla="*/ 0 h 257442"/>
                <a:gd name="connsiteX1" fmla="*/ 2066720 w 2121442"/>
                <a:gd name="connsiteY1" fmla="*/ 257442 h 257442"/>
                <a:gd name="connsiteX2" fmla="*/ 0 w 2121442"/>
                <a:gd name="connsiteY2" fmla="*/ 257442 h 257442"/>
                <a:gd name="connsiteX3" fmla="*/ 54721 w 2121442"/>
                <a:gd name="connsiteY3" fmla="*/ 0 h 257442"/>
                <a:gd name="connsiteX0" fmla="*/ 2121443 w 2121443"/>
                <a:gd name="connsiteY0" fmla="*/ 0 h 257442"/>
                <a:gd name="connsiteX1" fmla="*/ 2066721 w 2121443"/>
                <a:gd name="connsiteY1" fmla="*/ 257442 h 257442"/>
                <a:gd name="connsiteX2" fmla="*/ 0 w 2121443"/>
                <a:gd name="connsiteY2" fmla="*/ 257442 h 257442"/>
                <a:gd name="connsiteX3" fmla="*/ 54722 w 2121443"/>
                <a:gd name="connsiteY3" fmla="*/ 0 h 257442"/>
                <a:gd name="connsiteX0" fmla="*/ 2121443 w 2121443"/>
                <a:gd name="connsiteY0" fmla="*/ 0 h 257442"/>
                <a:gd name="connsiteX1" fmla="*/ 2066721 w 2121443"/>
                <a:gd name="connsiteY1" fmla="*/ 257442 h 257442"/>
                <a:gd name="connsiteX2" fmla="*/ 0 w 2121443"/>
                <a:gd name="connsiteY2" fmla="*/ 257442 h 257442"/>
                <a:gd name="connsiteX3" fmla="*/ 54722 w 2121443"/>
                <a:gd name="connsiteY3" fmla="*/ 0 h 257442"/>
                <a:gd name="connsiteX0" fmla="*/ 2374717 w 2374717"/>
                <a:gd name="connsiteY0" fmla="*/ 0 h 257442"/>
                <a:gd name="connsiteX1" fmla="*/ 2066721 w 2374717"/>
                <a:gd name="connsiteY1" fmla="*/ 257442 h 257442"/>
                <a:gd name="connsiteX2" fmla="*/ 0 w 2374717"/>
                <a:gd name="connsiteY2" fmla="*/ 257442 h 257442"/>
                <a:gd name="connsiteX3" fmla="*/ 54722 w 2374717"/>
                <a:gd name="connsiteY3" fmla="*/ 0 h 257442"/>
                <a:gd name="connsiteX0" fmla="*/ 2374717 w 2374717"/>
                <a:gd name="connsiteY0" fmla="*/ 0 h 257442"/>
                <a:gd name="connsiteX1" fmla="*/ 2319996 w 2374717"/>
                <a:gd name="connsiteY1" fmla="*/ 257442 h 257442"/>
                <a:gd name="connsiteX2" fmla="*/ 0 w 2374717"/>
                <a:gd name="connsiteY2" fmla="*/ 257442 h 257442"/>
                <a:gd name="connsiteX3" fmla="*/ 54722 w 2374717"/>
                <a:gd name="connsiteY3" fmla="*/ 0 h 257442"/>
                <a:gd name="connsiteX0" fmla="*/ 2374716 w 2374716"/>
                <a:gd name="connsiteY0" fmla="*/ 0 h 257442"/>
                <a:gd name="connsiteX1" fmla="*/ 2319995 w 2374716"/>
                <a:gd name="connsiteY1" fmla="*/ 257442 h 257442"/>
                <a:gd name="connsiteX2" fmla="*/ 0 w 2374716"/>
                <a:gd name="connsiteY2" fmla="*/ 257442 h 257442"/>
                <a:gd name="connsiteX3" fmla="*/ 54721 w 2374716"/>
                <a:gd name="connsiteY3" fmla="*/ 0 h 257442"/>
                <a:gd name="connsiteX0" fmla="*/ 2374716 w 2374716"/>
                <a:gd name="connsiteY0" fmla="*/ 0 h 257442"/>
                <a:gd name="connsiteX1" fmla="*/ 2319995 w 2374716"/>
                <a:gd name="connsiteY1" fmla="*/ 257442 h 257442"/>
                <a:gd name="connsiteX2" fmla="*/ 0 w 2374716"/>
                <a:gd name="connsiteY2" fmla="*/ 257442 h 257442"/>
                <a:gd name="connsiteX3" fmla="*/ 54720 w 2374716"/>
                <a:gd name="connsiteY3" fmla="*/ 0 h 257442"/>
                <a:gd name="connsiteX0" fmla="*/ 2535015 w 2535015"/>
                <a:gd name="connsiteY0" fmla="*/ 0 h 257442"/>
                <a:gd name="connsiteX1" fmla="*/ 2319995 w 2535015"/>
                <a:gd name="connsiteY1" fmla="*/ 257442 h 257442"/>
                <a:gd name="connsiteX2" fmla="*/ 0 w 2535015"/>
                <a:gd name="connsiteY2" fmla="*/ 257442 h 257442"/>
                <a:gd name="connsiteX3" fmla="*/ 54720 w 2535015"/>
                <a:gd name="connsiteY3" fmla="*/ 0 h 257442"/>
                <a:gd name="connsiteX0" fmla="*/ 2535015 w 2535015"/>
                <a:gd name="connsiteY0" fmla="*/ 0 h 257442"/>
                <a:gd name="connsiteX1" fmla="*/ 2480294 w 2535015"/>
                <a:gd name="connsiteY1" fmla="*/ 257442 h 257442"/>
                <a:gd name="connsiteX2" fmla="*/ 0 w 2535015"/>
                <a:gd name="connsiteY2" fmla="*/ 257442 h 257442"/>
                <a:gd name="connsiteX3" fmla="*/ 54720 w 2535015"/>
                <a:gd name="connsiteY3" fmla="*/ 0 h 257442"/>
                <a:gd name="connsiteX0" fmla="*/ 2535016 w 2535016"/>
                <a:gd name="connsiteY0" fmla="*/ 0 h 257442"/>
                <a:gd name="connsiteX1" fmla="*/ 2480295 w 2535016"/>
                <a:gd name="connsiteY1" fmla="*/ 257442 h 257442"/>
                <a:gd name="connsiteX2" fmla="*/ 0 w 2535016"/>
                <a:gd name="connsiteY2" fmla="*/ 257442 h 257442"/>
                <a:gd name="connsiteX3" fmla="*/ 54721 w 2535016"/>
                <a:gd name="connsiteY3" fmla="*/ 0 h 257442"/>
                <a:gd name="connsiteX0" fmla="*/ 2535016 w 2535016"/>
                <a:gd name="connsiteY0" fmla="*/ 0 h 257442"/>
                <a:gd name="connsiteX1" fmla="*/ 2480295 w 2535016"/>
                <a:gd name="connsiteY1" fmla="*/ 257442 h 257442"/>
                <a:gd name="connsiteX2" fmla="*/ 0 w 2535016"/>
                <a:gd name="connsiteY2" fmla="*/ 257442 h 257442"/>
                <a:gd name="connsiteX3" fmla="*/ 54721 w 2535016"/>
                <a:gd name="connsiteY3" fmla="*/ 0 h 257442"/>
                <a:gd name="connsiteX0" fmla="*/ 2695316 w 2695316"/>
                <a:gd name="connsiteY0" fmla="*/ 0 h 257442"/>
                <a:gd name="connsiteX1" fmla="*/ 2480295 w 2695316"/>
                <a:gd name="connsiteY1" fmla="*/ 257442 h 257442"/>
                <a:gd name="connsiteX2" fmla="*/ 0 w 2695316"/>
                <a:gd name="connsiteY2" fmla="*/ 257442 h 257442"/>
                <a:gd name="connsiteX3" fmla="*/ 54721 w 2695316"/>
                <a:gd name="connsiteY3" fmla="*/ 0 h 257442"/>
                <a:gd name="connsiteX0" fmla="*/ 2695316 w 2695316"/>
                <a:gd name="connsiteY0" fmla="*/ 0 h 257442"/>
                <a:gd name="connsiteX1" fmla="*/ 2640596 w 2695316"/>
                <a:gd name="connsiteY1" fmla="*/ 257442 h 257442"/>
                <a:gd name="connsiteX2" fmla="*/ 0 w 2695316"/>
                <a:gd name="connsiteY2" fmla="*/ 257442 h 257442"/>
                <a:gd name="connsiteX3" fmla="*/ 54721 w 2695316"/>
                <a:gd name="connsiteY3" fmla="*/ 0 h 257442"/>
                <a:gd name="connsiteX0" fmla="*/ 2695316 w 2695316"/>
                <a:gd name="connsiteY0" fmla="*/ 0 h 257442"/>
                <a:gd name="connsiteX1" fmla="*/ 2640596 w 2695316"/>
                <a:gd name="connsiteY1" fmla="*/ 257442 h 257442"/>
                <a:gd name="connsiteX2" fmla="*/ 0 w 2695316"/>
                <a:gd name="connsiteY2" fmla="*/ 257442 h 257442"/>
                <a:gd name="connsiteX3" fmla="*/ 54721 w 2695316"/>
                <a:gd name="connsiteY3" fmla="*/ 0 h 257442"/>
                <a:gd name="connsiteX0" fmla="*/ 2695316 w 2695316"/>
                <a:gd name="connsiteY0" fmla="*/ 0 h 257442"/>
                <a:gd name="connsiteX1" fmla="*/ 2640596 w 2695316"/>
                <a:gd name="connsiteY1" fmla="*/ 257442 h 257442"/>
                <a:gd name="connsiteX2" fmla="*/ 0 w 2695316"/>
                <a:gd name="connsiteY2" fmla="*/ 257442 h 257442"/>
                <a:gd name="connsiteX3" fmla="*/ 54721 w 2695316"/>
                <a:gd name="connsiteY3" fmla="*/ 0 h 257442"/>
                <a:gd name="connsiteX0" fmla="*/ 2863632 w 2863632"/>
                <a:gd name="connsiteY0" fmla="*/ 0 h 257442"/>
                <a:gd name="connsiteX1" fmla="*/ 2640596 w 2863632"/>
                <a:gd name="connsiteY1" fmla="*/ 257442 h 257442"/>
                <a:gd name="connsiteX2" fmla="*/ 0 w 2863632"/>
                <a:gd name="connsiteY2" fmla="*/ 257442 h 257442"/>
                <a:gd name="connsiteX3" fmla="*/ 54721 w 2863632"/>
                <a:gd name="connsiteY3" fmla="*/ 0 h 257442"/>
                <a:gd name="connsiteX0" fmla="*/ 2863632 w 2863632"/>
                <a:gd name="connsiteY0" fmla="*/ 0 h 257442"/>
                <a:gd name="connsiteX1" fmla="*/ 2808911 w 2863632"/>
                <a:gd name="connsiteY1" fmla="*/ 257442 h 257442"/>
                <a:gd name="connsiteX2" fmla="*/ 0 w 2863632"/>
                <a:gd name="connsiteY2" fmla="*/ 257442 h 257442"/>
                <a:gd name="connsiteX3" fmla="*/ 54721 w 2863632"/>
                <a:gd name="connsiteY3" fmla="*/ 0 h 257442"/>
                <a:gd name="connsiteX0" fmla="*/ 2863632 w 2863632"/>
                <a:gd name="connsiteY0" fmla="*/ 0 h 257442"/>
                <a:gd name="connsiteX1" fmla="*/ 2808911 w 2863632"/>
                <a:gd name="connsiteY1" fmla="*/ 257442 h 257442"/>
                <a:gd name="connsiteX2" fmla="*/ 0 w 2863632"/>
                <a:gd name="connsiteY2" fmla="*/ 257442 h 257442"/>
                <a:gd name="connsiteX3" fmla="*/ 54721 w 2863632"/>
                <a:gd name="connsiteY3" fmla="*/ 0 h 257442"/>
                <a:gd name="connsiteX0" fmla="*/ 2863632 w 2863632"/>
                <a:gd name="connsiteY0" fmla="*/ 0 h 257442"/>
                <a:gd name="connsiteX1" fmla="*/ 2808911 w 2863632"/>
                <a:gd name="connsiteY1" fmla="*/ 257442 h 257442"/>
                <a:gd name="connsiteX2" fmla="*/ 0 w 2863632"/>
                <a:gd name="connsiteY2" fmla="*/ 257442 h 257442"/>
                <a:gd name="connsiteX3" fmla="*/ 54721 w 2863632"/>
                <a:gd name="connsiteY3" fmla="*/ 0 h 257442"/>
                <a:gd name="connsiteX0" fmla="*/ 3031946 w 3031946"/>
                <a:gd name="connsiteY0" fmla="*/ 0 h 257442"/>
                <a:gd name="connsiteX1" fmla="*/ 2808911 w 3031946"/>
                <a:gd name="connsiteY1" fmla="*/ 257442 h 257442"/>
                <a:gd name="connsiteX2" fmla="*/ 0 w 3031946"/>
                <a:gd name="connsiteY2" fmla="*/ 257442 h 257442"/>
                <a:gd name="connsiteX3" fmla="*/ 54721 w 3031946"/>
                <a:gd name="connsiteY3" fmla="*/ 0 h 257442"/>
                <a:gd name="connsiteX0" fmla="*/ 3031946 w 3031946"/>
                <a:gd name="connsiteY0" fmla="*/ 0 h 257442"/>
                <a:gd name="connsiteX1" fmla="*/ 2977226 w 3031946"/>
                <a:gd name="connsiteY1" fmla="*/ 257442 h 257442"/>
                <a:gd name="connsiteX2" fmla="*/ 0 w 3031946"/>
                <a:gd name="connsiteY2" fmla="*/ 257442 h 257442"/>
                <a:gd name="connsiteX3" fmla="*/ 54721 w 3031946"/>
                <a:gd name="connsiteY3" fmla="*/ 0 h 257442"/>
                <a:gd name="connsiteX0" fmla="*/ 3031946 w 3031946"/>
                <a:gd name="connsiteY0" fmla="*/ 0 h 257442"/>
                <a:gd name="connsiteX1" fmla="*/ 2977226 w 3031946"/>
                <a:gd name="connsiteY1" fmla="*/ 257442 h 257442"/>
                <a:gd name="connsiteX2" fmla="*/ 0 w 3031946"/>
                <a:gd name="connsiteY2" fmla="*/ 257442 h 257442"/>
                <a:gd name="connsiteX3" fmla="*/ 54721 w 3031946"/>
                <a:gd name="connsiteY3" fmla="*/ 0 h 257442"/>
                <a:gd name="connsiteX0" fmla="*/ 3031946 w 3031946"/>
                <a:gd name="connsiteY0" fmla="*/ 0 h 257442"/>
                <a:gd name="connsiteX1" fmla="*/ 2977226 w 3031946"/>
                <a:gd name="connsiteY1" fmla="*/ 257442 h 257442"/>
                <a:gd name="connsiteX2" fmla="*/ 0 w 3031946"/>
                <a:gd name="connsiteY2" fmla="*/ 257442 h 257442"/>
                <a:gd name="connsiteX3" fmla="*/ 54721 w 3031946"/>
                <a:gd name="connsiteY3" fmla="*/ 0 h 257442"/>
                <a:gd name="connsiteX0" fmla="*/ 3200262 w 3200262"/>
                <a:gd name="connsiteY0" fmla="*/ 0 h 257442"/>
                <a:gd name="connsiteX1" fmla="*/ 2977226 w 3200262"/>
                <a:gd name="connsiteY1" fmla="*/ 257442 h 257442"/>
                <a:gd name="connsiteX2" fmla="*/ 0 w 3200262"/>
                <a:gd name="connsiteY2" fmla="*/ 257442 h 257442"/>
                <a:gd name="connsiteX3" fmla="*/ 54721 w 3200262"/>
                <a:gd name="connsiteY3" fmla="*/ 0 h 257442"/>
                <a:gd name="connsiteX0" fmla="*/ 3200262 w 3200262"/>
                <a:gd name="connsiteY0" fmla="*/ 0 h 257442"/>
                <a:gd name="connsiteX1" fmla="*/ 3145542 w 3200262"/>
                <a:gd name="connsiteY1" fmla="*/ 257442 h 257442"/>
                <a:gd name="connsiteX2" fmla="*/ 0 w 3200262"/>
                <a:gd name="connsiteY2" fmla="*/ 257442 h 257442"/>
                <a:gd name="connsiteX3" fmla="*/ 54721 w 3200262"/>
                <a:gd name="connsiteY3" fmla="*/ 0 h 257442"/>
                <a:gd name="connsiteX0" fmla="*/ 3200262 w 3200262"/>
                <a:gd name="connsiteY0" fmla="*/ 0 h 257442"/>
                <a:gd name="connsiteX1" fmla="*/ 3145542 w 3200262"/>
                <a:gd name="connsiteY1" fmla="*/ 257442 h 257442"/>
                <a:gd name="connsiteX2" fmla="*/ 0 w 3200262"/>
                <a:gd name="connsiteY2" fmla="*/ 257442 h 257442"/>
                <a:gd name="connsiteX3" fmla="*/ 54721 w 3200262"/>
                <a:gd name="connsiteY3" fmla="*/ 0 h 257442"/>
                <a:gd name="connsiteX0" fmla="*/ 3200262 w 3200262"/>
                <a:gd name="connsiteY0" fmla="*/ 0 h 257442"/>
                <a:gd name="connsiteX1" fmla="*/ 3145542 w 3200262"/>
                <a:gd name="connsiteY1" fmla="*/ 257442 h 257442"/>
                <a:gd name="connsiteX2" fmla="*/ 0 w 3200262"/>
                <a:gd name="connsiteY2" fmla="*/ 257442 h 257442"/>
                <a:gd name="connsiteX3" fmla="*/ 54721 w 3200262"/>
                <a:gd name="connsiteY3" fmla="*/ 0 h 257442"/>
                <a:gd name="connsiteX0" fmla="*/ 3368578 w 3368578"/>
                <a:gd name="connsiteY0" fmla="*/ 0 h 257442"/>
                <a:gd name="connsiteX1" fmla="*/ 3145542 w 3368578"/>
                <a:gd name="connsiteY1" fmla="*/ 257442 h 257442"/>
                <a:gd name="connsiteX2" fmla="*/ 0 w 3368578"/>
                <a:gd name="connsiteY2" fmla="*/ 257442 h 257442"/>
                <a:gd name="connsiteX3" fmla="*/ 54721 w 3368578"/>
                <a:gd name="connsiteY3" fmla="*/ 0 h 257442"/>
                <a:gd name="connsiteX0" fmla="*/ 3368578 w 3368578"/>
                <a:gd name="connsiteY0" fmla="*/ 0 h 257442"/>
                <a:gd name="connsiteX1" fmla="*/ 3313857 w 3368578"/>
                <a:gd name="connsiteY1" fmla="*/ 257442 h 257442"/>
                <a:gd name="connsiteX2" fmla="*/ 0 w 3368578"/>
                <a:gd name="connsiteY2" fmla="*/ 257442 h 257442"/>
                <a:gd name="connsiteX3" fmla="*/ 54721 w 3368578"/>
                <a:gd name="connsiteY3" fmla="*/ 0 h 257442"/>
                <a:gd name="connsiteX0" fmla="*/ 3368578 w 3368578"/>
                <a:gd name="connsiteY0" fmla="*/ 0 h 257442"/>
                <a:gd name="connsiteX1" fmla="*/ 3313857 w 3368578"/>
                <a:gd name="connsiteY1" fmla="*/ 257442 h 257442"/>
                <a:gd name="connsiteX2" fmla="*/ 0 w 3368578"/>
                <a:gd name="connsiteY2" fmla="*/ 257442 h 257442"/>
                <a:gd name="connsiteX3" fmla="*/ 54721 w 3368578"/>
                <a:gd name="connsiteY3" fmla="*/ 0 h 257442"/>
                <a:gd name="connsiteX0" fmla="*/ 3368578 w 3368578"/>
                <a:gd name="connsiteY0" fmla="*/ 0 h 257442"/>
                <a:gd name="connsiteX1" fmla="*/ 3313857 w 3368578"/>
                <a:gd name="connsiteY1" fmla="*/ 257442 h 257442"/>
                <a:gd name="connsiteX2" fmla="*/ 0 w 3368578"/>
                <a:gd name="connsiteY2" fmla="*/ 257442 h 257442"/>
                <a:gd name="connsiteX3" fmla="*/ 54721 w 3368578"/>
                <a:gd name="connsiteY3" fmla="*/ 0 h 257442"/>
                <a:gd name="connsiteX0" fmla="*/ 3536894 w 3536894"/>
                <a:gd name="connsiteY0" fmla="*/ 0 h 257442"/>
                <a:gd name="connsiteX1" fmla="*/ 3313857 w 3536894"/>
                <a:gd name="connsiteY1" fmla="*/ 257442 h 257442"/>
                <a:gd name="connsiteX2" fmla="*/ 0 w 3536894"/>
                <a:gd name="connsiteY2" fmla="*/ 257442 h 257442"/>
                <a:gd name="connsiteX3" fmla="*/ 54721 w 3536894"/>
                <a:gd name="connsiteY3" fmla="*/ 0 h 257442"/>
                <a:gd name="connsiteX0" fmla="*/ 3536894 w 3536894"/>
                <a:gd name="connsiteY0" fmla="*/ 0 h 257442"/>
                <a:gd name="connsiteX1" fmla="*/ 3482173 w 3536894"/>
                <a:gd name="connsiteY1" fmla="*/ 257442 h 257442"/>
                <a:gd name="connsiteX2" fmla="*/ 0 w 3536894"/>
                <a:gd name="connsiteY2" fmla="*/ 257442 h 257442"/>
                <a:gd name="connsiteX3" fmla="*/ 54721 w 3536894"/>
                <a:gd name="connsiteY3" fmla="*/ 0 h 257442"/>
                <a:gd name="connsiteX0" fmla="*/ 3536894 w 3536894"/>
                <a:gd name="connsiteY0" fmla="*/ 0 h 257442"/>
                <a:gd name="connsiteX1" fmla="*/ 3482173 w 3536894"/>
                <a:gd name="connsiteY1" fmla="*/ 257442 h 257442"/>
                <a:gd name="connsiteX2" fmla="*/ 0 w 3536894"/>
                <a:gd name="connsiteY2" fmla="*/ 257442 h 257442"/>
                <a:gd name="connsiteX3" fmla="*/ 54721 w 3536894"/>
                <a:gd name="connsiteY3" fmla="*/ 0 h 257442"/>
                <a:gd name="connsiteX0" fmla="*/ 3536894 w 3536894"/>
                <a:gd name="connsiteY0" fmla="*/ 0 h 257442"/>
                <a:gd name="connsiteX1" fmla="*/ 3482173 w 3536894"/>
                <a:gd name="connsiteY1" fmla="*/ 257442 h 257442"/>
                <a:gd name="connsiteX2" fmla="*/ 0 w 3536894"/>
                <a:gd name="connsiteY2" fmla="*/ 257442 h 257442"/>
                <a:gd name="connsiteX3" fmla="*/ 54721 w 3536894"/>
                <a:gd name="connsiteY3" fmla="*/ 0 h 257442"/>
                <a:gd name="connsiteX0" fmla="*/ 2382732 w 3482173"/>
                <a:gd name="connsiteY0" fmla="*/ 0 h 257442"/>
                <a:gd name="connsiteX1" fmla="*/ 3482173 w 3482173"/>
                <a:gd name="connsiteY1" fmla="*/ 257442 h 257442"/>
                <a:gd name="connsiteX2" fmla="*/ 0 w 3482173"/>
                <a:gd name="connsiteY2" fmla="*/ 257442 h 257442"/>
                <a:gd name="connsiteX3" fmla="*/ 54721 w 3482173"/>
                <a:gd name="connsiteY3" fmla="*/ 0 h 257442"/>
                <a:gd name="connsiteX0" fmla="*/ 2382732 w 2382732"/>
                <a:gd name="connsiteY0" fmla="*/ 0 h 257442"/>
                <a:gd name="connsiteX1" fmla="*/ 2328012 w 2382732"/>
                <a:gd name="connsiteY1" fmla="*/ 257442 h 257442"/>
                <a:gd name="connsiteX2" fmla="*/ 0 w 2382732"/>
                <a:gd name="connsiteY2" fmla="*/ 257442 h 257442"/>
                <a:gd name="connsiteX3" fmla="*/ 54721 w 2382732"/>
                <a:gd name="connsiteY3" fmla="*/ 0 h 257442"/>
                <a:gd name="connsiteX0" fmla="*/ 2382731 w 2382731"/>
                <a:gd name="connsiteY0" fmla="*/ 0 h 257442"/>
                <a:gd name="connsiteX1" fmla="*/ 2328011 w 2382731"/>
                <a:gd name="connsiteY1" fmla="*/ 257442 h 257442"/>
                <a:gd name="connsiteX2" fmla="*/ 0 w 2382731"/>
                <a:gd name="connsiteY2" fmla="*/ 257442 h 257442"/>
                <a:gd name="connsiteX3" fmla="*/ 54720 w 2382731"/>
                <a:gd name="connsiteY3" fmla="*/ 0 h 257442"/>
                <a:gd name="connsiteX0" fmla="*/ 2382731 w 2382731"/>
                <a:gd name="connsiteY0" fmla="*/ 0 h 257442"/>
                <a:gd name="connsiteX1" fmla="*/ 2328011 w 2382731"/>
                <a:gd name="connsiteY1" fmla="*/ 257442 h 257442"/>
                <a:gd name="connsiteX2" fmla="*/ 0 w 2382731"/>
                <a:gd name="connsiteY2" fmla="*/ 257442 h 257442"/>
                <a:gd name="connsiteX3" fmla="*/ 54721 w 2382731"/>
                <a:gd name="connsiteY3" fmla="*/ 0 h 257442"/>
                <a:gd name="connsiteX0" fmla="*/ 2543032 w 2543032"/>
                <a:gd name="connsiteY0" fmla="*/ 0 h 257442"/>
                <a:gd name="connsiteX1" fmla="*/ 2328011 w 2543032"/>
                <a:gd name="connsiteY1" fmla="*/ 257442 h 257442"/>
                <a:gd name="connsiteX2" fmla="*/ 0 w 2543032"/>
                <a:gd name="connsiteY2" fmla="*/ 257442 h 257442"/>
                <a:gd name="connsiteX3" fmla="*/ 54721 w 2543032"/>
                <a:gd name="connsiteY3" fmla="*/ 0 h 257442"/>
                <a:gd name="connsiteX0" fmla="*/ 2543032 w 2543032"/>
                <a:gd name="connsiteY0" fmla="*/ 0 h 257442"/>
                <a:gd name="connsiteX1" fmla="*/ 2488310 w 2543032"/>
                <a:gd name="connsiteY1" fmla="*/ 257442 h 257442"/>
                <a:gd name="connsiteX2" fmla="*/ 0 w 2543032"/>
                <a:gd name="connsiteY2" fmla="*/ 257442 h 257442"/>
                <a:gd name="connsiteX3" fmla="*/ 54721 w 2543032"/>
                <a:gd name="connsiteY3" fmla="*/ 0 h 257442"/>
                <a:gd name="connsiteX0" fmla="*/ 2543033 w 2543033"/>
                <a:gd name="connsiteY0" fmla="*/ 0 h 257442"/>
                <a:gd name="connsiteX1" fmla="*/ 2488311 w 2543033"/>
                <a:gd name="connsiteY1" fmla="*/ 257442 h 257442"/>
                <a:gd name="connsiteX2" fmla="*/ 0 w 2543033"/>
                <a:gd name="connsiteY2" fmla="*/ 257442 h 257442"/>
                <a:gd name="connsiteX3" fmla="*/ 54722 w 2543033"/>
                <a:gd name="connsiteY3" fmla="*/ 0 h 257442"/>
                <a:gd name="connsiteX0" fmla="*/ 2543033 w 2543033"/>
                <a:gd name="connsiteY0" fmla="*/ 0 h 257442"/>
                <a:gd name="connsiteX1" fmla="*/ 2488311 w 2543033"/>
                <a:gd name="connsiteY1" fmla="*/ 257442 h 257442"/>
                <a:gd name="connsiteX2" fmla="*/ 0 w 2543033"/>
                <a:gd name="connsiteY2" fmla="*/ 257442 h 257442"/>
                <a:gd name="connsiteX3" fmla="*/ 54722 w 2543033"/>
                <a:gd name="connsiteY3" fmla="*/ 0 h 257442"/>
                <a:gd name="connsiteX0" fmla="*/ 2711347 w 2711347"/>
                <a:gd name="connsiteY0" fmla="*/ 0 h 257442"/>
                <a:gd name="connsiteX1" fmla="*/ 2488311 w 2711347"/>
                <a:gd name="connsiteY1" fmla="*/ 257442 h 257442"/>
                <a:gd name="connsiteX2" fmla="*/ 0 w 2711347"/>
                <a:gd name="connsiteY2" fmla="*/ 257442 h 257442"/>
                <a:gd name="connsiteX3" fmla="*/ 54722 w 2711347"/>
                <a:gd name="connsiteY3" fmla="*/ 0 h 257442"/>
                <a:gd name="connsiteX0" fmla="*/ 2711347 w 2711347"/>
                <a:gd name="connsiteY0" fmla="*/ 0 h 257442"/>
                <a:gd name="connsiteX1" fmla="*/ 2656627 w 2711347"/>
                <a:gd name="connsiteY1" fmla="*/ 257442 h 257442"/>
                <a:gd name="connsiteX2" fmla="*/ 0 w 2711347"/>
                <a:gd name="connsiteY2" fmla="*/ 257442 h 257442"/>
                <a:gd name="connsiteX3" fmla="*/ 54722 w 2711347"/>
                <a:gd name="connsiteY3" fmla="*/ 0 h 257442"/>
                <a:gd name="connsiteX0" fmla="*/ 2711346 w 2711346"/>
                <a:gd name="connsiteY0" fmla="*/ 0 h 257442"/>
                <a:gd name="connsiteX1" fmla="*/ 2656626 w 2711346"/>
                <a:gd name="connsiteY1" fmla="*/ 257442 h 257442"/>
                <a:gd name="connsiteX2" fmla="*/ 0 w 2711346"/>
                <a:gd name="connsiteY2" fmla="*/ 257442 h 257442"/>
                <a:gd name="connsiteX3" fmla="*/ 54721 w 2711346"/>
                <a:gd name="connsiteY3" fmla="*/ 0 h 257442"/>
                <a:gd name="connsiteX0" fmla="*/ 2711346 w 2711346"/>
                <a:gd name="connsiteY0" fmla="*/ 0 h 257442"/>
                <a:gd name="connsiteX1" fmla="*/ 2656626 w 2711346"/>
                <a:gd name="connsiteY1" fmla="*/ 257442 h 257442"/>
                <a:gd name="connsiteX2" fmla="*/ 0 w 2711346"/>
                <a:gd name="connsiteY2" fmla="*/ 257442 h 257442"/>
                <a:gd name="connsiteX3" fmla="*/ 54720 w 2711346"/>
                <a:gd name="connsiteY3" fmla="*/ 0 h 257442"/>
                <a:gd name="connsiteX0" fmla="*/ 2964620 w 2964620"/>
                <a:gd name="connsiteY0" fmla="*/ 0 h 257442"/>
                <a:gd name="connsiteX1" fmla="*/ 2656626 w 2964620"/>
                <a:gd name="connsiteY1" fmla="*/ 257442 h 257442"/>
                <a:gd name="connsiteX2" fmla="*/ 0 w 2964620"/>
                <a:gd name="connsiteY2" fmla="*/ 257442 h 257442"/>
                <a:gd name="connsiteX3" fmla="*/ 54720 w 2964620"/>
                <a:gd name="connsiteY3" fmla="*/ 0 h 257442"/>
                <a:gd name="connsiteX0" fmla="*/ 2964620 w 2964620"/>
                <a:gd name="connsiteY0" fmla="*/ 0 h 257442"/>
                <a:gd name="connsiteX1" fmla="*/ 2909899 w 2964620"/>
                <a:gd name="connsiteY1" fmla="*/ 257442 h 257442"/>
                <a:gd name="connsiteX2" fmla="*/ 0 w 2964620"/>
                <a:gd name="connsiteY2" fmla="*/ 257442 h 257442"/>
                <a:gd name="connsiteX3" fmla="*/ 54720 w 2964620"/>
                <a:gd name="connsiteY3" fmla="*/ 0 h 257442"/>
                <a:gd name="connsiteX0" fmla="*/ 2964621 w 2964621"/>
                <a:gd name="connsiteY0" fmla="*/ 0 h 257442"/>
                <a:gd name="connsiteX1" fmla="*/ 2909900 w 2964621"/>
                <a:gd name="connsiteY1" fmla="*/ 257442 h 257442"/>
                <a:gd name="connsiteX2" fmla="*/ 0 w 2964621"/>
                <a:gd name="connsiteY2" fmla="*/ 257442 h 257442"/>
                <a:gd name="connsiteX3" fmla="*/ 54721 w 2964621"/>
                <a:gd name="connsiteY3" fmla="*/ 0 h 257442"/>
                <a:gd name="connsiteX0" fmla="*/ 2964621 w 2964621"/>
                <a:gd name="connsiteY0" fmla="*/ 0 h 257442"/>
                <a:gd name="connsiteX1" fmla="*/ 2909900 w 2964621"/>
                <a:gd name="connsiteY1" fmla="*/ 257442 h 257442"/>
                <a:gd name="connsiteX2" fmla="*/ 0 w 2964621"/>
                <a:gd name="connsiteY2" fmla="*/ 257442 h 257442"/>
                <a:gd name="connsiteX3" fmla="*/ 54722 w 2964621"/>
                <a:gd name="connsiteY3" fmla="*/ 0 h 257442"/>
                <a:gd name="connsiteX0" fmla="*/ 3150571 w 3150571"/>
                <a:gd name="connsiteY0" fmla="*/ 0 h 257442"/>
                <a:gd name="connsiteX1" fmla="*/ 2909900 w 3150571"/>
                <a:gd name="connsiteY1" fmla="*/ 257442 h 257442"/>
                <a:gd name="connsiteX2" fmla="*/ 0 w 3150571"/>
                <a:gd name="connsiteY2" fmla="*/ 257442 h 257442"/>
                <a:gd name="connsiteX3" fmla="*/ 54722 w 3150571"/>
                <a:gd name="connsiteY3" fmla="*/ 0 h 257442"/>
                <a:gd name="connsiteX0" fmla="*/ 3150571 w 3150571"/>
                <a:gd name="connsiteY0" fmla="*/ 0 h 257442"/>
                <a:gd name="connsiteX1" fmla="*/ 3095850 w 3150571"/>
                <a:gd name="connsiteY1" fmla="*/ 257442 h 257442"/>
                <a:gd name="connsiteX2" fmla="*/ 0 w 3150571"/>
                <a:gd name="connsiteY2" fmla="*/ 257442 h 257442"/>
                <a:gd name="connsiteX3" fmla="*/ 54722 w 3150571"/>
                <a:gd name="connsiteY3" fmla="*/ 0 h 257442"/>
                <a:gd name="connsiteX0" fmla="*/ 3150570 w 3150570"/>
                <a:gd name="connsiteY0" fmla="*/ 0 h 257442"/>
                <a:gd name="connsiteX1" fmla="*/ 3095849 w 3150570"/>
                <a:gd name="connsiteY1" fmla="*/ 257442 h 257442"/>
                <a:gd name="connsiteX2" fmla="*/ 0 w 3150570"/>
                <a:gd name="connsiteY2" fmla="*/ 257442 h 257442"/>
                <a:gd name="connsiteX3" fmla="*/ 54721 w 3150570"/>
                <a:gd name="connsiteY3" fmla="*/ 0 h 257442"/>
                <a:gd name="connsiteX0" fmla="*/ 3150570 w 3150570"/>
                <a:gd name="connsiteY0" fmla="*/ 0 h 257442"/>
                <a:gd name="connsiteX1" fmla="*/ 3095849 w 3150570"/>
                <a:gd name="connsiteY1" fmla="*/ 257442 h 257442"/>
                <a:gd name="connsiteX2" fmla="*/ 0 w 3150570"/>
                <a:gd name="connsiteY2" fmla="*/ 257442 h 257442"/>
                <a:gd name="connsiteX3" fmla="*/ 54720 w 3150570"/>
                <a:gd name="connsiteY3" fmla="*/ 0 h 257442"/>
                <a:gd name="connsiteX0" fmla="*/ 3310869 w 3310869"/>
                <a:gd name="connsiteY0" fmla="*/ 0 h 257442"/>
                <a:gd name="connsiteX1" fmla="*/ 3095849 w 3310869"/>
                <a:gd name="connsiteY1" fmla="*/ 257442 h 257442"/>
                <a:gd name="connsiteX2" fmla="*/ 0 w 3310869"/>
                <a:gd name="connsiteY2" fmla="*/ 257442 h 257442"/>
                <a:gd name="connsiteX3" fmla="*/ 54720 w 3310869"/>
                <a:gd name="connsiteY3" fmla="*/ 0 h 257442"/>
                <a:gd name="connsiteX0" fmla="*/ 3310869 w 3310869"/>
                <a:gd name="connsiteY0" fmla="*/ 0 h 257442"/>
                <a:gd name="connsiteX1" fmla="*/ 3256148 w 3310869"/>
                <a:gd name="connsiteY1" fmla="*/ 257442 h 257442"/>
                <a:gd name="connsiteX2" fmla="*/ 0 w 3310869"/>
                <a:gd name="connsiteY2" fmla="*/ 257442 h 257442"/>
                <a:gd name="connsiteX3" fmla="*/ 54720 w 3310869"/>
                <a:gd name="connsiteY3" fmla="*/ 0 h 257442"/>
                <a:gd name="connsiteX0" fmla="*/ 3310870 w 3310870"/>
                <a:gd name="connsiteY0" fmla="*/ 0 h 257442"/>
                <a:gd name="connsiteX1" fmla="*/ 3256149 w 3310870"/>
                <a:gd name="connsiteY1" fmla="*/ 257442 h 257442"/>
                <a:gd name="connsiteX2" fmla="*/ 0 w 3310870"/>
                <a:gd name="connsiteY2" fmla="*/ 257442 h 257442"/>
                <a:gd name="connsiteX3" fmla="*/ 54721 w 3310870"/>
                <a:gd name="connsiteY3" fmla="*/ 0 h 257442"/>
                <a:gd name="connsiteX0" fmla="*/ 3310870 w 3310870"/>
                <a:gd name="connsiteY0" fmla="*/ 0 h 257442"/>
                <a:gd name="connsiteX1" fmla="*/ 3256149 w 3310870"/>
                <a:gd name="connsiteY1" fmla="*/ 257442 h 257442"/>
                <a:gd name="connsiteX2" fmla="*/ 0 w 3310870"/>
                <a:gd name="connsiteY2" fmla="*/ 257442 h 257442"/>
                <a:gd name="connsiteX3" fmla="*/ 54721 w 3310870"/>
                <a:gd name="connsiteY3" fmla="*/ 0 h 257442"/>
                <a:gd name="connsiteX0" fmla="*/ 3479186 w 3479186"/>
                <a:gd name="connsiteY0" fmla="*/ 0 h 257442"/>
                <a:gd name="connsiteX1" fmla="*/ 3256149 w 3479186"/>
                <a:gd name="connsiteY1" fmla="*/ 257442 h 257442"/>
                <a:gd name="connsiteX2" fmla="*/ 0 w 3479186"/>
                <a:gd name="connsiteY2" fmla="*/ 257442 h 257442"/>
                <a:gd name="connsiteX3" fmla="*/ 54721 w 3479186"/>
                <a:gd name="connsiteY3" fmla="*/ 0 h 257442"/>
                <a:gd name="connsiteX0" fmla="*/ 3479186 w 3479186"/>
                <a:gd name="connsiteY0" fmla="*/ 0 h 257442"/>
                <a:gd name="connsiteX1" fmla="*/ 3424465 w 3479186"/>
                <a:gd name="connsiteY1" fmla="*/ 257442 h 257442"/>
                <a:gd name="connsiteX2" fmla="*/ 0 w 3479186"/>
                <a:gd name="connsiteY2" fmla="*/ 257442 h 257442"/>
                <a:gd name="connsiteX3" fmla="*/ 54721 w 3479186"/>
                <a:gd name="connsiteY3" fmla="*/ 0 h 257442"/>
                <a:gd name="connsiteX0" fmla="*/ 3479186 w 3479186"/>
                <a:gd name="connsiteY0" fmla="*/ 0 h 257442"/>
                <a:gd name="connsiteX1" fmla="*/ 3424465 w 3479186"/>
                <a:gd name="connsiteY1" fmla="*/ 257442 h 257442"/>
                <a:gd name="connsiteX2" fmla="*/ 0 w 3479186"/>
                <a:gd name="connsiteY2" fmla="*/ 257442 h 257442"/>
                <a:gd name="connsiteX3" fmla="*/ 54721 w 3479186"/>
                <a:gd name="connsiteY3" fmla="*/ 0 h 257442"/>
                <a:gd name="connsiteX0" fmla="*/ 3479186 w 3479186"/>
                <a:gd name="connsiteY0" fmla="*/ 0 h 257442"/>
                <a:gd name="connsiteX1" fmla="*/ 3424465 w 3479186"/>
                <a:gd name="connsiteY1" fmla="*/ 257442 h 257442"/>
                <a:gd name="connsiteX2" fmla="*/ 0 w 3479186"/>
                <a:gd name="connsiteY2" fmla="*/ 257442 h 257442"/>
                <a:gd name="connsiteX3" fmla="*/ 54721 w 3479186"/>
                <a:gd name="connsiteY3" fmla="*/ 0 h 257442"/>
                <a:gd name="connsiteX0" fmla="*/ 968434 w 3424465"/>
                <a:gd name="connsiteY0" fmla="*/ 0 h 257442"/>
                <a:gd name="connsiteX1" fmla="*/ 3424465 w 3424465"/>
                <a:gd name="connsiteY1" fmla="*/ 257442 h 257442"/>
                <a:gd name="connsiteX2" fmla="*/ 0 w 3424465"/>
                <a:gd name="connsiteY2" fmla="*/ 257442 h 257442"/>
                <a:gd name="connsiteX3" fmla="*/ 54721 w 3424465"/>
                <a:gd name="connsiteY3" fmla="*/ 0 h 257442"/>
                <a:gd name="connsiteX0" fmla="*/ 968434 w 968434"/>
                <a:gd name="connsiteY0" fmla="*/ 0 h 257442"/>
                <a:gd name="connsiteX1" fmla="*/ 913714 w 968434"/>
                <a:gd name="connsiteY1" fmla="*/ 257442 h 257442"/>
                <a:gd name="connsiteX2" fmla="*/ 0 w 968434"/>
                <a:gd name="connsiteY2" fmla="*/ 257442 h 257442"/>
                <a:gd name="connsiteX3" fmla="*/ 54721 w 968434"/>
                <a:gd name="connsiteY3" fmla="*/ 0 h 257442"/>
                <a:gd name="connsiteX0" fmla="*/ 968433 w 968433"/>
                <a:gd name="connsiteY0" fmla="*/ 0 h 257442"/>
                <a:gd name="connsiteX1" fmla="*/ 913713 w 968433"/>
                <a:gd name="connsiteY1" fmla="*/ 257442 h 257442"/>
                <a:gd name="connsiteX2" fmla="*/ 0 w 968433"/>
                <a:gd name="connsiteY2" fmla="*/ 257442 h 257442"/>
                <a:gd name="connsiteX3" fmla="*/ 54720 w 968433"/>
                <a:gd name="connsiteY3" fmla="*/ 0 h 257442"/>
                <a:gd name="connsiteX0" fmla="*/ 968433 w 968433"/>
                <a:gd name="connsiteY0" fmla="*/ 0 h 257442"/>
                <a:gd name="connsiteX1" fmla="*/ 913713 w 968433"/>
                <a:gd name="connsiteY1" fmla="*/ 257442 h 257442"/>
                <a:gd name="connsiteX2" fmla="*/ 0 w 968433"/>
                <a:gd name="connsiteY2" fmla="*/ 257442 h 257442"/>
                <a:gd name="connsiteX3" fmla="*/ 54721 w 968433"/>
                <a:gd name="connsiteY3" fmla="*/ 0 h 257442"/>
                <a:gd name="connsiteX0" fmla="*/ 1237738 w 1237738"/>
                <a:gd name="connsiteY0" fmla="*/ 0 h 257442"/>
                <a:gd name="connsiteX1" fmla="*/ 913713 w 1237738"/>
                <a:gd name="connsiteY1" fmla="*/ 257442 h 257442"/>
                <a:gd name="connsiteX2" fmla="*/ 0 w 1237738"/>
                <a:gd name="connsiteY2" fmla="*/ 257442 h 257442"/>
                <a:gd name="connsiteX3" fmla="*/ 54721 w 1237738"/>
                <a:gd name="connsiteY3" fmla="*/ 0 h 257442"/>
                <a:gd name="connsiteX0" fmla="*/ 1237738 w 1237738"/>
                <a:gd name="connsiteY0" fmla="*/ 0 h 257442"/>
                <a:gd name="connsiteX1" fmla="*/ 1183016 w 1237738"/>
                <a:gd name="connsiteY1" fmla="*/ 257442 h 257442"/>
                <a:gd name="connsiteX2" fmla="*/ 0 w 1237738"/>
                <a:gd name="connsiteY2" fmla="*/ 257442 h 257442"/>
                <a:gd name="connsiteX3" fmla="*/ 54721 w 1237738"/>
                <a:gd name="connsiteY3" fmla="*/ 0 h 257442"/>
                <a:gd name="connsiteX0" fmla="*/ 1237739 w 1237739"/>
                <a:gd name="connsiteY0" fmla="*/ 0 h 257442"/>
                <a:gd name="connsiteX1" fmla="*/ 1183017 w 1237739"/>
                <a:gd name="connsiteY1" fmla="*/ 257442 h 257442"/>
                <a:gd name="connsiteX2" fmla="*/ 0 w 1237739"/>
                <a:gd name="connsiteY2" fmla="*/ 257442 h 257442"/>
                <a:gd name="connsiteX3" fmla="*/ 54722 w 1237739"/>
                <a:gd name="connsiteY3" fmla="*/ 0 h 257442"/>
                <a:gd name="connsiteX0" fmla="*/ 1237739 w 1237739"/>
                <a:gd name="connsiteY0" fmla="*/ 0 h 257442"/>
                <a:gd name="connsiteX1" fmla="*/ 1183017 w 1237739"/>
                <a:gd name="connsiteY1" fmla="*/ 257442 h 257442"/>
                <a:gd name="connsiteX2" fmla="*/ 0 w 1237739"/>
                <a:gd name="connsiteY2" fmla="*/ 257442 h 257442"/>
                <a:gd name="connsiteX3" fmla="*/ 54722 w 1237739"/>
                <a:gd name="connsiteY3" fmla="*/ 0 h 257442"/>
                <a:gd name="connsiteX0" fmla="*/ 1406055 w 1406055"/>
                <a:gd name="connsiteY0" fmla="*/ 0 h 257442"/>
                <a:gd name="connsiteX1" fmla="*/ 1183017 w 1406055"/>
                <a:gd name="connsiteY1" fmla="*/ 257442 h 257442"/>
                <a:gd name="connsiteX2" fmla="*/ 0 w 1406055"/>
                <a:gd name="connsiteY2" fmla="*/ 257442 h 257442"/>
                <a:gd name="connsiteX3" fmla="*/ 54722 w 1406055"/>
                <a:gd name="connsiteY3" fmla="*/ 0 h 257442"/>
                <a:gd name="connsiteX0" fmla="*/ 1406055 w 1406055"/>
                <a:gd name="connsiteY0" fmla="*/ 0 h 257442"/>
                <a:gd name="connsiteX1" fmla="*/ 1351334 w 1406055"/>
                <a:gd name="connsiteY1" fmla="*/ 257442 h 257442"/>
                <a:gd name="connsiteX2" fmla="*/ 0 w 1406055"/>
                <a:gd name="connsiteY2" fmla="*/ 257442 h 257442"/>
                <a:gd name="connsiteX3" fmla="*/ 54722 w 1406055"/>
                <a:gd name="connsiteY3" fmla="*/ 0 h 257442"/>
                <a:gd name="connsiteX0" fmla="*/ 1406054 w 1406054"/>
                <a:gd name="connsiteY0" fmla="*/ 0 h 257442"/>
                <a:gd name="connsiteX1" fmla="*/ 1351333 w 1406054"/>
                <a:gd name="connsiteY1" fmla="*/ 257442 h 257442"/>
                <a:gd name="connsiteX2" fmla="*/ 0 w 1406054"/>
                <a:gd name="connsiteY2" fmla="*/ 257442 h 257442"/>
                <a:gd name="connsiteX3" fmla="*/ 54721 w 1406054"/>
                <a:gd name="connsiteY3" fmla="*/ 0 h 257442"/>
                <a:gd name="connsiteX0" fmla="*/ 1406054 w 1406054"/>
                <a:gd name="connsiteY0" fmla="*/ 0 h 257442"/>
                <a:gd name="connsiteX1" fmla="*/ 1351333 w 1406054"/>
                <a:gd name="connsiteY1" fmla="*/ 257442 h 257442"/>
                <a:gd name="connsiteX2" fmla="*/ 0 w 1406054"/>
                <a:gd name="connsiteY2" fmla="*/ 257442 h 257442"/>
                <a:gd name="connsiteX3" fmla="*/ 54720 w 1406054"/>
                <a:gd name="connsiteY3" fmla="*/ 0 h 257442"/>
                <a:gd name="connsiteX0" fmla="*/ 1574368 w 1574368"/>
                <a:gd name="connsiteY0" fmla="*/ 0 h 257442"/>
                <a:gd name="connsiteX1" fmla="*/ 1351333 w 1574368"/>
                <a:gd name="connsiteY1" fmla="*/ 257442 h 257442"/>
                <a:gd name="connsiteX2" fmla="*/ 0 w 1574368"/>
                <a:gd name="connsiteY2" fmla="*/ 257442 h 257442"/>
                <a:gd name="connsiteX3" fmla="*/ 54720 w 1574368"/>
                <a:gd name="connsiteY3" fmla="*/ 0 h 257442"/>
                <a:gd name="connsiteX0" fmla="*/ 1574368 w 1574368"/>
                <a:gd name="connsiteY0" fmla="*/ 0 h 257442"/>
                <a:gd name="connsiteX1" fmla="*/ 1519647 w 1574368"/>
                <a:gd name="connsiteY1" fmla="*/ 257442 h 257442"/>
                <a:gd name="connsiteX2" fmla="*/ 0 w 1574368"/>
                <a:gd name="connsiteY2" fmla="*/ 257442 h 257442"/>
                <a:gd name="connsiteX3" fmla="*/ 54720 w 1574368"/>
                <a:gd name="connsiteY3" fmla="*/ 0 h 257442"/>
                <a:gd name="connsiteX0" fmla="*/ 1574369 w 1574369"/>
                <a:gd name="connsiteY0" fmla="*/ 0 h 257442"/>
                <a:gd name="connsiteX1" fmla="*/ 1519648 w 1574369"/>
                <a:gd name="connsiteY1" fmla="*/ 257442 h 257442"/>
                <a:gd name="connsiteX2" fmla="*/ 0 w 1574369"/>
                <a:gd name="connsiteY2" fmla="*/ 257442 h 257442"/>
                <a:gd name="connsiteX3" fmla="*/ 54721 w 1574369"/>
                <a:gd name="connsiteY3" fmla="*/ 0 h 257442"/>
                <a:gd name="connsiteX0" fmla="*/ 1574369 w 1574369"/>
                <a:gd name="connsiteY0" fmla="*/ 0 h 257442"/>
                <a:gd name="connsiteX1" fmla="*/ 1519648 w 1574369"/>
                <a:gd name="connsiteY1" fmla="*/ 257442 h 257442"/>
                <a:gd name="connsiteX2" fmla="*/ 0 w 1574369"/>
                <a:gd name="connsiteY2" fmla="*/ 257442 h 257442"/>
                <a:gd name="connsiteX3" fmla="*/ 54722 w 1574369"/>
                <a:gd name="connsiteY3" fmla="*/ 0 h 257442"/>
                <a:gd name="connsiteX0" fmla="*/ 1752304 w 1752304"/>
                <a:gd name="connsiteY0" fmla="*/ 0 h 257442"/>
                <a:gd name="connsiteX1" fmla="*/ 1519648 w 1752304"/>
                <a:gd name="connsiteY1" fmla="*/ 257442 h 257442"/>
                <a:gd name="connsiteX2" fmla="*/ 0 w 1752304"/>
                <a:gd name="connsiteY2" fmla="*/ 257442 h 257442"/>
                <a:gd name="connsiteX3" fmla="*/ 54722 w 1752304"/>
                <a:gd name="connsiteY3" fmla="*/ 0 h 257442"/>
                <a:gd name="connsiteX0" fmla="*/ 1752304 w 1752304"/>
                <a:gd name="connsiteY0" fmla="*/ 0 h 257442"/>
                <a:gd name="connsiteX1" fmla="*/ 1697582 w 1752304"/>
                <a:gd name="connsiteY1" fmla="*/ 257442 h 257442"/>
                <a:gd name="connsiteX2" fmla="*/ 0 w 1752304"/>
                <a:gd name="connsiteY2" fmla="*/ 257442 h 257442"/>
                <a:gd name="connsiteX3" fmla="*/ 54722 w 1752304"/>
                <a:gd name="connsiteY3" fmla="*/ 0 h 257442"/>
                <a:gd name="connsiteX0" fmla="*/ 1752304 w 1752304"/>
                <a:gd name="connsiteY0" fmla="*/ 0 h 257442"/>
                <a:gd name="connsiteX1" fmla="*/ 1697582 w 1752304"/>
                <a:gd name="connsiteY1" fmla="*/ 257442 h 257442"/>
                <a:gd name="connsiteX2" fmla="*/ 0 w 1752304"/>
                <a:gd name="connsiteY2" fmla="*/ 257442 h 257442"/>
                <a:gd name="connsiteX3" fmla="*/ 54722 w 1752304"/>
                <a:gd name="connsiteY3" fmla="*/ 0 h 257442"/>
                <a:gd name="connsiteX0" fmla="*/ 1752304 w 1752304"/>
                <a:gd name="connsiteY0" fmla="*/ 0 h 257442"/>
                <a:gd name="connsiteX1" fmla="*/ 1697582 w 1752304"/>
                <a:gd name="connsiteY1" fmla="*/ 257442 h 257442"/>
                <a:gd name="connsiteX2" fmla="*/ 0 w 1752304"/>
                <a:gd name="connsiteY2" fmla="*/ 257442 h 257442"/>
                <a:gd name="connsiteX3" fmla="*/ 54721 w 1752304"/>
                <a:gd name="connsiteY3" fmla="*/ 0 h 257442"/>
                <a:gd name="connsiteX0" fmla="*/ 1920617 w 1920617"/>
                <a:gd name="connsiteY0" fmla="*/ 0 h 257442"/>
                <a:gd name="connsiteX1" fmla="*/ 1697582 w 1920617"/>
                <a:gd name="connsiteY1" fmla="*/ 257442 h 257442"/>
                <a:gd name="connsiteX2" fmla="*/ 0 w 1920617"/>
                <a:gd name="connsiteY2" fmla="*/ 257442 h 257442"/>
                <a:gd name="connsiteX3" fmla="*/ 54721 w 1920617"/>
                <a:gd name="connsiteY3" fmla="*/ 0 h 257442"/>
                <a:gd name="connsiteX0" fmla="*/ 1920617 w 1920617"/>
                <a:gd name="connsiteY0" fmla="*/ 0 h 257442"/>
                <a:gd name="connsiteX1" fmla="*/ 1865896 w 1920617"/>
                <a:gd name="connsiteY1" fmla="*/ 257442 h 257442"/>
                <a:gd name="connsiteX2" fmla="*/ 0 w 1920617"/>
                <a:gd name="connsiteY2" fmla="*/ 257442 h 257442"/>
                <a:gd name="connsiteX3" fmla="*/ 54721 w 1920617"/>
                <a:gd name="connsiteY3" fmla="*/ 0 h 257442"/>
                <a:gd name="connsiteX0" fmla="*/ 1920617 w 1920617"/>
                <a:gd name="connsiteY0" fmla="*/ 0 h 257442"/>
                <a:gd name="connsiteX1" fmla="*/ 1865896 w 1920617"/>
                <a:gd name="connsiteY1" fmla="*/ 257442 h 257442"/>
                <a:gd name="connsiteX2" fmla="*/ 0 w 1920617"/>
                <a:gd name="connsiteY2" fmla="*/ 257442 h 257442"/>
                <a:gd name="connsiteX3" fmla="*/ 54721 w 1920617"/>
                <a:gd name="connsiteY3" fmla="*/ 0 h 257442"/>
                <a:gd name="connsiteX0" fmla="*/ 1920617 w 1920617"/>
                <a:gd name="connsiteY0" fmla="*/ 0 h 257442"/>
                <a:gd name="connsiteX1" fmla="*/ 1865896 w 1920617"/>
                <a:gd name="connsiteY1" fmla="*/ 257442 h 257442"/>
                <a:gd name="connsiteX2" fmla="*/ 0 w 1920617"/>
                <a:gd name="connsiteY2" fmla="*/ 257442 h 257442"/>
                <a:gd name="connsiteX3" fmla="*/ 54721 w 1920617"/>
                <a:gd name="connsiteY3" fmla="*/ 0 h 257442"/>
                <a:gd name="connsiteX0" fmla="*/ 2080918 w 2080918"/>
                <a:gd name="connsiteY0" fmla="*/ 0 h 257442"/>
                <a:gd name="connsiteX1" fmla="*/ 1865896 w 2080918"/>
                <a:gd name="connsiteY1" fmla="*/ 257442 h 257442"/>
                <a:gd name="connsiteX2" fmla="*/ 0 w 2080918"/>
                <a:gd name="connsiteY2" fmla="*/ 257442 h 257442"/>
                <a:gd name="connsiteX3" fmla="*/ 54721 w 2080918"/>
                <a:gd name="connsiteY3" fmla="*/ 0 h 257442"/>
                <a:gd name="connsiteX0" fmla="*/ 2080918 w 2080918"/>
                <a:gd name="connsiteY0" fmla="*/ 0 h 257442"/>
                <a:gd name="connsiteX1" fmla="*/ 2026196 w 2080918"/>
                <a:gd name="connsiteY1" fmla="*/ 257442 h 257442"/>
                <a:gd name="connsiteX2" fmla="*/ 0 w 2080918"/>
                <a:gd name="connsiteY2" fmla="*/ 257442 h 257442"/>
                <a:gd name="connsiteX3" fmla="*/ 54721 w 2080918"/>
                <a:gd name="connsiteY3" fmla="*/ 0 h 257442"/>
                <a:gd name="connsiteX0" fmla="*/ 2080919 w 2080919"/>
                <a:gd name="connsiteY0" fmla="*/ 0 h 257442"/>
                <a:gd name="connsiteX1" fmla="*/ 2026197 w 2080919"/>
                <a:gd name="connsiteY1" fmla="*/ 257442 h 257442"/>
                <a:gd name="connsiteX2" fmla="*/ 0 w 2080919"/>
                <a:gd name="connsiteY2" fmla="*/ 257442 h 257442"/>
                <a:gd name="connsiteX3" fmla="*/ 54722 w 2080919"/>
                <a:gd name="connsiteY3" fmla="*/ 0 h 257442"/>
                <a:gd name="connsiteX0" fmla="*/ 2080919 w 2080919"/>
                <a:gd name="connsiteY0" fmla="*/ 0 h 257442"/>
                <a:gd name="connsiteX1" fmla="*/ 2026197 w 2080919"/>
                <a:gd name="connsiteY1" fmla="*/ 257442 h 257442"/>
                <a:gd name="connsiteX2" fmla="*/ 0 w 2080919"/>
                <a:gd name="connsiteY2" fmla="*/ 257442 h 257442"/>
                <a:gd name="connsiteX3" fmla="*/ 54722 w 2080919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80919" h="257442">
                  <a:moveTo>
                    <a:pt x="2080919" y="0"/>
                  </a:moveTo>
                  <a:lnTo>
                    <a:pt x="2026197" y="257442"/>
                  </a:lnTo>
                  <a:lnTo>
                    <a:pt x="0" y="257442"/>
                  </a:lnTo>
                  <a:lnTo>
                    <a:pt x="54722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0" name="btfpRunningAgenda2LevelTextRight683009">
              <a:extLst>
                <a:ext uri="{FF2B5EF4-FFF2-40B4-BE49-F238E27FC236}">
                  <a16:creationId xmlns:a16="http://schemas.microsoft.com/office/drawing/2014/main" id="{00C6AAE9-DDD0-3EDA-CC40-3E73721DAF8C}"/>
                </a:ext>
              </a:extLst>
            </p:cNvPr>
            <p:cNvSpPr txBox="1"/>
            <p:nvPr/>
          </p:nvSpPr>
          <p:spPr bwMode="gray">
            <a:xfrm>
              <a:off x="3421993" y="876300"/>
              <a:ext cx="1695786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>
                  <a:solidFill>
                    <a:srgbClr val="FFFFFF"/>
                  </a:solidFill>
                </a:rPr>
                <a:t>Target</a:t>
              </a:r>
            </a:p>
          </p:txBody>
        </p:sp>
      </p:grpSp>
      <p:sp>
        <p:nvSpPr>
          <p:cNvPr id="55" name="Rectangle 54">
            <a:extLst>
              <a:ext uri="{FF2B5EF4-FFF2-40B4-BE49-F238E27FC236}">
                <a16:creationId xmlns:a16="http://schemas.microsoft.com/office/drawing/2014/main" id="{BD7865B2-7920-04EB-6C68-16D5F68EE59F}"/>
              </a:ext>
            </a:extLst>
          </p:cNvPr>
          <p:cNvSpPr/>
          <p:nvPr/>
        </p:nvSpPr>
        <p:spPr bwMode="gray">
          <a:xfrm>
            <a:off x="4722289" y="4849294"/>
            <a:ext cx="1021285" cy="38824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i="1">
                <a:solidFill>
                  <a:srgbClr val="000000"/>
                </a:solidFill>
              </a:rPr>
              <a:t>Clunky user interface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329A3C2E-A80F-7473-3959-83039136AC35}"/>
              </a:ext>
            </a:extLst>
          </p:cNvPr>
          <p:cNvSpPr/>
          <p:nvPr/>
        </p:nvSpPr>
        <p:spPr bwMode="gray">
          <a:xfrm>
            <a:off x="4722289" y="4065538"/>
            <a:ext cx="1021285" cy="7114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i="1">
                <a:solidFill>
                  <a:srgbClr val="000000"/>
                </a:solidFill>
              </a:rPr>
              <a:t>Scalability issues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88883911-3521-1644-0593-136379A10271}"/>
              </a:ext>
            </a:extLst>
          </p:cNvPr>
          <p:cNvSpPr/>
          <p:nvPr/>
        </p:nvSpPr>
        <p:spPr bwMode="gray">
          <a:xfrm>
            <a:off x="4722289" y="1918911"/>
            <a:ext cx="1021285" cy="711412"/>
          </a:xfrm>
          <a:prstGeom prst="rect">
            <a:avLst/>
          </a:prstGeom>
          <a:solidFill>
            <a:srgbClr val="DCE2D6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i="1">
                <a:solidFill>
                  <a:srgbClr val="000000"/>
                </a:solidFill>
              </a:rPr>
              <a:t>Comprehensive functionality</a:t>
            </a:r>
          </a:p>
        </p:txBody>
      </p:sp>
      <p:sp>
        <p:nvSpPr>
          <p:cNvPr id="18" name="btfpMGChart62856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jqLMMMTprJfiFfMfF2PNjr0nTPMuHDHXmF0vAMkMG1w/dTnnjU0+FlYq/WE3HHup7UgO8RISD444AyHX4QDmMp0PO+IaXT6fuIadik2tzT0w60gIYPX80gpkm5lKOAZEz48NmVTB6JxGCPWoFqk+qhksmRWzhwGnHAx0BBm2U+tPE01nrnfDHQZX8j6itJidB6L3Eb5gvKnkhZFdfYHQrisWKwLG3OvFBpdne1N8jeN6A6N4a7On9r7QU25W2qxHp6DmkcoImd0PkVQeWTrL+U6FPRj4tbZJ3qJXGjTDsUqNLNP7Y1k8Fup8YBw8vqeAPlIA//qwhbuNg3IKluBhNqv9CKpS8m7rFW4wLllq6xh5FSt/UhdVf8KEdOB0bASJZ9okyf3vuIrMDe57uVeYSTw6OQan2bnqSepToC5UePVrHJd/dxP+IC453PUuVamUclpLidNgHZgcAdmw9lebe4Rhz/XBz632HLEQ7xCcoGcuZ1wIRatS9T5D/e9srxj1SDk1TvZ0BGioTZSUISd1GqTVsbd2AQW9rC7oKSgs4zA9/RgMH+dvjilV8IRreCR9a5KhPFUW+6iD2v/CBTBG/UZy5NtD9nCNyxcfhmyL5U/8NBgOYWwdQnFyYRQGIsrnDIrC48EYj5LylAxeUNaRyDkoBeUhZu06k3vE/Qv7mSvJJ+c/BdjovRHdDkttH0Gf78PFNdQZzVzmHV7qRDGqnHcLf3WZjmZrjE7sOf0DEF5jDd1S5HGmywT4wCO2LE7599TYRFkNPR+Ii6MheRpR4KoJjfAEafffBuzTaEDYuuxLTk8LdmTnhVslLe21cnoWa1nOHWXzxMGVBsok69AhqDIMuEQupgn3SKl29/w/fGQPykuCiSoZ4VPo3xprsxzBWe4ZklB8Ut1LP1nDyJNPUor9pXWYMvL0Np7xX9AwmQTb6c0ep9br/C7A7f8LVnu0I2QvsuOoXVIdHXM2fGB11SW9RulEcBlOrIIVufnI4QmeuHFMdaLb9q4q6ll5qbTsaw8XMVOrUabGr2wHAXJOG+wOgy5TvMgIHcECEX8cvagEPsfE2FDsanbE8lQalFEkbiymO4dsf3FJX+DSSptrmyXJXV16JNdtnY7+MSU9gSQzfpd1PP5auqm8Q1ffydyT6qb5SC2qWB7bZgvK9Zv5vVwdvPkqWRq40Mvs1j/ZuIlYcDiT9EURPOKnvMMxtdUhOQsiNoqofIW8MvU3WAVAWF0WFylpi2jRiKJnjEeQF9j6+frh5XNnAAKleHSDen348l0RCK6jxqQIq/HJQ0yxq/9uBhrKrpMwF19VW2ExEqSrW6rxwbM92s+bDskHc65ZZy0Z8Sy5hSe4b7Qs4/QYzM4KE7JpWMiFcGZJBdKU/dOkGxb6ZuBQqNu7IK+4YN4y9AdZlMABCuGzfWlbHkiJn4umpC2sYC7RB1/WByL2AyPNPrtMF8vNOiHsKhKlZuJgAgDPLR5EnR/xaCN4uysp1I0GwfSjmCYwHODI/oIOomlCZMYGafDHk94BDv7c5QZ/Sopa0CtZJ+FSXR1zhqIFYdpOD838QMpZjXKALxU4KaX6H1Z5nHC4XCZP6BNfL2YWhfizYK+/rgazUfQVLjv1jKO5B95NxAj1Qyrt92dHbOcNo1f+g8Mpsy3ZMJJUnGT6b9eZ2LER4JxzaC5R25cNr/9apHNa8JXE5NLsiIJZOmd8NbF+AmMQ+N4+CwMlEirOcX5YgD9Tz1r8MP3pTyHo9LNoBr4uuxGeyQCyFtOQKgop0oDT1/jhZxqOJDMnt4UynWRNytMQQbtRpnS0hDsLSzjoEmCB4qQVvaiZmu0cpr+I8zCxnFG24Tl9tDuomtVHZ6jXA1W4y3v7LibxgzBQbskm8PYOXpD4zEaVNww8Ij7PwU2k3bGB5g77d3DJTCKdcOn0xaGzG4inRDv1VOJE7PtixTmCoxJJk4EW8oepNAiW9uq5iboASBhtGcKT7WrQIa93BMSnLqCikhw6zUaQUaxsWCfbtNiiWVq7laTtpz3gDhdfjNnNjH423S2y/42kPPFdPREJrdg06pGJARlwcoId1JrghcWbmRGAf3IMAEY09BIcgwdukbURGFXyAI5LX1TC25O2Wm25QD6IlvI0j//Mofw7UbdR5u21IyyOIwlm89Wp+c5XRRK+WxdLkRyNitTI3J18Zx0PmcZCKjMCkvmFt4FD+jvBZ/qxLp+7jfH9d+5/V32qWTWrZwvdX3jxw7p6Jaym9He7Dhu6lHg1qIV+janS12xaOtsbxWwwYDB9E4eBVErUW5s6dqqSorl6ZG0mNMP/GQRFrj/MtsN6es1OnCQv6adA1LBrEi1QV2BRGlOB4+ifLaHvIMk5Tcj8XByVsIGjkpf8cN8Gp1YBLrBZhCCuuoOHnDkonlVde93ghn+Cex9qoJfIjUYMvpkaqduDo1ou4e5/U2LPYBQ8O4yVgG9tXhK0wU/Vx9m6D+W5phzVkeAgD2YBnBpzgcyqhNZJPlmnMeQeJ1bCUo7PZvU0fQDvdsjzS+ZqBjbLaNnP1jgY7Z28IASmpuQpK9famZYubAY7yycJEnGm+TqNLgE5mFkbLu7XkEnQhl4aXMPV6BfVz3iRr/YE2poZD/jddngLaRCFvISY2BfNAy3aQ57Bnw1nLqiTHtkZZL+B6f1kbx9gUsSIQ+MDO7u5RsT45Y8ZBQ8uBGABqdLvyTBG1n4XMeW+b+mP1TV9RCabZn4ewzugHMhut/A1UacQe2eD+FNtbGCxFNgO3/DhuRb3aYVOzw3dmqqun8cxPgL3cfbPAJiN2BoHlbLNDWP2ulZ++o+KYB6Ou6tKcb5Kvm7UxSd4OGyCZCBTXwuXDbbTn31rxAniv7HaqzHJs8uS6WnkgHJeTV9P5IcMGd9vvo8d3zZXKKpoeN/Mk2ommvQNWXMOVdkNRtB4pG8inmIoYki6+WYNVLZF20Ee2+4Uyz/Iq422a8b1nlUiEPiq8noywUTbvpVs504w5/d1z9oLRLsjdMNZndO6gRktUS5czn9HPJGCbExDnGJPrA/v2JsoPDJs4kMyA3dUmpGyNJhoTBB0M5C5Mkuo8eQIlMR3IfKkSAMlIlPHSmgb7sBA3E1T1jQrsyQ2l/mk1Wk+whAh5sfWJm/ZqeQUMPICDPe3wbreWoSVr1itYkHvH5LWOiLt62WsyeII1nGZdl6heGNNTa0w0jUok1f6wDHwB53FTX8lzCleNtvhjVio2lhuJpjEp5VDXuJGK0MZ+dwNNxR/QppwFjDYkDvnQTAG7nHdHPHGRwqBWU2Fd+TVMytXPwGmJhhQy+rgExS1S/MRv4nYznLdlcraeDKv/130MEYSsG2TzAK0491qgLwTq53O3R/HZ0Wr3DSbiK4nCREWkadPj7BmMdFFkEeORBr522aCYf8jT+i8Vz1b6c+ZdYP3BsWGBpjsJ44E3QWZA9DDGxqBFrhBhfjmeHgj8xW77/9z+/1CgidyYfoL2lOXRP1fynzlqnOCDBOjvtwtp/jl+JLzTC+mi2axefB5pVMJmhFE1NkvUj1on0xA6dujwQ4+oovsFScdxvQO01fJQJH2skhMbrM+4oIiqWGIgjyodO4TrG+D8OX0XGICpfidEL+iam/qmYChPzm8+hhCqYYiT7QZRHiVSvDWXFKjblWsHsSN+njxI88uzIR8rTLJ0Fuwqlpw6mgHBSMEqG/D2ArZUo/kJ5YxCT+BKioRfajOJK1Cq1DQlwSvXV+HQGbKmfJlp1dDqzF6ZLDQ4+wmFZ0NYdg9TqR8Db5gYBc55OrMZ1B5/AAbSnlNf8nidoihtj2Pf2jhyocY9D1JCDsH156T3YuCVeMX1Y/JwtMpt+h/a+TpNBwL01IKCobXQKus9hzLHvokl4yaU7uDx/EdqSXZmhdl9iwnzRe5QPrhg12bYqAejtUL4s8iqNUSnF5YZCSCZQpwjs3uG9dtRK7rIFFAtMNUVENrdxaZtK5N1vFafli7qA38/HlflM15PMdw92/Au7JV6EBfZ6xLZ+ud0zzo3ym7BMWt8083aaSCm9G2tAuWj4CNzCRDMnjhGR9LpwyqtNq+qJlA+b0bNUIerOzHt0s3/cNVPJJUfpjYyIF6WY9kBBXPX5yOTIUxD/XzEbgU18ZCVNC+nuizCybDjjicDn5HscQ5U0Pl9sg+k5IZ1lNCgrQVmjUWFen8Cql8QFtXjzbFgrwVMEU6/PygUtrWpLq9mNThe2A/N6V2blXvP7B4yvnFwdE8mDHpsr6YJ0jHi3Y7MF0PqDuAr33Klxt9cHOs5YEiDZ/nmFpiHI9MUiwtUjwdAnO7cjmyDFP6lKxWu4ar+o54QZxMWvLpbv1zdMWTnjqzX5JBxH38FWdKCvo8YYgsHbX8a3URjOLQkowJiPqk/ujDDITZZAnzn3uLMU63uCxaV8PNd2V/KoTS2kshsA9xTbmJTwvYa1fUxbYGrRw/aExd2IOq5xk11ZBcMHtEenPUTFt2C+onLNEDWvHnIAXxdICOdqkulzK/TtKsfdL7b4uVuk1etJasey3ZX3H/4yDuPo5d54uiLOqlMDJnrOe+aLxe6GDJSDFmp7qaT1ZL3GD9vu0PiwEtu45hU1IiniQaDlqAs9x33R7PkQO7gNPM0i9GM2Uc/AQhYJGF5jO9G/T0lINB4Kwl9ustWTdJa8t4mNnG55Pp1Zs6tTuCswVStQcDiwOcSanwlaL85wIJDDPBRZUMRCYXHkfH8ezK0iLVPP3nWJgZiwiEL6/dyiKmDngU6obtrs22AAHR4bO7G83HskudMhwU/JimSEplNPxTL+kH3kWAjB7ykVcVW1MpuqtSBN03pTOLehYi5lMQTGB5NxqzQJAtdGhh4844dcy+ntI6+uprBxCj2PqDElJVrFgir7HIQm4brXp4xV5t3e2fGfRxJvO3Q2uSddwaA1LA0TlpTMUn7HPznorpcnGdv9LX1wa4Vh+I10rY+un6kP6mpq6mYQhBRR58/PAKhYPcj/+Z1ePNHvGptgGNUXhKfbhZwNojNgPwkco2rCHWRZMWcacFe+xU144dF36MqpFvkWjQP2Wq3W6u78Ynhs/yO/q0LN+VH3Ahv9En4AijuWaykxtzAFKISgsi+iL5drYQ1dGEfUFZ+h67pZBjFbf7G+R2ZxXOuIAlQorGHTIwtQNCPnVIGy75kipE8Zd65lozVzvVa26cHAdXhjUEMYNJez67/+DHcSVSIGtIX+KcgaqGZtDEs4wjFoZPtvzHSkSq9mBEEGexk6IV6UopsFnOXMXn3904pzeDJtMEKXw0XxLG0RAx2dyw8y5DRW3tDAw3bOIE4BFQ6GpslB825eTT/eDXZ6t5Xr+ijSFWNCamNzpngKFVF0yvv/4vCSt7MoMy/+tNucA4qaMp7v7pFhhiszKMmACcpF22KCeVqaPHJ9q6Pjz+gzP6R16UB8v6xVx0V59wmq+MXLo8hkMU9rNgAwRW0GW/h90uccH6MUxUCw8sK1KHu+WQYW7WNjcseKr1iwZ4HJNK7CuJ+yzsvH/4OsjtKUSf5wjAUh6k7rfrIZjwXecWP5BNJqyGfe2ogGgMImlQkp2qrj9aa5xpTROl93w/XsO6OvTEtAiYm50KJOBtS+MsUDDxDaRL1Y/OZC4juRbA3SSvzIo8k1YQiD57UCrL0x93iA/3DG4+wn+KmUhnRJvPKlnAn60clOONUpkMWyS4xrLK1xvb+yl6IvBbKV7UD5v9gHYv1IPI22AUx9SaWcsNlHlXV3baRlyrkxHOxyZd8/qLBdYEzBj6bcnMRYPO18C2UqxI2n1YFRCcSTwPDBJrNZUkTttIs5N7BOVw7/jJAmwchVUuDWTxesYgKovEJKGsbt8/uCXiy2Y9kbuVfCKCBurOnaTSnT0AovllaRsKgXfjtC1fuJNfTJRqBqlDp1SgQ4WkHCnEgdlot6vHNyfXliVyyVxfjf0esrAEh/YKzxcJrE6JOEApYpmrrOPDjciDP2ntC0sUESgYyprb5V6DiU3905Vm0EVVHJKiW+R5JU8sTxqQg1eOsR3hr2vwRr3bGfPw49y/5cx9BP1uOqTgfaGjKq7d1OpwTlWH0mfw0aOFLPUy8KT5oXEhRQAiHKarkJ8qByT6r+CO4GI8MkhQMehGXH3UWa+fgfPSwX+3I/nKlR0oPgZoixlginG6/Mq0dQsrS9o57doDpIK5qgOTny4v3x031qt+RhIPPEfOmEC2UGnT3wAaqPEbHkc2HUBALARp520U6GcFRXpS2Y7vrB/JSBBURHSJAQEq87vXhHTTSJJp37c7BFMQbjISXtCSDwjbH9e2GJmDfaY/3AemVSuDcDnUmKSQ1HrvW2mYi/HaCAB1kBp+tx0wpToJ4KEoRhSTEtfwlpxnkO/GBkfyAmDsKONNBIhUnzOcsxWQqYXqyIvCDaSXDJ/G4TRePITd9X6c7dptRC6/zaG9JkLCaiJrP0YopQ5jbL2NMFtTzhynL0f1HxronCauVU1yjCzC97reXm1Na4K2HXby804I3gaLcRgGSlxJg7bF0wJJUr4CkdHMmY5sWr4vSh9P/J0NnCXYhfQXfCaGkRLQGKyG1xc6/4BCIXzaXxXaXycqc6fMp7K0z4VOSv4GkyAMY9TsHUJgXL4njKWY1ErlVXueWpshShc0QG1d5+phIRv051lLqpLppA5dBjXgmdbsTZha7Doey5XVOF7cUSUDUhyaagvChSTtUZd1I0qll5EK4cDQv1sggSm2T7PY0ztCTYxEUrbVEXoAr2FQG6Y13Itl2LG5E+HP1fixLvSRpyyYTigr+K6XLvxv7SQzggSqUwkc6gfvx96Vomkw9CsE256n3blw1oUZEyMVwJTI1kNZUsE3NqK57i8vPPkbUpGXnlu+nTgLzMGALqmBC8kgeQBQiFbam8PDB6hDIUByeeJhjxFiKIGFeWU2YOPK+9Hg/+Yk6EWv+otnD3LStotbLucojNxCtixJ6HZCrgyQAHWrtXNGlwTD4d+mtLq7eLclOs+VGcyf2wWfU98XHOyK06VX8LyO76AYPRcR/yHDCScleZregCCQq0ie3/7yLuPkFVA/XaML4wb1/ayHEdLJswhfkJ/g5JEUJgCedQazh4kG1Xwxng7cCJ8QT72v5SRL0wN2amvKg2bPh8XPPGtavNLL1M50nnZdFAnRUhbyFLeccU7Af1m2Z9FSI1xvv//6g/ynh36O/6xpKD7MrDeYocb+L0wOVtlsBnlJivrhbwvLM6r9c59nzcl26brZVtvhq9uqzqW78AQfHtCfco/x6l/ICMNHmVUWEQJg86V2IYIWvSz3xMKfoE2utyY4/ZEqWQ1VT9P5yfijpYK0ZUzg8TtXZhGDVnCkZn60UeMe1Sj4mFZA8rx7HsspAXxCaBQEdEub6wHpNKdd6u5nHJOdsY0jRCR4TSoRGCEeNjHjTWFDXJhrMadYrOPJRX9PkDouio8gfUzLkGdoydgxIShpiefJ3mnmbk/gEht/F9iBosjqZAL0IC42GeGC8/TfeNXa7w6OJPevAW2aQSSeHCdTS3NAPusHBDztRL5xEE7IX5Q0oCS9gwSeRvDjX5PXu58g4XDm5eSPn6AHjyJBlJjgGX/xZ9Hqb9aKSNY4E9jbBacV8lJLrbkGfn6hTW7hNvYgC/7/VnydNQ466sQtqDLQXItfoVOB1Yk5Yr9wD0bJ4gEUUeLcTX0xQGwJ4PXIszYLlIDEqwy0xHa0oLm1eWFd7PiDugYVDID6ump3Fe4TLX78zqBWC7eQchq7XCu+1i1hsrlDRYm+uswwcUD6S2L/ifCuJrnLmRth5fgRbSSr0WlN8PSm0IrVnxsRjpMRNcL2pSUJIWIKKH3Tak7UdXVZnfF/yQrxxYdlDa/3KSrC83G0pMvG5piQwh/r84fnNnk9Tj0U5AxBK56maO/4r4QFWOFTfsbxvJ6CkCx0pVy1baKtDQLHDjy4WRwgFm+LUNCpC4fjbLAnhoOK35NkPYJ7b6D3qGwHUzCM/RC6ZWJALnCAf3ya8kI/E6+K1v0ZZTIpJWZmtxdcsMKrbnoMgZOVcmIOK3XggYVk8MsB+DU837Ou4jWSiGP4tQ6O67jzx4miKwzm5K/YM+HPd3jVAmWkEbK8nJvNI6Y04iwm45jMriUfpo3FLIm9us1BjiHxY8T2ajqNdvSKIASOdABCDdSpFTzutrz2vLprVunIMDBUucrXZX7Wjpz/LbpyMX6R5etu98iLVDHTB/IQ8pe3K098FHIWcWHSqwofmwBGOAsepfHhNk2X8Uv2vpd5szD/n4wRvtaBi2oJZ69P1t6W3Q96WK6x6tzMvmQNd5XRlURd9+kC8REPVRi1YGh9TaFGN2xKplBEJ9G+cIKCazWW8r5PTbIqUE+JTIV64T+XJznQ1CfA8F7WzbG7LlP4d1xplECLm1UWWhjfxyE+7OnslZcHU6l9DDc7YASzgBEXitgZcJ3woTUNWTIb48T95GHMziFRs72IzTS+Szk5FUgkV68FFynFQ9rrA6tqlrm9iFe18B+vyD3XpEMCCx1bU/LWtglfFkQD8YYi0MMV3K47oomw69cqX+whBNJF0l/KZ7CVbqgvfQN5d4lpt1+TtOon2+chsVe2d0u+ugC5JvdKOF35wi9IsGYQLkNRREe1u/yrTA+ePAdw7x7HpUguFBf1RQkw0MAxnNpJd/CfehY1S5TdAE9BiaG7VfZNAGaGVwTVBYYYFRU6xu5o5o7qKrNsk5o3liTaPRbrZ3/DFbaLeDb0hB5zhmBH+Nc8OxUB4oO9NKduDsXNJtzj/PZgHKd+Wb/aLnqbuDw4+iUGO+Ofs1iGt5XvO3MvmduE26EN1ZZxbWuzt1+zIdQ5OJO7Lz2HJmEZZzx85dfc+zU/To+fMSGWRHAy+jYXoGKy01bbqeVKr3PO05PPS3hqH40BomqlDXxAdc87zmc1RdpB+5AM+ZbsJNY99dgDLfLyM8+HAVczM/qEAVwDx/bzd6BdMvfVInmILajja6qkG34nFGxYaMriQvxw066tv33MohxO3dMrfAUbobmk9OPih7eto5WzTA6gFJt6vkaFtzE7a30+0RFAqvXqsvod4rNyDcpfDenWcmuauqQ8kq+hj+P3+epzkLGHuirWZW1ak6emFusKUjbzjJSJXuY1NzrXwrnDrJ/mtM4tsiHbgppNNTP61tlpAu/gnckk0QDPHIozJilRGdalgs03D+7nEacKU6epBtK6hHBk5RdCs3rE2xK6usTJC5vOvaV8jY2HRqnXZD6mkcG5NSN79SRZWiVJH4dzzB0sa7YGjQ+oaelalM7VYfGv36OkVLGEtX1PYKI6QAB7QjxAkuJPeNERA0QB4gkYMXUYiNfFLAPLiSADX0rjA4rs38XwcGLO0E7hzzeYapzUL7QCAntURRbqJ2Iptyfo11QCUWMGNKak/vaJmc0nG34vbYzAf/XCeDCrHo3UxVnyhQiF+DErd3bSsGziKIKSnInoYX0yZcxIMrUbaBkYKd5N5sxW7AhOyMrmxgbNygQiRsDrWAbVP+D6PwrnDNZ/YM2dGaQJPcvmxQ59i9JbGS94M3naeNQ8rdzJKtkZvlEcsMr8u8WXpBbtdHGWQ2tswSca9Kqr8GwU0+M0TrjUZCfc4OE/+HM4ds9OwNIn0Ymg5sYi9eLAiA7EDkV7kSo2B1s3br8sV5WrPEefqjvMayWd8by9Uv47XJ0yb7/6N3N22ms1mNB6Uh0lEbu/2TY5w2YmEW8i/1Wq8gA7243MDew0JqqL8hc3pGCdXjKS4qXRtsfAa6m81d9LrZBgAaxU3z0vnPISg+ry07/6SjfFOxOUEfZtxDE+rZq3xQzslvAyGheQNIzhlq3aRKVVguMtlCe9XNtZ9Q9sTfg1AyRR0fHDUyTJIdo4jsKSxFRoh2sbJgO4av85j4GGMFEJD6tCLFZ5fZzBivxV3YHUZPCBwOc9k7KMNxT/GiLEkD/R/6t4e8QSbd21VaSsMbao8PF1A3Vk9exKbr312k0Of+jgGLPqwDZ2J5RreI+SvuJutPohJ1ruP6UpQaMbJgZSPHq81LcexmVuBSu6awLE+rkxBcJ5eAHFmxsklr8kVkJKxYRjULwlu1rBoGUvh0SAUJMALgHRIEUDthaZDLxz0lHuNqySHHrUnT9pMlBFZT3PCCqwQ3SQXq3+iEKuO/YmydsMZq3U+hO9C0GMpy6AtDdtpj/0okg4d00PHCxa3fLu6Mxi9kQDdsMSg3yYnhFN9z610+GjyH3IYwlWkh19fixqhM9sItJWhuiLFS6cXglsQ6Yyoq+HCiIAKu6vcJRlAVh4HwRD7OfyxRGFOi0GI+3VCaRBCiIfhxJ8cNiUIxpyxRMvIzAO7CKhyfTDlXWu4czLP9r1pqGlOT3pIlkIOW5XaEybXN/Zcp+QPhm+oGJAJjiNJeDudV8NUwvgCiT+6sysCKmltxi9Xal8LH/pXkhIQPKM5mKKQmtrC1N6StQkFlV6SlzQ9ZJNjE/PKcikpTLCu4cRjl7/KkBFMfxEkhJPhIxvd66kP1FsDScguBuBQotwFqBZSC+NNsXJM0ommuAjdsA/SmRt4Jm5wHsAkHvpPJlEbX7Cv+csK+G3lvqHYYVW0Dqm7podZDCQec/4F8VcH/UlB+Rs3aSp3bWeRBn9QGfA5oaQcyZaysrjmbz/s+K4J9YbOpi+K2bjr2+HKxRCCxSax0/VTNzkSEazZ2T8jwMLeRf6MqeSANbyi73DpGIF35t1onOiIdVZDl6Hyf6K0AUAYrEWBG7b62qjbDxXok6K+2GBxXQ/LY9vE0kMR+6TbSn5QURXtj7l6ToCHkdynJg+KcAv+StO1LIk8918YbtnzVU0U6nbCraxQDJn1SsKI0w81vBF8h5/R3lqDprgq1N4lew/qcFka3YhF1NIHCviUOACaj+r4KaIvqpwTt3AOhh6UF4DGJrA3ZvAKhnO4p4ekPoLRHZN/Alnk/2xJRCjrnCFkyDT6Ep1/TYu5GAn+WKhcqrpripV/D6crhWYu3IZjH446hUUYvYiazRVX178N+ynKLIf0IPvDf0Y8PMFxiP3239HNQQi6cnS5N0JksfFBLMCjatVPsFNLH4MBfpP9pLqylRDIs3Hue4rYkj+sD8VEgb9Z48lzEsOsyi5IjH7PMNwHJ1xdlLrO5u54N63oH3FwkzWaFwGcyQWPzp+W1lw1EWKwEYag7Hojf76IqokfdF4d7XxbMo2sUolRdgheIDVVFqg0qcBUTMNOSG6JFUEXKKsbE+Oae3HVElv3I+2NGuiQApv/37h4FmcGpgKoIyTZ5bXV10Fb8tHh6H3xT+3vQdS8H/gMG2nGn70ZmZAH9y7FqLnEIWTA496ZEpcDEd9YN+D8UAHyuNYYjsVGCMvT7ToCQj0TRt1TAQS7YPoRWdEmeWDbKLXtD19edb0PZbcNCA1PU1Jp/He6cAGCQwkL7QI/VxgxzDtqELfDQaIz9lNT65kcz6hPKR1LzPQrYUgR5jSUY5gyczDUleUr8wcYKWQ8jjP3eE+TMaPmB0IEp2IpfJ0PZZnN4CNsKe8/pEtxoWLSCZv8pHvzTxFBJErbY6upTvzPxsnAtmRx/r4dfwoVPhqIzU09j4g3N1SOIV9jmKYJBWplZ9ieF7p1UTjrbneulzhpfUuWxlbIOtBVsC8pJAd25yh/F/OF+G1kbESHdbfb5ThRDcJaFv3Twe3C4TeZUDuHN6Ca5QAPyrRlg0BfStyWdWQF5LXenjNz/77a8gVFQGg9BBeN6asi+xfKS6jHWM7t0EMlWLeukftQFvLylbZvaRYhjU6QMXDji4Tz078wlp03Gz8/Zdexq4QySmNbUr0IxqEGxf9Vntx8SEyFySooV78etkDX1SVikIrX4aTQobyvvofTQMSJT/CVWnV/klc/+QaDOZ8jV8D/UcEfXz6zauMXUfm2l7N/7bOZdOGULZZVRrT18piWAq8y1tJJfhlBOkhqC6SXAlmx8wosDLarlMOD1CRZGflPLK5WAgUlxhVJ44LyAjwdL1HZ4a6RVKmHX08W1poWuAmn9FTj/4FiypLrVQpBxUJoHvJIjdcwMO/G2s8BuT/skx8z04EfviqH18/XJXWtv+bNeVz8slbKZwICn+CWIfndkmaOoP5E2Gswt+LQCmkEAxNdtxWgjm5md+4D0CZJK95cSyOzdys4MBFmeVRL8KfKJR2s7ndVn1Zu8W5ziC1tSbEWgspSHX2liVLqeAeT8gtL+Z2alcSHxPIW2SdSmoDsNelVaZVVbldds5VeUwffWyzhd8UmxEXeiY3QyNooaHcRUMiOORh69KmuEBKHndpZCbYctj4JgiH4juFa7fghrs30DGTai+nIXJJW8sAbUNGVXff2jOwHNMv8rIZzx7PZtlrStqHeEibtUdfMX+y1dlptC6RiBfYfjf8yEjJZl2b5SGy6CbyTur/b9aRwnvwvCDb+n+FInTXj4wCD7T2nynl6xSHd/op+yUv7DMcPRC5OcwVWw8qrpymqzBM794xTmAkxZ8Hj1bNpOqtDDmv9LrVb+LHum0pE4WrGA58CvPEAEQmnG77fi+aaTGSQhlCY/eULU8eR5OflzdamZ1DkR18jaibki97kLpYvQPWnUykvQPfGE4CgHKqqOYAhsxIih8CorBCNnMwievySN0TXH7n0QRjRh3GjdzX/nkMzFnUaqihQ6P35dUKviU9WZY3j/JoOuClqCyy2a/u3vmQ9HSjbWZDqptjr1tx0ROjc/jLA1Gfx9CKC3XcE6+7TDdyA0coxOB8xq4tAfnH0SHwvpenCqaaoKth6+VnyjHsQP6WdKREg/lTzxcYocZIoCFqZj0WP4L2Da/At9bZ8xjERtkvA6VxXqaxeO7w2k8rmrWeR/47/7kgteJN2Lhicp/Hej4ePkF4BIAdu6YYwWvHIAuGHmJS9l/y4kldN0ymecMj6nNBljjqTwKrfJzdcMEiMM1VPfge59MaL4CLyJEOauDUDG769JBExon5gc/GuZl9kH1W8j2btJxVJrxAqQGdREdo/X42KcONpu6EpcVd0lm4Wa5ANN0xbVZiHthCfGKUjAZzVVouJCWeanQEM4UuPjDDgBevBoZWDkFFPrGRHua+ohmL3hSgtAWWGZoBcVcpJtNrIsClun6USc07wnAbS2iDoD+oL3dnWiexN/24bH+uiormRVAB2fJbkl4fCeJ1fnLldRkRjmLoPZbik19hHsZEsEIwQJwCsiqpsi+9qkzanelZcwHmbQsW1Cqw5QzU8b9+CxxLMgo3QzNQ6Z+FxM8gTE/138NSUWDvmFv4G7seXk5G5kw5ErUhUFCIRUPO1X9D1Q3ZeG8Hmoe2xHn60TBFtTmgekYf+h9UALDViVvWuskPw2YW+Cl9A8r73yqQhp+6Jw+vsCAIkcC/sXwJ95oZQQinI+vOXxe1NJMEfQytziDNWhhCpZySDINNpcRLCksFf+yBOJO6ZTDgxxZS7x2+5BSD8iuP8XYd51NmVgr7t/1Jv4RkDUBOQURWzcyTGyoRy6iHAB0x5wpTL7ffNlgcRyCw3LgoG9E0A423LqmbQdgth7oR9etshh4+3piGDSPXkCRvIX2lG8wJIwBrWoKuvTlp8s1OkQfJnjs0jyq8iQc09X8FCRtHYY3IrgiIfXv/J90xYX37zit4bMUkoibCwL8tsFhP4uc+u13WQpzejmosNDO5XlnFqC4elma8cXQmCrFM6YYff78SONCKbQa2R4yhjRUlbnnbjxI4hIRgkdzpRR39KeOVv5JNvWf4pk04jRNN7DyZQW6jIGtwRfRXbXVl6HX89TlhUS8hV7saVuUCQnDHqKJsZuwFBwFOSMIUtNRmorUYMyssXMEe6HAAAFgKv62v4gMux6SKZclSNM9ZvXcttSclY/Mb1QRf+htR2De9sJQ+2VBEf/aMdsPSgEeKuWbz3ORUXIswT/wZPE1kBzhS1bsLojoKTg2alNVwwlUB2BLd11qkm73Xy0jeSHPsBO9HUnTF6fsQsvrzlH9VHeDqgfblouRMZxE5GJrJK5tCAE3WVcaDIRjC/I2TFrEe+YhVwTbrxFGKQJiM99d/nwQxcDHFQhTXzQ/EmlnzMLsUJVAIiZ8+6lFWRnUNKlo0oKYdolNOZDHFVncWimYyqN6DjCRBMoaKm+vhINhGBWvO/kT7MPugY/HXROiFsnO0or924zW0VzYvx3aHK7EpybXYZgKMiJO0RQxmkaNQv082/UEaethV1MhxlYjrTLHVCIge/U5JTu8gA2+bHKYjrOoiE7zXZZsY/IKvkRL8Lt2UrnnOUMURFcMmAQVxcdDNOm/IeY7w8SKJD5D0fFAk6YiGCQL+635aybDo/TM767Yy/VpzJrokkfQrX6iQgWx/Ekgk/JrkOhlvgewhpFKehdkK/x5FjWFBaUZAaaMVEeGtXKQeP7VXz7ZE8RK9OzqgnxcnsVVzRJNJScXjKeEblI6J6bodjoXEkm7i5GZypzcNWdPA8RsBGC5QFi26PQTno9Jw9QS1QWuts16GEMGgSDD8E9tFCjz+qnkdhr0luQX9BHABQt6khvzUsx35v2V8Y2b9jPm0XxO79wGv6B7z1L3AsuBwyDNDNPeEDPc/0tBhVZLHoINt2GzagDdJ1wb68u+X6Gn1QZY66nnJ7skgdrJe62/z+oE5TuEbkBtk2jZ4U6UZpT61c6OW8LV21Ak10owItuK2CNK5tdK98Xp0fQSaMWBwEx9kHxXWd/AfvxliG+Q2oW8scIG+NNiO++jzoxrH1C5uc0gLbXO0xUTH1uRQGT+Qjy5L6JS9MlF3VvC9zcKOjiPlChoI9oDcVB60cudaEOLpGgR59b9ZR8c+Yafzhr4hGdU+q8nniG7hbwKuP8JS/6zHcFemZPCh6ws/b/8EAYd3fGfl/vgDjZprHXW+wtGUamkoMfk6XOz7c97Mrp9LRzwM0QA76I6OL7yDs1yP2pcNJ2K2Yud7R/3l1HYQoyBCEFU291NrfWtURovK0rATKnVeVOmQ0Nk99XteZxrE72/NI08ywMn6uxH4ZF9vbeyRmShbMiakUVulUmZPuEohZvhL8XPORChCQeUSwVhD6DUij0HMJReskHeGft3gBLyW0VPGAUjzJQcvyqe0UojmiFGx80em7LMgG7mH5wmZlJXAZXgtm3AJ/l1wVnDf98TyeYkasNQ9IxR7Z6hqtXr4QhVc9fj+vctL0DqD5ZvcaETSAnXYyED5i6+Qtjm08S/Z4gjP8BszhXt1iTL7BBPWFdfB9E0FjRExq92rKgV4WTfH4GRq5fTN9PWQJf6qWM8xFhC/OsXESyk3PCUTMr/NnhPk0W8rVaYAatpX5OPWTZLV/uA5zxz9hHnUck/E0TllprvtKZwirTyqt+yY9AsE1nBbsGFmopJz3qH920fBtNHDCTOGKXOscomJeZPgcxk05REJesAeG3w0fL75jMhP9wckgKZC8+B2AwfywHFXmxJ5V4fV3E2+Oxwc8uahdOI8GQx3HnUbfsUgXLaPx+bcA9M2ATLOI/5GAzxbjIAhm6YAgt36eE9jfGd6Qz5Ey1nxhqctCpLrLCp4xmV4rNAsLzZ5Ma735aNXQX3cUH3Z8RlfzFoEa9CfpZAjgGovA3wGFawJeriO1pRPAnl/4FvRJGOELebJEF11aoHY4CzTApixTFLRTUul4vD2I2saYaGjKEPvuMse5xsv8xh4bHBPk4y530/Z9ka+mtgGQ+wvnhsoIzfcOh/4v/KhxP9Mrja3sR8XoLOv17VjYkGAc4vtTFeZeeSZwn0Rx4nuOP6+kx+rMQ6h/qdEhG2ddhuAqgR3A1X2B1yh1aEcahLlYD7jo5pdDuuPBWWXi+w3z24ydPJZP8ttN+WEyKuvb2gzRYMwxXnePX6XK7tccN1/ZBfCxtqlK8aT5reSOJxKVBYm3LRnO8NjgkXwbtAMO2g1WALhaFdf4XbEJwpwoJMiSSIGgMLDszVw72rhyCB3qajxAEKMmQfJfOxLDLMzY8nma6DecgtPKSq2i8n1oe3SfwYQc4027Umg9VH/uxLpSq1KxWFRTZo/G6jGLdqgyUYa5KfxnU9rQAzYBZZbYQ8wCSFNNeklrXcYcL6EMltctYJycLa8vIshfuoj+3jFmKTB//aopzi19TqrshvJ+b1vUEHzftaMkSYk6vcUU4sLtFMrnOBJbFKLP82KFNq1UooCMQsHWs+cRSsXbuVG324LrGxmmqkfxvqefZ8b0kvznl1k4eoSf+uFOML6D+7rTg/khpfoEsScfDvTqOZlxDq6oebxVfz1fVQWIKdEmm/9dUAxf2vIU2NsNON4K3iHFho/wqWUY7LIaZo2C9wN6/w9aXYUXvVkqOu3roYcQXr1qEKTTPz02Ye+ACXo68Q0WvJMCvjqRhKELCAuj7H8f6dBz4fYP/I4bBSaLPcpzSo9nnjfCc2Gyb6xTQo7VrO61GYgYM2bFXJQ5fB7oDLduM/Y/EgKa7nbQxQ38vEP2U2iomVnUNZiK+AWnovWmwvXWqh/KjhKxNt4Hi9TWQYpwGUYFQmT0DZ82YK1jfYS1dHMVruvqaQXFBIsJ8drwU9ZwOSJMgWY4BcifrVdVRZviluL8XQ9VuFk7uFs0/t+MnLnFF+utip1RZZBlPkPNrfIq6g5sUMc3aNyBu7LlPTOoUWM5jD+BzxskNo4K6sXoBOdnWMeRyCyzbWe4OBQnSXe1l8cbz5JsIiS4Dx5bbBYGfzbtn4s98xbeqIuWAgi5S4y+aLxskKkZKH5jq9SG5wC57Lrs7mZ56cDEldiT7dVl7cuAD4lI1eBozWC0MpmOrMN/celvIYYx/9PItjjagitV+yUKHgW3D63JqDGnG5Q6Y3Gpyiwx9lR0RkrxAbyHoJJdIShewpcNRA2Iz87BYUWEFL9qhCEvFWJ0/zGww/puH43VOYbnz1VW/mtUSSanR9eZ2j/GHh891Wlhh1NwG3SgAeSb/y5y73wM9Ge7fZ0gb95EupJsIf9cjvLEZWWCVetVPHbQVFyvfoJNRrgPALymZsZ0Al5KVDkUEQ6cqUZUa294HisnIqTANOa5qpSITQXD0BmXHcQenfRWsD1FB0QZpdk4rWorRz7JD4xb/6pHYWZ8MSI87jX9AmwmrQ+DHQ/lZ2Le6t+5kmKZ2UjLu5jQOzbtTu9L9YzmwBLNzkr0vd4UB/mKQJ/m1Ts+/85UOV3fU2ysuYerCK77bArvY4XJe7ji4Yzs9mWLo9ynfxTqAs8wnhyA9QT3NvI5G/WqFKu+y8W207T1ixrAceSyOoh6qzPGp2OVIDvJqRBtb2Kxj/zNwoSv8LSuGYJtwJDVZjKHvw7OJDu080hlMY7aH4CJrcQDB5pYqsbnapacDeaIYIh6ebGLWj9BSVPSpVlUFxF72fHBfQqrQAtJh4FCvPG0O1wDjP3EddWlZreOeoKNOaBJrtOaxjesNZkoYzU+zd0irU0bO9unN1I8Oh3FO+9RFk/pPJ55b5f5C/C+7tLIZGv+Q8KPRqHfFzukJz98+MYHUd4lQGymrn3QHkja87vamlgb14dgD1/TzD576o5uJ66gX6qhnbuZ/ixZPSjv8h8AsUy33iFg/O2ZhQ9A8CGRJABmwsVlYXamcBBTyB9zc5uz2pEdZQ+zH88wbNfV2TQajrfnAlxVyf7nsEkEha/Gf88+V8Tcb2juiUN181mYW5ou1h8kidUvnG0K8Y7HSCCAhGLH44UYg7ki4yZTqppzPVMcgSe1GZKM2M0cIZ6IQGS7UMmVr2+BEqkk//MxttGEkvOXCdE4vAi1bX3hb8mVIZwnxsQBNTp4FdT9juTEI3fPLTdC/bAQmvIFWF7lEIgKzHtDmhurAknOaSqQrj5LxLlluKj8KCXNk0zRpcoNX7pbSXrXxKoz1yJ+V7MTYekipBLK4phTnJkG+iYojkRYMdlH/K8VLY9my89BhxspjEL6BD8I763ohLGTjQg+4o9LtTcFi/WGsIPrZAVW4VirFMuRDfDr+YktmGtofC1Ibe5mQIma+jD0cjZWsxacX+oIixyzWDVhyC7vWA/Mr2LWMXKJrGpuoQCJnzxDrDAgsIaTmps+z2CsSiYE4EFF6e4vJ16J/IyNs/uSEij6wbdh1ArtW3agTPWOcplxRy+/gZ1bHk+zrO8gW5pI1xiUBzwaRtRB1ICSf5pL1hOtNv6QDN4oCkWFNJO0xCzfCumapQ8Gc1y+VNVSnzsw/7tPWuVO0Y/fL+/oVvciv9of7FGwMNjvYqgyUOFocm2UYfwz9vbFPM1ZVxWYNvyQ3WjNmt0Rb9xS3ZwaVFnoBw6ek8d99iVXm0k14DWKWgQ1UQvZcodkDtHQ9a82xxiYZkpSkWQXufdD/na1ZxUUZti6/gyyRJ/Jc4ABZrZedI25KI2EEHhn6u8bv64obOJeTZvSTFxv+5D13y2bsiBTZaaVwjOuj9BYoVaV+uiVFdadk8vJ2/UUS1wbntcbhAh7UB1QaSI2jxiTafO5RMQJsvxX54uwetEwAptzHM0d9CaCc/Mg+QVe+P6vQZb4lyZ97GXM9okx0JwX1OCP2VMWqCEX3mi+InKWhBNUBadzXTJPWLRpzUojxYJRVQqIldew8H98hLxLN/3wUEs7iCUvbfY9xHsTamuoI38BAo+C6VV+Nfl5HvQ+7RNn3iMfkh0C3h4NKx4seGyk533ayDbS/7Dy0Eb7POcYouD6ggR6m3Xkb86Y3zyz2vHrUYLbWiy2e38mKVb80nVa0vnjf+lNzLrkU4G/tMkPrtFRaznAwbfC/eaVli2eTzk9jwEUfvd6ZopGgYn0n9g79jYHEjAeUhfEbeDmzpUmGGW5hrd1ILltdrppkfqZScTPu644g3vszoUW681NRUA/UaAvF0BE5uKCzvqB6U2OY5mxhhOgh6JGpTR9MMONcLPrVgXbmeZUidD8hWmO6wKbDGQgG2gzsvq8FhtAFRsqqQCFet29vhU4+CYQKwV4UCbbgrDGXBbV5gPPylLJxytXSG3E0LzDjSbGi+7V43O5gsz6BzUoHxFvbICWGf43g81dONnRDnYil+HjyJg8zxQkU871rOwoZDmGNXQJi4qsTKTLmZQyu5YsadJ1qQImSv3u3Z96PBOOcejZTzU+s2pxpIwSNNDSiPP+8NxIc6A19i47gVQNA8S2waxt8jLbOh19xQOn4dUXCeg+aXEbsWMPN1Zah7iBnKL1eIPw+DVfDAzvQpMQ+izlEDlmoQ9mHyYRTFc6Rlh84yjcezHiNelNwlLKFMwqV1R8vmHLJ96PBOGwVLhwqB5u8oW9uI3SeS9KNuVaEKdjBLhF2ZIa8rGvidFkYVM4cYjDfmzYkPb0lSnxgMi3GxB1/R+9eZa6CpkVG64/vydaKscujkZ4rwgxd8JvfixwVbivdtnXZ3SDx/jmNTrDFrsnKrWh96oeWWgw4qSFcv2tJlgL6BSjaNXYPEL3NcDOfimJ95m9VEC9iU5yaB9D8oION1/EG5o+EWhuQPUZpolNwBu7EapqhNf0KUv1Jiih5v8CWdkChZ3kuR81ij1mQMO7JGUVPqyBpAeyOHsIEzqaJ3fDLxHpYRIHxDrrDuLgEwYHf7nFXy1pfmRYQv8IYvpSpO53ey2osvJskDSx86+rcgOJZMUy6PMR5usGVhehZfbl5zSn7PpY8yZNTQ2DbehS0JSx6xqGtKqGppuOK9nnZEwkpjyfe/MEZl8gfmKS6TjmpiTcBeOnlXrqkiMEgtRTlo8+8FmElNq3C0BGxPfdW2R3RyVIgQujsJ8WFjQKJ0TtEelpIxqY6fjGobhyaD5WjukLxQlCKY9jugRTZPogL63WmTSfTPqqmzKmEnBOzC0bNAWJJ6q2K2e4i15uv9scBqtyX4BAwnVIbFsXw4/7Pr50cZ0VbWXwySk8zE8Xo6gc1AacB5272ewGEc7K9C1aQd9ER536CofUdmnFZtWe1hsHHETsbCBdZa6lWOq92UAqw0dDHIDJ8rEnubJVYlzgvAvJSYLAXxABsOxNq5WFHwPJyHBv+uvQodTSGS3NRFbpRkAD5YExZYOe3RH7SXqMlxltM0H7SengFW5vCxBwZ4lNqUThYFxqwTLa9G9tJVOiKFj/qW5qzWuFrja4uI+dbEKanrBXMG/bRr/uh3qkPsC+LLQVjucGOInpiguQAytpqN2uDFeYy2IbPH3KoZfW6kHgVLyB5CXyMfzkIfAmKmMbgiiORGPkq7p90Djq8uGzIn2ZJVfqwqtkcBcuZnPvSE0JkU0A/RirHEcOwkbbHzElp0833zWvIxTdv8Entyc/MFAIxD2nQeTKHFu2jhMaWHAaIoyuGKVh9H2fRtpyf7bSftlGZZCRuz90WndXuWgK4X7ILuxFMdMPek93srlZGv3/vIEC5HzKc2pwtaptxqfuN/SEcpFGU7HVYZEZ4VhzN95kaV9kbLKkKVHd5IHIuVswc2AOyd0ekBdb4RKIjNvKXM+JVy1p5Y8wG0cplcRV51jz1vc+43KnjWd0SIXLtGymCzO0iedXjEIuK4UcEkvRKk+FKGevNikEM2MPlrbGB1JjiMtnCao6k2RyrU3ylyW4DYPE6Kb07A9mR3Gq/+X78pJB1WSDWXjSgF7mow7P9T0uKcaADsBaXSu2ubi/dMM1BSR71op/vB1Q2iX4eAFonHivwIFQkBVfBCG5dHq7K4gKItA1H6Yw/8JkREsLyDIMCe0O4qXCCRWs2/h4k3+Jch5NsB46OPEPId23uiVVeQOD1eiBvWzgWBoY+/4WykFhkYKdAfX0TBSuU2Kq7/AJxZFKn+/P5zSFv92+gvyl/kiGvTZXLGQzRDirOXLVsLsJBKPwmUJlOXxULKTK6kSFdtCjRB/nSJsv+3TYRz+ttCwo8bKqlLDtZszTNKA6u0ILyO/BhOE55OrGFI+XDpw8x4+iOfZ0hQdDgA247tZbYz+EbHjmDAoNcGpPA2e5F7DWz6cLpTdwxp8pT4ho/wM7z9pvd5+jO1epLLIHwphpDEkf0l1+hMQrNQNteteHSCAzU1veWJIYa3cHAl1M5tpQSM+B/Ti3CmEuznW1PBdiWoZFvotEQyyIlvgCdsetdS+iIbCbnDhFL2+VQr2sRImgazGpXEhuSh5+XUB9pDcur5TSrA+2kMQp1maCTd1sPs//jParjafCfPL4PmMsU5RsV+wH14+Yw5w7tjEo4GJwrlG/YgQxKgnbqKXlyIbqcGJhXwaRuY7ZMghl0FxEYhTqF2V5Ep/9vw/7q/Cx+R8twMsFdyCwC6AYyvHWwdSnB70TSPk3MRZ5YdvCYpMkJWnHCnYkn0TpD34DWSdHBg4DmVV+yKllh0PtRytevYT9KLkfFTrPfOUtqs/k3if440kUQxcfEjL15NRl0rMoqrrqHyE48umtJjSneu6kchaxnpuPS6rp1Ha9nHxIOUxFmSiYXdZEaGHOV3QkvrNFWRarCw/3+4c9Uiml6sofVcgHBT4dvf95goyy3pCX8Lrm4Vg5+eZURE7m+CxGt9sSbKIzfvqwiBzSJTG9gZs5geUDWynU9JFpp46Y3FOigst4M43J8nngzO5AcIdGo60JIunPC3/unywZLNSZj0wBHEMXOy63PXO6AQ0TrbUfEpmThdu10EguJPDnPBxvagfyJ685ITPMg5kafqjJ7H1TXCbqizTXl4NEBNhHWOpLV4dTNSHcyMrw2bmIDeFCEkm5lA1m2/Ia22x1cYnuU24Oc1uuCYYoVoOJk+W/TpDObC6MHI6T/3jSNk2UcmfI7Yltkt+dSYZfjT8VuoQaIwNiYAoXJX7dyvP9j7dlGHi4egWR3lvkUigCiuTtI7xtFyb60eX/AGl8B3yYQxVOJXzx2w/ZU915RIk5FeW8JJkQK4pTeoyYFdKShBBnWdgqJbi/miWfxkF8p14QtFVPmAUJIqlO332hYMTEV0ydPPV09SvHSONWRXY/TehIH8WpyyWipXDG5evG6FMg7vZ7VunaUFN0NXWsXbd57R/t5V5lR6HmKouxswMtN4PnMmjNLqx761IbSVID/chRd/N0boaNaBGDCE+RZSF/zHSIkHC19nCX6gIXh0in/wy4zfOIA4Y/pWsFrHCg9p6XdOKxl+nVo1rE54SCRR0pYYF2sH3MeaOfWgwCsppqLk1Bq1Vib8e1pR2THYoggeHjXey8umAdwDtZNjGhsbPtwWy9M5diu5hPr2PrUkah6fWrT1Pxbtz6D9wKY74LH681CuDlcebLRrgtC29GAeYxOACSGLmydmG3R9F3srI4YSMoau3dc75icIHUbR1NcQGHdSVJS7MQ9fRJgOAvyzmxBeGgiLSS2leUZKXPY2MpiCuENiQwqbLNzBL30F8Nash9pXuGgSdc0J9payCKllPQi0Mr/zL/Nvz3SJbTYtMsmjDpNiSRWFHqOAurRhpp+eclMdq0tytK8uLkzJBSdweZ9Xfk2FbFnIILTWU85ixEAgqgz2LwXDCanwHhDo0bJBR5us6kBaUnmo2+tkc8JHviXQ8JSCjDO7p7H0bDunMau7RgdPZ1JMFigekz2rfO53phFuOAMr3UXjCFO5VI522T/P8nkhmo/jJ2NOW9MetqzqKbI8GuXuiavM2p+LN1iCFQaPAyFmTzj0HAJ4ZgLiSZBkPIqRSYdxs2u8YJ2aXWcwzPYzdpXHVIvr77KxcQ8tm858JiiofqepRzmSpfBcUGbNv4qU7hdMsASYpzBSe1iTGFWR8vqz3fACAFrql18fJH/JB8qL1I8DNacQVpefvco0OnJsgpgZjnD6desn6M6CMHJ14tciWQSxSYbF5iyfaBELjWHSSrb/So/fys7gwJfQdbPNIqRdTEwv/KaRYqaItiqYs9ilK//6ojOBNKyTB6SpRfo9GMrIeJCVYftTeLKkN+1HnKJUkOhEOgOA3R/g4r2tqIMLktrxgjxMKGaKGqISSuYlS0+EbTAhmTkHqS0MSn3JRUtC2lnDymZgmNSHKN0ci+nbVthRYrCI7bqZgQls2L81IZ311+LOesp29KWyfxX66UG67fwK60fNPs8FZF/TgBA3G79JMYcdazxolwF2oiZ0V3J5jbhibRw3JQK4ek67YOHZ6KJwVZ78qEDPQ7oW38tsubgfjzbvIP8l7In1ZuqwESngio2r2FWN5hiqJiv8xo1c16u2MmIG5zVj6fh+BIr2hf/Q6OxJkA97SBOAZwe1pACG/RNlq3POB4BEB+/lb9QSwRywTMI+80JLLNnSx9fNW5jFR6Lqcs9inrOA+/+WtpbXnrSQtkKHUDpwzrQBaSfesFF6gKgAa0p3XDJrya7t9ZsIWHS75FEI26QqMw5d1gJ4daKfB3fBEBBAT8cnz+A5bAkB9+pHp+Y5O29niD+IePE9cu0w1+cxfdhWzRlNONvp6o8j/IgxIF2H5M95e/jJLr5bXCbOpDk6oz3h5SVc4n8OMwh4wzyxFmI3EpJDpbnSObPhwd+VYWwxJqKmiusPyzMOfz4xEBJj+cxhMGNN31Kkis7T03lR0X7dB3U7mxAtv4433i/CcxWKbz4rX79KgKvPnn7PVUaYAvaGKPFfGblEleLBf+kQzLnX37VgR1rJoMwTckY1vMDWGL36b/+LwxtPxlgyH5imz73Sw3hSp2YY3AvVtJKqB7soX9uDx87ZFF6LI/SDs1s6NBZhKuhQValqJz6dx2mD/Q3EMjKlmqJ2pjbe2JIOo4prdjic/d7Jp8L/a8zRmwFt797GK6uOP3d01wOWXQtw4hs5pVOuyhQ13dhjRymFt/XwoBCelBThRKY3ncsSA5n2ud+428kury9sEuJ7z07wvOpbla67n4sS1S8vBqhYOMtH7DjbYL9badLsTVvOJnAbJZJoTMXVeB/j5tp5ep1v7hfd5L0NEwe9pIYUgn2HWOogv1tweCWCvu/1xHlE4ycrnW1HyF+RfOYTWiyEpQnmeEVDV3hBKBv6JiWZNqRV3ScsO3PCLLkJ3e6ohzNjWj1/kDyfjGL26N+bE2FuV1Z2Ov2ajmB1SQlvG8pFuBClN9tvXci9UnMLHxqqP+3FaX/mfMNZEUjvoWxdSHhrr0KcAzG5vKf9xQZnxFFBjXLe85ANIc7ZIAy9QQJrX5Q9uWp0qXeBOpyyiLNf8wigZx3smxRs1OcSVaGV+K1e3zM3bRTI16wXMWJk1/VB5x4Bbg6ArVOsjezWMLzQmKr/EsI9yhasnX8eevdE5cCcGx3INlMDr4mMUxuBIEYyzxbDulvRM5sM71vlPv/yGcJFTwK+KIaeA3Qe0bBOjVlHJdJHY6fHRRIRN5iPBJoUrQd9uCQwWxuZu5EboM95Ag5cWlU4UV/oo/HK+eYIoSPFOfyhMBVI2IDjZVcZ5XbxBYzFSWTszEzZOWhUPzPlzfqP4Ve9o0BLbZGEMSEUou19Guc4yBQPsRtTL8CmqRt2vlCimvoO5ZIxTxNJ0VHdbOWOpkH4pMcorZ3QfMLpqEn1k7q5Gl5Cm+FAs+jHEPSbwjsqHc5aD5OLklelyFhUHlX2uKEtpEZgjhxTJmvDbShc5a2GXwtSGKzvBw+Un4T6hgYMtaoxSHoFVMU6B/FenrRLGGUy6a4NETjlGbRABvf2C3yCDVXZ1P7opmhYJE5Idava9S61+9FCN4VW7NYRZTt2IgN4X2KCDsDJiaIDNBTyMqWHy8aVizBmJRDh61BWgt+mbByG0MovZyJQmMAqGpVHWv+fuz3VFioaI1Od9i0T8Smj0qbXcdqCMJjVg4O83YwtK7P59s0+UBN/IqZxBJuIfWwmmmAPxmbAZeC1osuYQ3A/TQXNVRRar+sDaKp70u+NVdZPxHknG7xvMnctKDrENAVP+N5ybWQ6Cd5+um0YpNKETlvO8hzFkEU1spZBACgaiqhhP5hV6dvnxvM+kEiXQGvTc3A+0u0a6cbE701GD4XAFr9c2WmYB45Vu2Kan//8R8d9JYNbI/CR74v7gONHQTf0f73siyJTu7JMfpUWktA2E2NpkMNKIVrWV9PDvy+9XqOp3epbTSpzSqwR6MDnW+VkNO0mGXzQCpZG5iDLpmr38NaSj8vta5QOxcr48HHzDXBp184CX5xPhVsI0k5WrsxD+bhXqwD8JBYSiWPL+UeSvqr006FqvykZY7QZXSMXni9igb8n8OuKUIQVZ3+qjHEVNexds0U4i/NQLQhQ9DHwfdbf73uBLhZMZpWr+KqM8YuZIoD85ClIsV1QeD1sCq1Px2/AeFVhbk4L/LcU52Gk3bDIZNR/4aJ6//dXCBQeb8woJGCErD6T968dlxkRFbJ3f1pWfYX7JKdUeo0IG2L5it5bf4H4fxvjGcJ5kVNWZsl4T5iiCJRUIerslZ/1TpJGfn7Be1cxA/FY6bu8G9ffWcpUR/Waa4Ea5IY9Klp0H7lleJnTvme5ge1iLfjEVotTys26d6zzpe2+TOOmYXXtERNf3pHVXYm6mCczBWCjHVNutU1Z2B7UWS0f2MaDAXahkJs7WyqTAH369JcZV04vP0R45FgL+djHK+B1Va76UFwR+OvaKBWsa9dTEw8icNIRPV9JA8oCDaFC4jWdbYM1Vmuu5SqFOiIEzqMk3acocHg/cI5oRF+ZYyyM/9i4NLCgddEXd9cf6JmK0K7euNQOSuLLiBOCvYKUaK85grP0NRwD472CT9xHI866a1DyboPBAIcCrhaBKancDOVjb9EQAei0gRHu+wi0qcaqwGiSoryzSAed8y8ppSllo4hYkMvmR5aeuCJyaEJkDTXOP5I3cjgFvsxv86twXMk5dCLN9UsW9rlZwPFnhbu/gX9fB4r9ruhcUQg2v5RaAQpoxqUxCz7tjsCAon0nKJXkANraXLdwXuI4OEJ6YvxvKDKNE93ucmYd3qXuH9hj/0Y0N5XOxnFYVjrVpFek3Zmb8KiOH9Tp7nR4aOXKxj1wRNinJ/EwgEVdlpGmWq0VF50ooV0yDWCKyggWsheltmhM5sMdi8DXnFjYiepRMRbDpG/MQkREN8KUy/r9Ca18HnQ0xHN9aFiGPm3gmEkn3aL2KoQKux+0M4BwyLFHey+IkGVgRVh9b99RYFY9ThJjDU8pOt9XaWAJifu44ugpZpGGUTf668B4M2AqsS/mrWIkCyeibs9FfvQ/9GPRJ2/eNAEPYFABUS3KO1sdXr35er40q7QM6LDfkwdmt3XH/hOtch1RjKHZyLkNy14hLUk962Amp+/krxpmoI9CKEWF9N/HPCH7RGMKNVNWG3+UvV4h1hzgg3xcPSpmjy7P9TysDOcFouVauTLwDDgmlOJJu/TuP0f+94hhJjakIUtsixul+N6ncySDk8+3sLigejoHEkvft1Zt9mqDsEYRob9DZTHEWqbQpPTKHtZ4LzIvPdpy8cM7Ujt4ZAzViE+qZyhTpfSCARB99Kr4LkgF5P/UO5mf66aid+IaP9e6VQnKnso7SqgCb7PzNcGf+snkt3zXGom9k6pZFyWm6QeJ99MM5BkcWnyDvi0DicNb58rhbD3Vg63FVpv49aN5WMMc7Q8e0CWYjwLG+suMZBj7L+dKNiwS7Qtjuzi5EQLw8fJ7uQEfVogfEUofZVJMJP5UW5Je9/SuXg+XUo9+kZyQ0cdYWBVxhjHvyBpJ5dNVlfYYCh9Jng4Hoj+KyXFbwryhitPKIQXSitTKMPVcD85rSU8u7FvdzruHVkYjIAUesL40KQ/1TRM5pvNO64pHmFgyCAqfn9rVl/zO1O5pdjAuyYR2xikfoNnGNN17Ho5PNGhoENpIt9AIdwA71RhnqLhdc/7+JmyY4N5epPjUsLF+dhKXttXlIMDmJZ4H9hdDFtNDkFGIsiu6rcZg6Wp0ljzOStKAVgBwvrsey1MQjUVSoE2z/HHGzQcwyTTVAlTYPiWPQogqHjP2s4cYfu9pBosrFmyusYV0Fhuq9sRt5jhFuTWEoEPfeIn/svdeY4kcMuUPvkCuxowwKLuT9UIDMjHajwRD870Wnjs/J8ibzjopjmCwpRU38DJt8herGXakbagDRxcRwdB7GMu7qWwuJCL+5vtbmS5IiJsOU23tGWWBbO4qnbJNgZ2VRO+Gxjw3kP82nadZR6rNuXF/wWdeThgZYzprgL+e1PhLVBggU3IBxHRuKjXg/Pvtmh1hg1i6a3guvKDtmjzIuBtmLxqavhPgbbob+OestrMpfXWm9Y2xdcpN4zVoT/spMrAr+7nW4vCDuFFbev+vD0fuIIk1vIvNCmrFdwWctoY8gVxNEo08cjgEcCRH4pWurtMBepQZRu9mDN2ErqjdmriI3IfIKvW24u3njhoupZZlEoKnyy0WAWiuZ3YwX8uuUHJ1P3kYumV+XOovLc8xpzNyKX4SFoS8JyIWRAVoaEK0eX8i5bH66qzhMCZ7A7tge5d1SUOgfuCwQnqewxNETXL04c4qsVYk6wUe8xeUUP4RjMaow5o3S9v8OgaqrcbBEScjk832kZvTPxwn0BkLmID/OQ2WtvW1YYb0X9roZ9z8bSyoylhRfLGkHKFrEQh9j6w2ar7ir2KbkJvLzwsfGbMAyF1P0+S+/7A/5jfmdkR1mCXYd3yOspgkWSae9dul+INxLREYiJu0TRHrg8LgjlNeBLGZyEakWI8f/y8Md0fLT2d+stWhSMd8VtuIQmSm0FeqFbQ6whDQnM5Up9WajgrukEHDc5zlrUq2+nhJWpG7cAryb2GFvhXtowisChl0oAVuP5NLKL/I6x65lTqdNLFMj+TiF/gb8nJt1jm9kCZl8M38b5248efBz10FQ28fSYTLK3JfslU75PtONsKieA9qywBcIyMLOovdrLDsL78lZTJjafuku+MM46Bb/UQgJL2h/VkzMuh0bBlW1Ad0biyUM7aBqDA+bd7LlsLEDmdgGq9nwxsRgLpRRBDHut+M3PfRCQISI7og7rGg6BL3QPz+Qh1l5mnFvZqwlX4orwdAazaUpqIyvfGC5de0v2ICJ1vCUoUMZIj/fGIihME5TV1gSIyOezpMKqouJrQa5AGzXbKdCNxlGBz3LNqOMEIkWfybTprB6MyxU0JPY3YkB9NkRXqI8eSg9yKrk8BC8mcC51vKyI+jVK5rws5v6OMi7pOrrvbFBV////WxxBYNy7bLAP5GQZgtk5EhjQLr05NOcxoPJt5zkOBp6KjkiijV7sGK3tyYpKJjfh15d9qH9wtles5KUjrLKa6g+Rg0R1tyrrzdA6Q0J5nQHYBjD/LD3KN2ZlP0yJqgSidWmYr7b00GFPwTuHk8+1i4mtoZhyP8Ostgp13pSKKO1MEBZ9o+pXzH523imIqX5gsRz4p5vLSem3ed8IstF8USSAtJsS7fqT/M5dRkDO3KX3b7oSjuIjwTjoBawD3zkuEw7ZWGE/0+bpXbRcqcUXdi+s7CIEgZqgtK57wrq1X/m3aTA9jEk2nt1Rx1eLYV83XNx4vSMf/51oS6PygbO0Jwyoui1LstkMivMPp0/8fAYYzaBwYlqXWlRxm2HgVGeRdmzjNGuMSfq15OY4pJ78fegpvviViDe6pru0+m4g/0IOxSoC5e9WZu16uB2ZF437utPCkjCCTABTlvfGaAVgNt+ybPgfoKpGAOcwgI2KKvCbnDVGk8qoDPH9OHyA5EToomDnK+Oa5/TpRct2MM6mJtiZfkLe9osQZIOObVdQkrB9fXr8SleDnO78fnME3fbq2AbrtNleJf9+7cri1UKZ4W6+wmi/nicwp6yA4YDjTjM3bxAlG9gRoxlntuJl5u9gZ5umUWR1u4P6eyzji06jKjev6bhWDwNsD+tuYw9OryDdxEcaU6uuKq0e3Q7LxuTiWwGe1wW0eKSl1c3UDBjr2AowQCU4LiaWTv3wFlsl0EqDn0M05NLTZgbdAMM3uXg0kUheuehpkpzF7qv6Bsm7CW9Vpw1byC2IHIG8VP+8EZpEB9+8AILKFJF7ykp8iUq27iSv+lKbfcvh0++tNDtPA8h+sLr7BKzxKLY/1UHuhegcc37K1LvZ+nE0mJnxH1Nu/BDHa/nv53xhjyOnNksyeH/oa3zERsI0hOhYZ8N81MwBBc088Xhn+Prgc3Q7Dl17znaZWyppj2Nn1WWGTcSj+ePAdmGcP9UIUfpguyvUW3BCyiCDPz+/OKuhAcxmUbPm6O91S7+Hpj2zoGG4UGCFpnSXAZ3/fK/wbDKPanY/Eb2BbHxWvHkVUB6JiLjAqv6u0Q1tS/Y5rIcjMgpZmFL/MAMLSgwNccYOk9oNDNZkbXvn2tLhKnJHMIp5HB0GhA7lNEBLlcMUCVIlTbrU1DNJNCmioVbVaijluIRMFN/ZqGzNQlkJ4QtQIqRKvst4bgchKZLLN/pMyzXjgO2VUTv15jvQzgk72c9qmH5fDlVrE9AA7UXDRefnFEOKmDzZ3d4zKMbWjR0mJ1usKcBST03E4VGmOsADvdpQ8WvQaiq3F3cwn1FsjLu77SIJbppcCx0PZX478R6hq3/Juqd68OAK625bcsEHlezleuokzv+i14jKoho6G5l05BNr9V3vqwC7cyTIAmjDjfzQFyqgM4fS8RnOhUcjmlY9h8/fkHeKYSKBSlcQ3Nh5dCu75tgNZrmpdKsNgYWKtcX+0Si6bmYGqFMKTBnWMtbn/e4YZ9gLLIgOfJqNNN+q/ZM7tqXL0hBzzILqDnQBKIi5EyC91QwriaVmxrbOyX/tqEK48tZpeOLVibytkTqFM3LESN8g7KY445zPv8wJYParqwdUwUfN1amhPAOSXz74xKLpdFt4AmS0q/iCZJGEqhuuDo+G3kzc8z+n+e1B6oyVgmVOlRgSEhtvhp3dkVuPSyULqfXPFX6bNdy5cEHsuZVWAwmvLfb9NgiElSnSAHgmErR76qHP7KrysRx3LImghmHjQ2hSxh7xPGjc22Ic8xpTyzPHg/kyRGO0voBvs/b+PJQIc2g8Dy3pDywZcF92Gy81is9801P2liI2SCeW38cNGh5bQQ1TNfZ5DDJDHv6H2oHs1vsstCxSnLz1LSsH7l7fzfT+RRxU6VsBzq6pKkWfbVLnGXSl11NcIjxXkaIlLIPi7s7XoXRTyfB2mg6Htc5J8IB69h+SIUKhqYw1Oa1I26qwZ9EDC4d44+qxbLigr752JP7B27/uIHshgtb5yuzghz3QhWcO9ajfT73dAwqAaAYYBZOaFKnsJ7wKxRZpPMPfyalFeHtXkGk6jF8J9PwJBmjd4RJSYP6xJXFADpAmMyEEMRXMKlxjKS96ekjzE+BtGFcGKcoJqGddPvvUwBw1PzBvbeJ8wYweoHRPZ5Ox7we24IEetMfnoJgJvAGwiU8DI/7bQdPMf9UUNl5lzTgE2DvM6aa74ISyiJTVbJpB/3X5CUYFVJSVuEftxGdmFeW4M836r6NurNzo49kMtr4UdL4NVCZb4AFfmp9V/JKZoxPXn24WGjOQSy3MGdb+afz1rNCaJ+OPFWBCCcK5EjJ7iCLCGLEeg8xBJ1tSdO/bffWHdbbC50Vx1TN5PvmlDgLjuoSmaYdL2Hs9JU7mUBg9xNXYRYcwKNY79tf7UMRoH7sbtBU9fbrCoBy0CoT1kPEkPm5hg0BX/m5AJFCKZ0KnAjH1aRkRVU43I8zgbg1CKNcZCukooBjOXWWAmgzic+0ud8nIMIXoEOTGc9ZZnSKypQ1MiLUpTO/MoXnmds+0xX+GebNedL2Z5kUAvVKrd41CPiBH8zBHLqJIASUSOvul3b2biapbtCjUFIMH0F1kpD6CaimapyVkUWhl/yCBnCFflHRVrl9070isNT8AR7kwik5TYmi5pQxYf1OnOxP7D9vkDBCbGcvDBsYuEEoXpoU+OQWk1JZUn1frSbUTKzf+n4VRw5Rv5YgpBn4QQa2RTZlXjSGtrSzvG1JgvYh7n+Eub8TXXWRfuzygkWj6zl190/QYVN5D+U2yE6Ussu5UJggxk9vBrj1kplOUPZpgA32pSjE9Ecpapes7dB7NNtGppiC9cDPKa0L4zUVZRmV8NdzoofOLsrqluBWCyWa2kvvplSTopkbo01hU1oo3DDzPsxLUuvUmjbdimNbhDxlH7mugrXdIGg22qvw6axM5WAFHG/715g+m8+4sOlZwKh+eUdRw3oA6acbZ2E4XbHGIqEgnNtpPGPC6QGEvi+fPpnYoo7NAnsTrqK1wiNt0Pe/96FMh+TUOaX0BgWLKhmZYGTdAN5Mv3Y1IaY22faaNeQxqW++sP/KWTKLokR1NubwbiFiDBWukHJAG4TMg4s9kTUbKadtEHlHB9F1MbcqS2iklUW6hr1AI8hHtTEUnktvFEfcgmqiKeDBfuxctYxM1Ft7I1IwbUtt8asQnEb10HPGXczwuIGRApQqH2dp3QXLcAgn2PGf26MnwVVrVDpFPaY9WRqla9uMloZbSbAsONzbR9ggMpzNj6U6iLC+SUWrzDpgdn9KopU5ND3H5Q1odsFRq1hs08gGutXMoijF5oZOdl7g1yJ7WZxHJ+VFQQ29LqdROJVGaBGiTTtu50UpQ44pHf57rdlAfbfwp1IIjEsqquaCN6THynQ9tHAOlLLexlVrRK/FKCW6WObAZNcZGCJYa3rBLSMECcyaQ/Vf3I0y+nsHoUasNqYQRuP0Y/jETwkFLCfyFvRdQAgirUS0dFy7oIkOWXBJ6zPFDuhlv02i4eodzvWING/f5XYT/xK43WuvYpYSAMzhIa8gpM18kiyWE/j/h0w1HbujVHyCSASnj8A8YTaJxQxW9S6Ul/Go+jK/UTwgOOLFiMrLa6RIIhXdl54l5ypmMiTd0YLo/7Fm9JquUR0rV8/oES1ZeaOr/wT5WaqkEtPvtlSiB8VU+XQ3b3/kiVaKRaqam585g98NwdUWKbRUBDRfAqJGCe9AvkjPO/vORGI3otVok/zKh9k+n2GY0L0/rifHSnp/iUtGSV4XgD2Mns002IX5F3XxwwqWf+A2qZ78r/AurDLDE7I46bE9tQep4PTPF/r3hqTgEPrZAMO5dl330PZ9NxDP7wjlkTiOeuDpdS0KUAFUy4BpiPWVpTIw5vrpg04Q3hzTyhzPwO2GjlM7KeCKkqBqOeC0RvPcSE6UY5e8kYjOfH1hOFY5OeIVU2r2xeuLW/j//5ObOLKi7Nv+sqE6PMIYoVCezpAqOu4LwSLEgz4ZSy39H+AzE+q+Gc0IwCPJGJhe8o3Zr6Ow8giCE9llpzy7adySOk7ngvrrDT8P+NwlNaMJtmpVx/n8Sc5N8IcnXx11fvMsHjAUq2G7OHTVXO/yVxc2y5CijMT4btPUch6F6Fn4TXpopprM9Okrt+07TXb6gXbcwcX8tkr1ig6xqoHQmWG3p7JUsF9+Gz/LAJGo2DFILhajNn+ruAnQQFSszMX1qPDmlOAMWUwKNxuKszBaSxuP4+Tf2W0mDuzrvHXfo7LNgWhBDdMoi3ZYX6rLQjn3Azi1X3tPfI6JHYJad++vq7oRdXGDm1xtPwsjcaKYWeXPheuuoWXwry+F0QJJaMOgES8FzOpxHWJ1HmPVszKbcxlTEabm458mKJFaDSwlzmLZnvauFyopzvPsvK+f0Tc4bQ2uT2/9NPVHmkDwtFb1XzT87kxJHlMsco4fmuoiScftamy3B2BpMwTwinmVwOyPY3tlPfGMoV++O7AgTmEMNEYwBSIXA9C4ECWCsgLfdGiEJuWdHpm1pQPFttHNuDwve9Nb7bVO+RIBK1UaaJUnfISZklgwSHQK90Unwv+S7Qvsoi0iJbQacguAc/pVMOdELI6h0bnjMgNSxl6s8pomW9QrFyHdbQTJ5RyqBWKY+v9yQXWwlRIA36KESKON++faBxHVp4ijfQVGhf885gNCB2MNlylgChjFr9Lgt3k5YnR2jWDgH7b50hcp1OXxLLgXPfr2TBeQWEIa19wsjz0KSKipAJW9k53bCQ6RX16WqzWu+daaf8qL9yl5FIn7DAVw4jCw/eTjARWSamQ9+C+LHBi599jQB2bZjsVLnoSnUX/0j2UlH++Ndo7ZvzI1a5Oh/LuqJW1U0rSn+vrA5yHe+Bl8C0oKgmlfHdzyeSH59qTdsyfXxk14n3rht+xEMZ9JHPXvfq2B90vEWGR+8I2O6FxSylZI9cCrhR0o4SnSCuODd8+w3uv9MZFL7iUH5kyLaKwfaFkUi7dvpkPYOX+lHnU/apjY1zwCvgJrwM8rfVy8hZCFNzjdjsvxEdK8uBNUqrAhKhznjwOYvAQsE9CZb7djGiADxtO/1E2oGEFpf0ghYZWlbHEW5CDFkq3N4t90zpMVuG/3rNxIhj4vsWpVc0j1G47aIh+OjKnWw8kODq85h8Rx3yZLHQVzNNT5IKM4BxwfpQZsv6wBitVZ/ITQZb/0gbMBn7yOJMJ/W92JK4QkE8Eq1bkWJxJYz7Qxrz3fgf+iith0/r+TiXKcWORwm68PnhywgYGQUS6o7iMOqBkbyz+je8Mb1d0k21sXb4Q4Ds+5UsFpzaJYyzs7ULfqUOYrIoSMozWFIcOQ7cNI5vYqwD06UjhnAlJmB7T2ncgHlF8Db3Cb/rXKMN1n1MAfruutq6zqPaL+bOoYWSP4f3I/trp+OBn1lSDr7fDFL/jKnl6/AqmpicoZV9eHk3cixlm7cfmzge93KcLdLgidcToRV1cnlessBwh20G1Gj4ikcOS5pltoI3kAoTnzKKyVLRrsyekSvJvgPoth1+mlwOsB72nSzfRY9+iGMAQ7WjpJAAu8sR/o5ZTzDFHX60BVglXiOErV+WIfiuwTx0AC7wlasDVVJHmb3RIuThKNjJWF1s/J8/fzjaIucELxIK1jPRCfISP7NCCkPE260zaiBeqmBxzYsnYsFevULE0YR7xZHn/JsE8E2D85Yevc2GisCWkRrrtdLPCg4JITjFV+PaWHdD2ty/wUX/Gn2f6GtQjq4X3CkXieaPGsGnwpQvt9umP0tGrJdhxLLbvAWdbC0fj1gWkurpBT19joezJelrS4l9H7GeOZbwRuCzdeOSL/n5Y4sL2p6qTxzysXMeDPhc5Bo3kwIkuMCq3H3SHWHjvXgwVTmXaabv19GjFnY83iv9L8qyV3TqwdytPcdBiDQrMLHK964QFjfwX5H4KnJCjeyQ9L529GUUA95q0TwjAp26uEIRq6MBG2ZJxmlrrePyvomABO507x+MrLHQcfEst2UuP2bCEilKGqWzPU+ErgTMX6aS0U1+EEMQdoj4ptRuuwp6TzmZVCgG+GlABeawC6Po9RNN2essZAbOxWoAFKeXw/Hc59adrjoNzzvDAEORODjvudO8HZWAn/sSEUBPl2MZfgpw9WVU3Y5K2XmXrlV/FWOX3NGoQTqlSkJqsT2SJxF6jNF3tNcHaKMEM/SHqC82zc4ZfziloH6TINNsLTrqd/AdPRhxbnBokeA38qYdg9NzeJ5qSruPXC7/2R1xnmkd1RUXN3rOK+KPUglEgKCYguJ5Idl0rdoi9+vsKOA2/3tzGHYPEaEO2f8rY9Yy1qutCBWMLOP6mpOmcWYBAgfVCEUet9vSt99mjJwErcxXqNpXA5RhpkUji7YnDrSmDZlHXzKfBNgIXrIsAD3seUbsN6ZnnGs5AJk2b3kcNPM8Z1zxZK+wqW0dg8gzzX9ua3HrLnpUSqJZlAy1Ro0QSXy0+53MSP4qk4KODdSG57dxpWMc7EaNAR6ySHHaddDwbP0SJLFkwi+RAM0gGsUMa6EG9hIzHZh1FuuWuPdlb6wslHvrgLWAu+KLlPCbRp5qxUFUeTaxbI2YwMyEjHzs5OsLMPmGu7AchrA8uC3NgeLIhrl/EYRxveXTOH4a7EVJwJpJwyOCYrPKlcmXUWGzlWtAHFRmeQDm+T9b83OEg1Kq5l4A/zuNnxejL9xP9uZOpjpNdRpL+xhUScc9rm4WoM+vI2+/FcA4BWI3uVmWX501oxhYqjincBBDc+Oni8Nw1RMPuxPREWV66i6nnQqs0drKmQIHfTzS8y71wUJ3DE1FsINrkU6RVYFJlfZFpSEFTo8sjh0dbDA5bAc488hHOor9PfBMMl4X30urKaIGvrJvONvR6Fsyo3/hWoCNkkGo+sOGk+BgbAdhlSA0mwV1nbKSeEa42rIfnZmmo4aLHARWLzRK+5ptyRxwN3j0E16UNuwh36jA4zRv5VqZMoxIa+f6ZqOA8ZqD2CdyNQCDDk0uDL6Q4OSbrFcRPWkIzKk69Cb+GQzsrbLWjlo42+ibSIwYbZn3xmt3I0Okk5uuCTuFWRiPyJaGqcLe4/w9tO9kMHsTJ+QhZK9zrXl2ENmNgqIQOR5PorIR/WG5qFdT4HbtdXTtz53dHvxMHwZW4aXoURDkgt4ivGgWd6P8/5pgp9Hg+Iu/DdfFV9Zy8oJ0NDisuLb+QR/MKVelpVcaWXZEg1yAno1DZSWhJ5j5mIsDH+dm41LVVoMyEmLanSWoOM9w9j+wTpvB4/pYptezDtFyFawUsIovZm7iMPQ4Rd9FW53lo0crph2QCTr285AoOVpGcczoWwjk+14Q/ZG1z13pg1EHUUqtLGXbwFJOidluSYBZJb8Y9L/95b3oJmWExARCgRJ/DrAx5iN25SzL2aosR8WuwBarHzVwIlGGLsWxJHljXSBaFKsFWv5cdYv6W8/Q0LorxMHa6ZzT1SKRbqMYg10GBN2af4zcH2T6NqHVCCrocfPaiLInHpp2qRslkP4xORPxI2mvIcuA6kzx1yK+d8HksDZMjO6PLosDxmTN2SOQyWYZyTeSk04HlVYijAMyX6zP4eb0uiu2R9C0mz3umY65FnvmSxcZdtOflL2bb+NdfP0y9767b59b3kV5vUcn48XMdE5a3zV4ji9qUeU27qBpQVpvEshik5V2um+o6Xu8Turv23ELn7w/6fnkNsGc9gGJcsYbFDQuxkuG4EjlThJFVkTtmyuWAhJrXYCSCJ+glsyWBYzJDFvFO06eTkzhcbdND6Ry/D+liHOKcv3ffuU666ME16R6BvJEv+C/t2scv+db+FesgUAVFavSiK5J6BNVua4wJtXCdw7DtMoDgutoGw7bXXOtssQOhJUf8XcPrdfQcfZ6AfxLezGZWVXzIb6H3N2Fl/EO+XJ1F8dzctgVmRA5xUzWzv86p7QssfIJiBTqzEyWVp/p3sGsIzKzPJSBNjMmgRyN1Rs2QMtGoTbzg+YLZrd18GK76sXP+7jfwnlqbb6ZaKn9ou81CkiVuYPN2+MiiTEdEZdjOFST3mKDSX6a14sG5VDzb/OYUBCoTHEoLHMqzpzwZHFmMHiB+OpGVpuQgpFFlphjO83gnBuFNe34TqJZsHPakDk8B3unwvF7N+JI4Z1Bx3RC9GpPUjLfRAf05okQHZIBgm/JSJEVBAwJZ/ijehRFdJsmXhxEfG/XS2chmJexht1ebmm8r7Upa1U71w7w0S4lPGL91stS5NAnjyliFG52B7tjzyShHpzN+v1OPNfuadYJpvvy3AFHmEPs193vjza8cKnjIACX5PrDIkp8eBQO2nzPfCicDap98YOQUIWkXOfqqZ9WNEf723IkxBUHTWDqk38bJEAQakriMhU/GFxz4oCfGrXEKxNjlSYxnuD91YWfKgu88vlSta/sUKqfLKv+W83lC/CAK6TbOqkAFxbob86+OgbS8re5OHaPYhcu7Cr2kHGv3qbbM7o5kjknpNAOHeLnhReSbZJt58wekN2/LM4V+x4smVkailr2eZxOOrlLilMT+PU5bkENIYwXFAkjIiOkTwnwI7WDE4xXw+0xBiCQlLByxqyeZtYWLCf2tC0tKwZoQpx5xSx0kSa7tC7UNAe9+YWA5DB7tjAf1efvtkR40Zw0JniZyNAG1HhYqwDczL935dF7HnqJOx3U8V84GsvIqNk4giiSr/rsM6S1R6NhQscRR5FtW9hNOOBC4WM0fFFNk0ch1APZ7UyvXgNNgRvor3NUadbSBL/NCtLFtpk76xYjJBeXrnAlqJ/GvXk/5yipwHMSlhoEdf7VR1YYWcBMwR4RTP9JTDCsTtbSfjQW9u/FI2XEIRns/eFrjjsKCWMAJo0mR6uUM41y2+E7Jp+PG2eFmDkdotSBvSKNNEnX9pc7lHEE5XEAgpLl+cedN5KikNseDyPiU/IVK1TkEuqWp0Ir+GR2DtmLIcTE0GEF+55UJnmk16oODaPCnlvB3u1wOP9yvza5jHCryFM/39wlmTz6JdHoLlbkmk1zvvLPMfCB1Jlvui2tmsSXnGzwx6TfUuAx/e457yGBNT2jfaU5ii1lwJsYhojmb5cqyRJNo0mHtbi700BnURIfSb18d00WGiSY44Pq+v80FoQ40C8heULoF3spWFF9Nx39oVirZJCNeFObz8MYtEc3czZcSnXCb6Q1VLHTizsLfxmHNqGqdCrsP1c30+M4VF7aKHleFdtBq6NtX5wgiCCjIM0EkCl5amJeG9KrOWULQEZph3qfIjdCX1Xvtgq5lLZWj9ChP0glqNsYhvFuLMJ/lyZkM8sYme1YtMBH1NCtZt5BVicvmXUxdXpwAIrSSY4FxsX/OFdPlqWvNW2TlGWR6PI8iGdCmnLaSJsKIN7atvbKvRaoHT+OP15rSX+G3BbC0X80hYOFaN4oy4N1SJYHmpWzEml9wqI5Y9RzBtye+Jo2jJjiV9HzfuGie8RgzAc0bMIHJiPzTwEJxVGw8NPLSfXF+GY2RyyVxyf9JSEIWoFr8NYXld1UygJIeHGA5v4L/4ehAvCETeRH4qquFGI2a16hU8fSuwmxx92hJ7sLO4nRvLf+H7U1Mp9AYuBC1IXZ6UIwhk3IGrscb2Tj7F0Y1/YIJW7AAZ70ViIg019BKsDAq5iACu7WP4TxO8KOPjmGHGYtBoQhvi4FFUrPWl1z/ZpVP1G2OPH9y4aQpz5xab1PhW/AcjmT9h1RLGuvLkuLcKRPJrq2gUoDhebPb7H3TWufqBxNdcdycLq+nRQKEYshyuSi5NR30KLKtBP3QQNdsuh8eh2COfnP0eG95tS2As1bKapITrTow9SUlNlLXz3YvhTmj5Mm2LH+hfPi9VswwJlo/E+UOddfG3+7VO41plM0UWfmNxf/5Y9lrLKRXMsfglKwBqmR6JLpUtE1U6zJlWyeAKsVRm2eb0LuCwEbMswJxIRFQ04DjpbkjUId6efxsF8EH3Zvt4eoGUAWNxkhazUlZRFss8Acx5ipERMF+gHMKN8CXz9rPUfVhSdslhSC4HB9wWrxWoBhiukBITt5a7IW3Yi1Xy2+EaYNpkWYksUcABspeG9AP4uU6OL8w/sVW5Osc2v0m03DYGAHBj+ue99nAepRMrNqsmcEfA/XTLXedGiMqLrTTzHsJZOXCBJdJEZA1sxqbpitO5HTYslpJ3weEfmCV/6HSwPGipGCrgYIFubyqPCKopZ2eXl9p/fi9JC4gthP9D9ihuuWmSFGSo+rtaPsk4mFTQMSQZh12UKypwrLX0UX2BE1JJjNZWLUHixWaNZsnHjnzzZU3b4+7A6dPNNh5ByoSUNOBv5zFJCg4S1P4zNrpUK6nImuVzXRSs8feTmrXVt19PTj01hNMus/x4N+QV/xMYpHdJOD5SGgGVXvm+tj1iQ7KkgDm4xttoX2rhSvHt5Mm9PXqpIDhRG8MrhS+dkOJBcZsbLheMpwtydWRMictQrb9IyGCUKGzxcI3a7J8V6YMNQIh0p8Ne/e8YR90bfOi5WC4d1VS9YErujTl0sj+INphp4Rz/KoONYJC1uhJzR45EiJYnCLU/xR8vHqJQIHFzowHTnBNuClCUagFdV17E/UuHaHLgxSLc2CzdiCBH0SjW6t2wCC7gCtOVrY78WHhFolkpJPUosw445RMsVBVliQW9I5njvuPxzoj9ZZv/TlNm/zjkJky2mtJ5AkG2N81PZNFkeFkR7Fz0KGQVF2ALr4c4QYw+kQwiKgN9yXpKwflVvlsI0IeDAFxHiyl4nzRPHUV/tVIC+0qjl7AGU8QgcmMC6E2sLNA2Wbd3uSzRap9yJc/DL7UnaLfU21Kt/JDrHO5h7xR78QtwDPL084yvGNzF1hVR/n7CvxFfKkctwev5zDfXZEqAWslTEiYDJdVGQ0ixTTwaxIdkfEW02jr8mqSsVxGYR14z+IdWAr91C/8gGoF7FpFrZbQfZLLC88MusFjB90hozrtYkgnq68dzjY+RF8VVnOYrP8UF3pipNGAbb1m/VlYEOGfjXy8ju2iRUlyuFB34ebTktUZmbBhoQ5HoqAGFxLl4Gbuko3usnirKVJ79zaNKX3HhwJqkYyDdWoo1wZy+dtvJKGs2oeCzh6vCB6z5ScOiKg2hukPvqAiyePjRUb9ZdPSgOpYz7epo/QVbeU1CAr+CXSfdeOrBHh78eths+/CphBBcQ9JEI7wOWWO3lnuZE8YvdR3e4A0+oFjjnV6egkvrwq61gOFANljZl0Q49936UpswTbox1TxPwRBfuo4iTKReB01vT32fRE288LGi41Y+0shwVgToUJBccgWK6f6e9ODYCwPYvxNtezqsfxGmkyVF9j0P6tIdS5XI11xFU4QFkX12kd7ff+FYuctp7I7UvTTlpWr+SK33FHC+eK4fbJOqObgufk4B9AbXuqxospY0C1g41c4V5rxE7eyXgPPiflDTLi4F1upUx5GWK+lQ8CERW+g2R5SeqIq/8OrYqKPuUH1jHbcFsgO8qrbTN04oNMAilF+AKaBvHgq2bGk5BRu1g/Cly9hokjjGeCu6dXrAC3DVd6jwFGyRiZu53e2zgY1sCajmA6eRmh4YrB5ur1LF8DGNfsDAEbkc6vdJZ1478bz1gA7Eor87kvfs9hBGshTd+iiJAJNmzIGPCSj+R2/fqgLuZL86rr26Ldsa4Iv6CfXpl1drxBS45OBK3vJiE1gZh1GNNNNdMYlZ3/SytVDyJxgho6adV6+QfEZuZIprwdM1eKCesJ1p5iDsPZkyv0nEgy9t6ptq3kdpVTEkaTcry3ggeCJUagR9U3tpO7N7JGSn/+O35NDaemXE/P1F3IZe39xMbO1kOkQ9xkmF8Qr9sX/sfATlQ1KNSlrRvY20nYGDzumhSFfe8SFI8dhFl6Y/h3lba6KxUaXMurWOKyKY+VpkUNIwPwCGHclfFuQIyutu5N6/BcQfatnKC7uBpKF4H3TYlwjT6jApSnSM/miFN8AjCVahDipEwTizao41jJTuB+MeC5fr1JECJeSIHynLuO+eNh6xNwATkTmvWzwAkH8kBj0MS1vcIYiYMSayQlK0YpIVFJkBW13izLYV4tqJc4RfpZ1f+xTuz/hJJY0WwPmx4D38B1/TloxYXq/6CEEG21JUcuN6Za0I4kP6yhHua0pOyw10UmsvBIVe8uLtKeBa05oMCNzUJdBWarOrcvFM6kLzpom4QqUPb7VE0pAQMC1tbhOE+wVHI9Umo0kfPaeO5jcE8T7ok5jGmYqRbNQJcT9gCWlqzlG6DJw1WpnBnvsCkaaW09dc194yA9s9eBLVNulqYeX213E0GvJCBa8Gk2Vttqsyn9vvLKeRQXrD5J8VUs5DVV7By1Irsstzsosz6f7oBEbfvY5Ba0oyRCNK31OEH4g2jCtTAYHpvkYkU8F7F7Iw8fmlGLhO+8wPWj6RlLy+28fMRmAuh8uEEP+JeasOehBy8y9+aTD1Wl9vdU+WKeTne8QbDvIgONHgX7PogAc8sG9K8WII2OSMPXcL+jkB6jY5ISwkxAaI+8b5rmk9AXsUuBHGMah++7aCqJR0dWiV/BqTcqnVb1vQ0eqv/CZy+ggkb9LpYtR8EELBIBO6mhBv8ZXCOf5h4ZvET5USLXxlZeQwSGBf3w4XlcM+Z1Ctoq67fRdvtPCwpCJ5Ggfy5+LLHZFhAc+/kaeKWz7c2+oUzHkxQSOpI9Mi2TT3GGSElPCel8Z42UOb04meyjeK1zCbL183oQKCk5e7EMdZAZnv1vnlLxZw7lvgf1FktVRQhNBiWYuEUNAsk5qKBMMYwgP1vw93MixpQeLODnXJPdUqUZiyvvUNS5EVFWcrsqN/lQAPFBu2PZgZ4rhLfJFMTW+iCn7nY5MlkqWTGe0fQ9BFz9gINsCIqSOIjqHfOOQMvKeHrVTFXlAt9fIPWCL+FWB8QZct5/hNOZkUuC/66hJ6LTQrtJwZ2f4qHcVl5UE/4gqOn90/q8XKxMa5OOMHZpNckNxMmYnh7bQmul8H6RNajwdo1usruUWzvcC9rGj7SQVQgmHLXn/BCr0Nz8G92HnJMhflAJEmxiaV7c0j0ZjkpbclrzC1E1FhkV0gLVYDFiMYjuXFo//PQLiWM4YZC9dTzqI/wytaCWcmxGgCqNbZACQNpQjUMCqSi4Jy2AX/b67chIVNKIjlyJdXRErniKqg2GnoijI+kBVlVnjJC+KW5upeL/d81hmTjUMvGtztfcXOQZ0oOwC2+R6fr4vkJh5xtwmwyK3Dt1pWBf9R5RnSrTd7xsx1hiFCriznr+eU+g0vqDhw1htVaBWKT517oAN+BFUeVGHx+SvadWBWf+6Fko3xAYyiOavtvywWsfeNEExFsnB1esGZ/3pnpERlTMVw2kXSfDsB5K7I8phRKpn3yenrF7FN95omUyd+VY1cU+zqlK7F+A7yYgDL198ZeMK82k0Kd+V89FjCA+yGsCY0mLIe/Jm1nry/Q5l8Wf6sUEDq+p263ha0aNh8v++MhRKT1dSVvlnpezzTF8w+KkGHklrNKfnG6wmlIvInnwYeBx0rOC8tviXhn3GRV9IiWZuo8IWeFcn+qM78F7vQzBir1HlWTMQMiJW33ki88bsqYezRzPMGr8UvjgUJirX97nsQ71sRGxP/WkMfQV5Mcj0zhOTy0G0Iksd4hsK4/Qp9lVZHw+cKdeh306gc20geWCQZdRm39Rv9ykIzjDcvzLDuEXP1D+odm6k4ZaWt5aEFMXox98+JW1REEwWC2lWHKHha7N6Yej9Iay5VLKL0xCFbe+RfHZtreFDJuaMjOSSZVkCGmkkzu2ZoDrWEP7DQJr02N5e8w2FF9tfpNiZsHuRhpo6r2J/mVQC8SoTWKt54PSb7PYJGBJJmGn2KWbSoEkmGRvVA27cCc9Zw9rw/UkAFOc24zzj6VfitqV5pGWXFuhNo6fBQPZjbOJ9Ir6Ppm21UJiy9Op4HYyCJWArgINoXfBMjpBe6pzNupBUfiSln28I6AKUm7ZlTM9eI7WMXYVVUDUyhqJcGfVLSUwF/Lf83gaE6wjvmF9AfA89qW+ZZldq9BoGGfgT3JXDhLDI3k/qcuojlpVeHXM6mgEaaLVPDqMRVZtFvmIrDp9XErXGhWHHOJdsbHI+a3750CtdV0sZ0Mbggf+hpCULVfvDpHfWUUCQyspADjrmKRA23vN4s6J2DmlZuGcw0fLPSaUEwe/5bz5g8VJaAFwndAzI4/ImRMap8X8yZ1U66rAqIa8GfdpOL6qScTCLdenwRfpGnJegNxLF54VgMzt2Vkdpz1DGm6zccxksLlSTg4Px5fmDtO/suwUnf2PU/6u4G4Ps/M3ME1QC+y4VFhOL4XHbpR0Xu24RBWARja6xMLjXU0BVwHbh/jW+lvqKt7OtACeywd5iYeGxXR98CwyH2prwQnuXL4r85vAgpQZ5jHJSGzQ9d/CEfGGoC+nsZf6JAvesA7Td4bV+d6WkLHWIrxnlwIkw9AK5YNvUOPsXkhYnMeKPQaENAMzM0uuQ7unYXH3eZ2qATshB7OlQkTamwFk0KcoJGx5tOqHcTFuk8KQtf0/ZwSto2s2Fclpzp3thCyQZm5Zmb1ashiCqs2v7vuPxNTc/CF2QJlQxC+FFv3H/DUCb6rMQTq2kB0bQHcrwJ9cnbCxYQi/s3sJqw5CaK+UnHSgkQtq3mVn9qojgrz8Y9qsfUv2FsOryK11nWxwLm2mX3jeFRznlEcnuR5xKs5ihvGqFNwF2LqI+7egxNtWTcT0cU3DOBnmzJ3UcfK9Zsh3bQW7i7opQfrTHEsaW3gf+EgvA4AlNzqQU3GUSFym7kPYRsNsW/RESEx4uVElsWy4PjWUSuubyKAFwYLQJUKEPRKeE0NvL6dbnn07psqxWxUmIOwKEfyA1GZGQA14t2mCncHKPnXdMtpKQim6wpv6PPkuJocE4Z5pW3mpfUypcUjUY7V0BnH2kqQV6CkUbdUtZFIZrr/Veu38nqZnn2jVP5entxIghE1wh7vWKZF9qY1h5lDak5gwf8YGokaY84FzERm/8sMrz59+/TU9Z1O/S2+Q+mMpt9A+DroOndAbcoo2viLGazZk6nZGlCrMZNs3PhOpXc2OATGoBNbRiJON0aeFe7+VcOMAI5NXeLxi9HLVRqHEs84rNG1dcrJS+tVG+DtJGTMtkuzXkHDKdBewYvfn3+MEvFNlADug6KpLVtlAGJdP+KHP/yQR4OGKVKwsQWMbIMAOSg9Kw4pvQE5WRd2IikLns+0bHSZY0wZpe+cloen1gV2AtXNAiPOBXlAZ8eHxM9meC2vq1iAFAcBvsklh+LcuOC0c/xsfPlfy+Y6nguHK69njca13lJTJqvESRkfAqjJdiz8q4rWNVbcWZKZObKTUMSEkdJt6Ix97lZOL9JNV2TWxAK1gLGCj75+YlG3BPu1fZfR97gNT40lNWG1dmUEamOA7J7VhT60iHy+FrdTXIidxAzIxomo3/6EFQM51di+lBDm9cBcD/mRnavAH8DuDJe1w1al0MewJLO9FamUUqeLj0e100tUAQ7f2eueS1mVf9HzLrxH+kDczYv4jEZJhhU0Hju/ULtaFbWNC61vOnM9ccByTXMDx4o+XAoUpQaBU5pe8TlkcSVK7uBaaiNQvSLvzl21oZyeAEf6htWuoEQrcN+oRQVZFaRwrtyxHfpDZ0sO4u27WyC0yiuuTGZU+9apy7FiMV73dMyAkroGMekutLCSV9HpXFEk0F3Yc9a6lh8cnUWgxAlIEiCrJnakL+vuaLnz84icZoV4LbzrscE1oUkzSGMdvR4J1cDLYbuLrVLyIlYvdE7Qa3e1jTCz+G4bbelGXMeRR1Hf9z2L309WckKOJGnsMhBD9qO9L41eykDegaGiLX/hCTrcLmyt5pM/4fmC2V79IzLHe1R5D7YixWgj1gwTJCksy/SCzMEJgMpseIsVNPa+r22Uuk2+GDJkPmsHntylAmwXpyLweZc72fn7pRaHe1lj91fVuNiw1hDuaZxLAXJzFod1nO3ItgZt1K6lAlgslHYKUGuMdqrHoU5HxmX/42q3Kb8GkU8gaOi0vU8AWvLdtErXGXtylJ4D/qAGr7PAeqjqreitsGH7z3mtzcJwz8Rt/G+gX4nbf2uUFN+TcYd3aQT5VcOIsoXjB42Cukq6eSfqoZZ59fmB6GgrNy/LIMZYnDjDWeMPVlZtRMrsNK5Lx3kINnEyImsBY0V9lQdczOxW2reMhxUtMEx3ZXhQjjUoxMmc9UfY32Mm/G7aT0bCp/zI/hOwy2DEIYeXwBVmS5jACHC0j3ZRbCXf9YxGhzxQliMdT/IcTRRsVPJrCvKQ3Z8VPy6x7p1k3M4sAqjZKgZUzpne95klNlXn3+2mB77r+LVvddj2w2FocqgQJWjPwgVCrUgk1wMbSrrh/9jklL7Ugx0jd1uk472RF+1PwBqMgzXCS15ZBgUTj36b5ql3dwpL9bFzR0xgfmIpdIZueY+b97E71IRNy0WAbKTxKxyqPIiogKocMCIOTXsPJcmIS/RrPkNucFAcBLW1xikQRLBwkcgCKRsXVzuCKniP3VGI4Y1NvCEzGKFUCNuPSyokzwt0sEnABzpiwOsHpaukYWwZawUhWAhZEGARsYi6zwW6VMNHS1YbB36sdzC4KEsUSCNZFk8SieDUq8M/Qy0Vb3dJDyenMTlQySunM9hWFIxcuK0qGD2JKRhSL6CYpcj7VYs2PQEMPpS3XpXo4XD1LNzKXzypaPUXFO48H6Z5uKfc/6c2PMRIkFxHZHnIsY61Hl206yMfa0/Beva994EXFwzQ1PKHoK/ZydfWLyAkGfjoe+j32ko59IdCrP7RRflrWXRcycMBOVAs42rrfMxtJKtMNn5tRMRGaxKz4iQYKpBLQkgcgQVSo6uDrYXX2xMQrk1KqfSBsUnOP5Lz59bT2NcG9SAlzXDNh6KNxMZb3LqVD7FGU9PD5lOSRWCVAdoq1QT3ldIVq4VecUtUzT+dbZGkrajZDEeUTfKHYGfkkO0OWBsbMAPVIsUbM2cDJxvKW+BI3Ghpc/nag61cvQVrxS2xUtgb4NvMs1zDeJJv/H8FCpnOkfzkPk8u/F22lT4DLPwjeXuCZRhRWw7WnzlXf8szl4IOar0kIn5zOCLe4m9O9acMiWui/3/Fnwoszrg2z9urJ/2dwZsEkWOgyvQ76w26OwDSeh4C6qFC1aqln6y/OZ48p/55w6BOHHWjknXOR2EXsDMEvwW83cS2DH5VM7Gi+sUzhCXHTcLgOqIrsXpxi0nfH17yjgHX6bwWDyencHLeoZ+bJcYUUy9cbR/S9mYNDsRK9fWuaCSCUzrSpglg8C7xDTYPeckDBhhZEWdg8M8fi6FX1UFlWXjLe6yqZe2TuIaR5sYEl9wSlK3PQpIEO+jTqTIuf3p9adT5Vk9NTR7syXT/NB64Koc6zUMG25vH0HNoWV6pFkiNPQWUKoQWMTzsMpibyTzCNktsDJ70COyspnhtMwo4xyNS0lak1FYOoc/V5dFBcCwgGo91VcUDGQJ/vDB52t8IldEvasxmbIcR5i/z4fkbqp5a+IvOl7dMpwXSoAmw59GTEQ5k/i5RTRlV+gbQLHDgyOhz0NultP7KQdXRgFfL+cpEkYOmRnb4GM3vz5TN58shHVt8DH4/o3UOwm+DoDGGnu5YvghWgLutdZZi2Yp8EFB/XT4XhyUkoxu7CpsZyaMQqHFyEVUA0vxjqn28RnVlBhqUXfuYYyAXEfH8TVXhaPV7w49gDCwNXkDb+/xknwCuFCw2C5OGskgROKm1q3/SD+x6AS9/z18ClkiWJyM549GBw5h5LO/eeQC8bj4wAZYIBeazOY6UerWk+RoJUQ71295NGqVal+DLBcloSk6h6AxUI91HQoa8boMbZGEkiMubqKNk9a50KqjCQ26rSX0F7+pcaFVQUs/aw7oqoXufE7NWSS6nT+ZKw7OIvYyeiEcdKrQFvL9LjLJI6i235k5jn6XlFgJJ0UCtWqBofMJcu8IzNxuXhJIxoF+Ktkcqv++vBuysQnBR0yaxEkCyouEUuRSalnMRmRL1uoUxJibsNALN7q5AmHnHN1kryAqMvj3PB9k+LY8xomb8cbDlpBfG42FxWK4zDg7DXadpyeDrg0Xh3PGi3Ri5h8Tru8C5WNkkhnxkU+jvmF7oSjEj1l9DVbZuvH4BtcvJtBrm0nJwqatD4Jq07CHSa3Ba82ruUOG9RJAiBF6kO61GqG7wrgTvIhxv5MLot7HwAI4pW73fwv/6Iisby+3O4Q30cp8yh33dzMxx1yAfrrrtphHmnJ6+wGWhMl9RBUIjwd1n8b+Nb2OSBNCrJ592PK2TzvEMGL3jsWDnZVgYMh9UaYkS+ynXk0L50y1M9pwC8zZVMr+qFP+hMHEOAOD0wzFwKwDzG8V9hSLv8N0UqimBhBRclOx0Yy1FZFS5NG17NSDZhk/9cF4wFa4j8KMtf8oVxOfQ+OU3YiR8Wa7psWyRxl5x0cfZp9x6InYSiQaDjddkBDurvpFiKvn0A/jcl9mO3/vegY3+PZmPDmsGtko4BlNWXc3781eQUZO2HzApg1MEFI7+UQEopFRgrQfmSOqAqo8eragcnv0PNGUne9YnYh8xmL2EuACsjLdIpzTN4mJ3HXLA6x5eT6osWdyX6C3ToGGJswDZjxyYmdadkH5XdFIi+aFyExnHJdbTG76Kn7dSTQWoTon0HCMUrbhE7wAqxr13hagSM4T0aZhnyR2W7aHPKy7Mny+opRmCoCdCfUBrmqyWrjcwSP1jHL0LLodD+PEjkaBZBAtrrAVSWrMNpTExHkApDSqlOopTysjlnkZde4Gfw7cwqDS+lM86+b523iNevo0lq9uHzv/PmFw7Ba5ncxoNjvehifb5bOPR591FSShmV2bWCAh9aUeVG7s3y4fphcP9VgOBAE+FOZsJW543P0p0Paaun0/3uFNeRqbtIVlhGYLt6qtJDdzzg6NAJW/dAC4v5mcAx7AGHpPaIQwoCl988aMgzCEij7ibugk9aKK7+nsTShi8nweZuUlln0fpSd9cPEZiPXGP0k46q0gGzrKl7cSIGqDsokqFBI5ODVjXxsHQdLrHpvuGTqP6g=" title="Mekko Graphics Chart">
            <a:extLst>
              <a:ext uri="{FF2B5EF4-FFF2-40B4-BE49-F238E27FC236}">
                <a16:creationId xmlns:a16="http://schemas.microsoft.com/office/drawing/2014/main" id="{3CADF63F-50F4-7973-14AD-D2A20940AE46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 bwMode="gray">
          <a:xfrm>
            <a:off x="333383" y="2705168"/>
            <a:ext cx="2903877" cy="3592854"/>
          </a:xfrm>
          <a:prstGeom prst="rect">
            <a:avLst/>
          </a:prstGeom>
          <a:blipFill>
            <a:blip r:embed="rId23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2" name="btfpBulletedList415321">
            <a:extLst>
              <a:ext uri="{FF2B5EF4-FFF2-40B4-BE49-F238E27FC236}">
                <a16:creationId xmlns:a16="http://schemas.microsoft.com/office/drawing/2014/main" id="{6EB2A61B-7811-5D1F-41F3-C7F80A9B2864}"/>
              </a:ext>
            </a:extLst>
          </p:cNvPr>
          <p:cNvSpPr/>
          <p:nvPr/>
        </p:nvSpPr>
        <p:spPr bwMode="gray">
          <a:xfrm>
            <a:off x="334963" y="1933594"/>
            <a:ext cx="2903877" cy="693450"/>
          </a:xfrm>
          <a:prstGeom prst="rect">
            <a:avLst/>
          </a:prstGeom>
          <a:solidFill>
            <a:srgbClr val="D6D6D6">
              <a:alpha val="5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177800" indent="-177800" algn="l" defTabSz="711200" rtl="0" eaLnBrk="1" latinLnBrk="0" hangingPunct="1">
              <a:spcBef>
                <a:spcPts val="1200"/>
              </a:spcBef>
              <a:buChar char="•"/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711200" rtl="0" eaLnBrk="1" latinLnBrk="0" hangingPunct="1">
              <a:spcBef>
                <a:spcPts val="600"/>
              </a:spcBef>
              <a:buChar char="–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533400" indent="-177800" algn="l" defTabSz="711200" rtl="0" eaLnBrk="1" latinLnBrk="0" hangingPunct="1">
              <a:spcBef>
                <a:spcPts val="600"/>
              </a:spcBef>
              <a:buChar char="&gt;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711200" indent="-177800" algn="l" defTabSz="711200" rtl="0" eaLnBrk="1" latinLnBrk="0" hangingPunct="1">
              <a:spcBef>
                <a:spcPts val="600"/>
              </a:spcBef>
              <a:buChar char="–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889000" indent="-177800" algn="l" defTabSz="711200" rtl="0" eaLnBrk="1" latinLnBrk="0" hangingPunct="1">
              <a:spcBef>
                <a:spcPts val="600"/>
              </a:spcBef>
              <a:buChar char="&gt;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066800" indent="-177800" algn="l" defTabSz="7112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1244600" indent="-177800" algn="l" defTabSz="7112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1422400" indent="-177800" algn="l" defTabSz="7112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1600200" indent="-177800" algn="l" defTabSz="7112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  <a:defRPr/>
            </a:pPr>
            <a:r>
              <a:rPr lang="en-US" sz="1000" i="1">
                <a:solidFill>
                  <a:srgbClr val="000000"/>
                </a:solidFill>
              </a:rPr>
              <a:t>Q: On a scale from 0 to 10, where 0 means “not at all likely” and 10 means “extremely likely”, </a:t>
            </a:r>
            <a:r>
              <a:rPr lang="en-US" sz="1000" b="1" i="1">
                <a:solidFill>
                  <a:srgbClr val="000000"/>
                </a:solidFill>
              </a:rPr>
              <a:t>how likely are you to recommend &lt;vendor&gt; </a:t>
            </a:r>
            <a:r>
              <a:rPr lang="en-US" sz="1000" i="1">
                <a:solidFill>
                  <a:srgbClr val="000000"/>
                </a:solidFill>
              </a:rPr>
              <a:t>to a friend or colleague?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2F083CB-EF2D-1D08-C351-B06679F994A7}"/>
              </a:ext>
            </a:extLst>
          </p:cNvPr>
          <p:cNvSpPr/>
          <p:nvPr/>
        </p:nvSpPr>
        <p:spPr bwMode="gray">
          <a:xfrm>
            <a:off x="4722289" y="3276858"/>
            <a:ext cx="1021285" cy="711412"/>
          </a:xfrm>
          <a:prstGeom prst="rect">
            <a:avLst/>
          </a:prstGeom>
          <a:solidFill>
            <a:srgbClr val="DCE2D6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i="1">
                <a:solidFill>
                  <a:srgbClr val="000000"/>
                </a:solidFill>
              </a:rPr>
              <a:t>Strong reporting &amp; analytics</a:t>
            </a:r>
          </a:p>
        </p:txBody>
      </p:sp>
      <p:sp>
        <p:nvSpPr>
          <p:cNvPr id="54" name="btfpNotesBox491930">
            <a:extLst>
              <a:ext uri="{FF2B5EF4-FFF2-40B4-BE49-F238E27FC236}">
                <a16:creationId xmlns:a16="http://schemas.microsoft.com/office/drawing/2014/main" id="{5FE71EAD-D1AC-4B95-0A1E-9739717376A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fr-FR" sz="800" dirty="0">
                <a:solidFill>
                  <a:srgbClr val="000000"/>
                </a:solidFill>
              </a:rPr>
              <a:t>Source: xxx questionnaire (N=425)</a:t>
            </a:r>
            <a:r>
              <a:rPr lang="en-US" sz="800" dirty="0">
                <a:solidFill>
                  <a:srgbClr val="000000"/>
                </a:solidFill>
              </a:rPr>
              <a:t>, Customer &amp; vendor interview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97E571E-FC2E-C0AF-5239-2DEC92487DE3}"/>
              </a:ext>
            </a:extLst>
          </p:cNvPr>
          <p:cNvSpPr/>
          <p:nvPr/>
        </p:nvSpPr>
        <p:spPr bwMode="gray">
          <a:xfrm>
            <a:off x="4722289" y="2668190"/>
            <a:ext cx="1021285" cy="544512"/>
          </a:xfrm>
          <a:prstGeom prst="rect">
            <a:avLst/>
          </a:prstGeom>
          <a:solidFill>
            <a:srgbClr val="DCE2D6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i="1">
                <a:solidFill>
                  <a:srgbClr val="000000"/>
                </a:solidFill>
              </a:rPr>
              <a:t>Reliable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ABA1CCE-CB85-BBBB-6801-65E0819257FD}"/>
              </a:ext>
            </a:extLst>
          </p:cNvPr>
          <p:cNvSpPr/>
          <p:nvPr/>
        </p:nvSpPr>
        <p:spPr bwMode="gray">
          <a:xfrm>
            <a:off x="4722289" y="5995183"/>
            <a:ext cx="1021285" cy="38449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i="1">
                <a:solidFill>
                  <a:srgbClr val="000000"/>
                </a:solidFill>
              </a:rPr>
              <a:t>Weak customer service</a:t>
            </a:r>
          </a:p>
        </p:txBody>
      </p:sp>
      <p:sp>
        <p:nvSpPr>
          <p:cNvPr id="36" name="btfpQuoteBox802941">
            <a:extLst>
              <a:ext uri="{FF2B5EF4-FFF2-40B4-BE49-F238E27FC236}">
                <a16:creationId xmlns:a16="http://schemas.microsoft.com/office/drawing/2014/main" id="{22F92664-EDBC-600A-35A4-80DBB958DB4C}"/>
              </a:ext>
            </a:extLst>
          </p:cNvPr>
          <p:cNvSpPr txBox="1"/>
          <p:nvPr>
            <p:custDataLst>
              <p:tags r:id="rId9"/>
            </p:custDataLst>
          </p:nvPr>
        </p:nvSpPr>
        <p:spPr bwMode="gray">
          <a:xfrm>
            <a:off x="5847161" y="3328536"/>
            <a:ext cx="2774247" cy="549830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</a:pPr>
            <a:r>
              <a:rPr lang="en-US" sz="800" i="1" dirty="0"/>
              <a:t>“With [Target] you could answer your questions within the software pretty easily. Their reporting was strong – they still have room to grow, but their reporting is strong.”</a:t>
            </a:r>
            <a:endParaRPr lang="en-US" sz="800" i="1" dirty="0">
              <a:solidFill>
                <a:srgbClr val="FF0000"/>
              </a:solidFill>
            </a:endParaRPr>
          </a:p>
          <a:p>
            <a:pPr marL="177800" lvl="1" indent="0" algn="r">
              <a:spcBef>
                <a:spcPts val="0"/>
              </a:spcBef>
              <a:buNone/>
            </a:pPr>
            <a:r>
              <a:rPr lang="en-US" sz="700" dirty="0">
                <a:solidFill>
                  <a:srgbClr val="000000"/>
                </a:solidFill>
              </a:rPr>
              <a:t>Founder &amp; CEO, Customer #12</a:t>
            </a:r>
          </a:p>
        </p:txBody>
      </p:sp>
      <p:sp>
        <p:nvSpPr>
          <p:cNvPr id="43" name="btfpQuoteBox802941">
            <a:extLst>
              <a:ext uri="{FF2B5EF4-FFF2-40B4-BE49-F238E27FC236}">
                <a16:creationId xmlns:a16="http://schemas.microsoft.com/office/drawing/2014/main" id="{9E7DC5F3-B426-341D-4D44-E5213C11DEBA}"/>
              </a:ext>
            </a:extLst>
          </p:cNvPr>
          <p:cNvSpPr txBox="1"/>
          <p:nvPr>
            <p:custDataLst>
              <p:tags r:id="rId10"/>
            </p:custDataLst>
          </p:nvPr>
        </p:nvSpPr>
        <p:spPr bwMode="gray">
          <a:xfrm>
            <a:off x="5827911" y="2722296"/>
            <a:ext cx="2793497" cy="426719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</a:pPr>
            <a:r>
              <a:rPr lang="en-US" sz="800" i="1" dirty="0"/>
              <a:t>“I highly recommend Target because it provides reliable service and increases our operational efficiency.”</a:t>
            </a:r>
          </a:p>
          <a:p>
            <a:pPr marL="177800" lvl="1" indent="0" algn="r">
              <a:spcBef>
                <a:spcPts val="0"/>
              </a:spcBef>
              <a:buNone/>
            </a:pPr>
            <a:r>
              <a:rPr lang="en-US" sz="700" dirty="0"/>
              <a:t>Owner, Customer #53</a:t>
            </a:r>
          </a:p>
        </p:txBody>
      </p:sp>
      <p:sp>
        <p:nvSpPr>
          <p:cNvPr id="44" name="btfpQuoteBox802941">
            <a:extLst>
              <a:ext uri="{FF2B5EF4-FFF2-40B4-BE49-F238E27FC236}">
                <a16:creationId xmlns:a16="http://schemas.microsoft.com/office/drawing/2014/main" id="{8EBB15E7-BFFB-B9D7-C4C0-DC4A544D69C2}"/>
              </a:ext>
            </a:extLst>
          </p:cNvPr>
          <p:cNvSpPr txBox="1"/>
          <p:nvPr>
            <p:custDataLst>
              <p:tags r:id="rId11"/>
            </p:custDataLst>
          </p:nvPr>
        </p:nvSpPr>
        <p:spPr bwMode="gray">
          <a:xfrm>
            <a:off x="5847162" y="4069972"/>
            <a:ext cx="2774246" cy="796051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</a:pPr>
            <a:r>
              <a:rPr lang="en-US" sz="800" i="1" dirty="0"/>
              <a:t>“We are not entirely satisfied with Target. We find the system to be clunky and not capable of handling the demands of a large studio like ours….we often experience lags, and customers sometimes can’t book classes.”</a:t>
            </a:r>
          </a:p>
          <a:p>
            <a:pPr marL="177800" lvl="1" indent="0" algn="r">
              <a:spcBef>
                <a:spcPts val="0"/>
              </a:spcBef>
              <a:buNone/>
            </a:pPr>
            <a:r>
              <a:rPr lang="en-US" sz="700" dirty="0"/>
              <a:t>Manager, Customer #70</a:t>
            </a:r>
          </a:p>
        </p:txBody>
      </p:sp>
      <p:sp>
        <p:nvSpPr>
          <p:cNvPr id="45" name="btfpQuoteBox802941">
            <a:extLst>
              <a:ext uri="{FF2B5EF4-FFF2-40B4-BE49-F238E27FC236}">
                <a16:creationId xmlns:a16="http://schemas.microsoft.com/office/drawing/2014/main" id="{122AE602-3B36-B788-98A4-1053D7682A1F}"/>
              </a:ext>
            </a:extLst>
          </p:cNvPr>
          <p:cNvSpPr txBox="1"/>
          <p:nvPr>
            <p:custDataLst>
              <p:tags r:id="rId12"/>
            </p:custDataLst>
          </p:nvPr>
        </p:nvSpPr>
        <p:spPr bwMode="gray">
          <a:xfrm>
            <a:off x="5847161" y="1961475"/>
            <a:ext cx="2774247" cy="688329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</a:pPr>
            <a:r>
              <a:rPr lang="en-US" sz="800" i="1"/>
              <a:t>“We’ve been using it for years, and we love it. We love the functionality and the integrations they’ve added…Have improved particularly in the last few years – adding more integrations and features”</a:t>
            </a:r>
          </a:p>
          <a:p>
            <a:pPr marL="177800" lvl="1" indent="0" algn="r">
              <a:spcBef>
                <a:spcPts val="0"/>
              </a:spcBef>
              <a:buNone/>
            </a:pPr>
            <a:r>
              <a:rPr lang="en-US" sz="700">
                <a:solidFill>
                  <a:srgbClr val="000000"/>
                </a:solidFill>
              </a:rPr>
              <a:t>Co-Owner, Customer #18</a:t>
            </a:r>
          </a:p>
        </p:txBody>
      </p:sp>
      <p:sp>
        <p:nvSpPr>
          <p:cNvPr id="46" name="btfpQuoteBox802941">
            <a:extLst>
              <a:ext uri="{FF2B5EF4-FFF2-40B4-BE49-F238E27FC236}">
                <a16:creationId xmlns:a16="http://schemas.microsoft.com/office/drawing/2014/main" id="{5E387560-92DD-E2AA-E82B-01AFA11A6B11}"/>
              </a:ext>
            </a:extLst>
          </p:cNvPr>
          <p:cNvSpPr txBox="1"/>
          <p:nvPr>
            <p:custDataLst>
              <p:tags r:id="rId13"/>
            </p:custDataLst>
          </p:nvPr>
        </p:nvSpPr>
        <p:spPr bwMode="gray">
          <a:xfrm>
            <a:off x="5847162" y="4956461"/>
            <a:ext cx="2774246" cy="426719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</a:pPr>
            <a:r>
              <a:rPr lang="en-US" sz="800" i="1" dirty="0"/>
              <a:t>“[Target] just seems so clunky. It’s a clunky interface and it’s not intuitive.”</a:t>
            </a:r>
          </a:p>
          <a:p>
            <a:pPr marL="177800" lvl="1" indent="0" algn="r">
              <a:spcBef>
                <a:spcPts val="0"/>
              </a:spcBef>
              <a:buNone/>
            </a:pPr>
            <a:r>
              <a:rPr lang="en-US" sz="700" dirty="0">
                <a:solidFill>
                  <a:srgbClr val="000000"/>
                </a:solidFill>
              </a:rPr>
              <a:t>Studio Manager, Customer #6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059FA67A-05F8-46D0-6C6A-6EEAA25B04E0}"/>
              </a:ext>
            </a:extLst>
          </p:cNvPr>
          <p:cNvSpPr/>
          <p:nvPr/>
        </p:nvSpPr>
        <p:spPr bwMode="gray">
          <a:xfrm>
            <a:off x="4722289" y="5311291"/>
            <a:ext cx="1021285" cy="60591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i="1">
                <a:solidFill>
                  <a:srgbClr val="000000"/>
                </a:solidFill>
              </a:rPr>
              <a:t>Lack of innovation</a:t>
            </a:r>
          </a:p>
        </p:txBody>
      </p:sp>
      <p:sp>
        <p:nvSpPr>
          <p:cNvPr id="75" name="btfpQuoteBox802941">
            <a:extLst>
              <a:ext uri="{FF2B5EF4-FFF2-40B4-BE49-F238E27FC236}">
                <a16:creationId xmlns:a16="http://schemas.microsoft.com/office/drawing/2014/main" id="{308978E8-BBAC-056A-1D67-DC8CCE5FD780}"/>
              </a:ext>
            </a:extLst>
          </p:cNvPr>
          <p:cNvSpPr txBox="1"/>
          <p:nvPr>
            <p:custDataLst>
              <p:tags r:id="rId14"/>
            </p:custDataLst>
          </p:nvPr>
        </p:nvSpPr>
        <p:spPr bwMode="gray">
          <a:xfrm>
            <a:off x="5847162" y="5382513"/>
            <a:ext cx="2774246" cy="549830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</a:pPr>
            <a:r>
              <a:rPr lang="en-US" sz="800" i="1"/>
              <a:t>“They just straight up did not innovate. By the time they started it was too late – they’re not working to create a better software.”</a:t>
            </a:r>
          </a:p>
          <a:p>
            <a:pPr marL="177800" lvl="1" indent="0" algn="r">
              <a:spcBef>
                <a:spcPts val="0"/>
              </a:spcBef>
              <a:buNone/>
            </a:pPr>
            <a:r>
              <a:rPr lang="en-US" sz="700"/>
              <a:t>Director of Operations, Customer #8</a:t>
            </a:r>
          </a:p>
        </p:txBody>
      </p:sp>
      <p:sp>
        <p:nvSpPr>
          <p:cNvPr id="79" name="btfpQuoteBox802941">
            <a:extLst>
              <a:ext uri="{FF2B5EF4-FFF2-40B4-BE49-F238E27FC236}">
                <a16:creationId xmlns:a16="http://schemas.microsoft.com/office/drawing/2014/main" id="{A406798C-CD07-017D-744A-6E1DBEBFE261}"/>
              </a:ext>
            </a:extLst>
          </p:cNvPr>
          <p:cNvSpPr txBox="1"/>
          <p:nvPr>
            <p:custDataLst>
              <p:tags r:id="rId15"/>
            </p:custDataLst>
          </p:nvPr>
        </p:nvSpPr>
        <p:spPr bwMode="gray">
          <a:xfrm>
            <a:off x="5847161" y="6056444"/>
            <a:ext cx="2774247" cy="303608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</a:pPr>
            <a:r>
              <a:rPr lang="en-US" sz="800" i="1"/>
              <a:t>“I think their weakest point is their customer service.”</a:t>
            </a:r>
          </a:p>
          <a:p>
            <a:pPr marL="177800" lvl="1" indent="0" algn="r">
              <a:spcBef>
                <a:spcPts val="0"/>
              </a:spcBef>
              <a:buNone/>
            </a:pPr>
            <a:r>
              <a:rPr lang="en-US" sz="700"/>
              <a:t>Owner, Customer #58</a:t>
            </a:r>
          </a:p>
        </p:txBody>
      </p:sp>
      <p:pic>
        <p:nvPicPr>
          <p:cNvPr id="95" name="Picture 94">
            <a:extLst>
              <a:ext uri="{FF2B5EF4-FFF2-40B4-BE49-F238E27FC236}">
                <a16:creationId xmlns:a16="http://schemas.microsoft.com/office/drawing/2014/main" id="{E3A4FB68-D1FE-F900-A6EC-86F2A2ACFC9D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7030" y="936034"/>
            <a:ext cx="281540" cy="280744"/>
          </a:xfrm>
          <a:prstGeom prst="rect">
            <a:avLst/>
          </a:prstGeom>
        </p:spPr>
      </p:pic>
      <p:pic>
        <p:nvPicPr>
          <p:cNvPr id="96" name="Picture 95">
            <a:extLst>
              <a:ext uri="{FF2B5EF4-FFF2-40B4-BE49-F238E27FC236}">
                <a16:creationId xmlns:a16="http://schemas.microsoft.com/office/drawing/2014/main" id="{E6079FA5-761D-C8B7-C4D3-1A12B6EE9FF7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229" y="936033"/>
            <a:ext cx="281541" cy="280746"/>
          </a:xfrm>
          <a:prstGeom prst="rect">
            <a:avLst/>
          </a:prstGeom>
        </p:spPr>
      </p:pic>
      <p:pic>
        <p:nvPicPr>
          <p:cNvPr id="97" name="Picture 96">
            <a:extLst>
              <a:ext uri="{FF2B5EF4-FFF2-40B4-BE49-F238E27FC236}">
                <a16:creationId xmlns:a16="http://schemas.microsoft.com/office/drawing/2014/main" id="{BC0FF40F-5CB4-FB44-04A3-C3647D42E711}"/>
              </a:ext>
            </a:extLst>
          </p:cNvPr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9193" y="936034"/>
            <a:ext cx="281540" cy="280744"/>
          </a:xfrm>
          <a:prstGeom prst="rect">
            <a:avLst/>
          </a:prstGeom>
        </p:spPr>
      </p:pic>
      <p:grpSp>
        <p:nvGrpSpPr>
          <p:cNvPr id="156" name="btfpColumnHeaderBox342443">
            <a:extLst>
              <a:ext uri="{FF2B5EF4-FFF2-40B4-BE49-F238E27FC236}">
                <a16:creationId xmlns:a16="http://schemas.microsoft.com/office/drawing/2014/main" id="{8F6694E8-6D30-D7C1-2D2A-6E3246F82827}"/>
              </a:ext>
            </a:extLst>
          </p:cNvPr>
          <p:cNvGrpSpPr/>
          <p:nvPr>
            <p:custDataLst>
              <p:tags r:id="rId16"/>
            </p:custDataLst>
          </p:nvPr>
        </p:nvGrpSpPr>
        <p:grpSpPr>
          <a:xfrm>
            <a:off x="8848385" y="1279369"/>
            <a:ext cx="3073739" cy="498792"/>
            <a:chOff x="10677753" y="860042"/>
            <a:chExt cx="1184048" cy="498792"/>
          </a:xfrm>
        </p:grpSpPr>
        <p:sp>
          <p:nvSpPr>
            <p:cNvPr id="154" name="btfpColumnHeaderBoxText342443">
              <a:extLst>
                <a:ext uri="{FF2B5EF4-FFF2-40B4-BE49-F238E27FC236}">
                  <a16:creationId xmlns:a16="http://schemas.microsoft.com/office/drawing/2014/main" id="{D0908124-5906-3717-EF52-6B9AB365C5BA}"/>
                </a:ext>
              </a:extLst>
            </p:cNvPr>
            <p:cNvSpPr txBox="1"/>
            <p:nvPr/>
          </p:nvSpPr>
          <p:spPr bwMode="gray">
            <a:xfrm>
              <a:off x="10677753" y="860042"/>
              <a:ext cx="1184048" cy="49879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 dirty="0">
                  <a:solidFill>
                    <a:srgbClr val="000000"/>
                  </a:solidFill>
                </a:rPr>
                <a:t>Target strengths &amp; weaknesses vary by customer size</a:t>
              </a:r>
            </a:p>
          </p:txBody>
        </p:sp>
        <p:cxnSp>
          <p:nvCxnSpPr>
            <p:cNvPr id="155" name="btfpColumnHeaderBoxLine342443">
              <a:extLst>
                <a:ext uri="{FF2B5EF4-FFF2-40B4-BE49-F238E27FC236}">
                  <a16:creationId xmlns:a16="http://schemas.microsoft.com/office/drawing/2014/main" id="{4DBB9026-E941-DD24-87DE-547779350828}"/>
                </a:ext>
              </a:extLst>
            </p:cNvPr>
            <p:cNvCxnSpPr/>
            <p:nvPr/>
          </p:nvCxnSpPr>
          <p:spPr bwMode="gray">
            <a:xfrm>
              <a:off x="10677753" y="1358834"/>
              <a:ext cx="118404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6" name="btfpBulletedList613496">
            <a:extLst>
              <a:ext uri="{FF2B5EF4-FFF2-40B4-BE49-F238E27FC236}">
                <a16:creationId xmlns:a16="http://schemas.microsoft.com/office/drawing/2014/main" id="{297D0692-814E-B815-02F3-FAE8F0817522}"/>
              </a:ext>
            </a:extLst>
          </p:cNvPr>
          <p:cNvSpPr/>
          <p:nvPr/>
        </p:nvSpPr>
        <p:spPr bwMode="gray">
          <a:xfrm>
            <a:off x="8953160" y="2066251"/>
            <a:ext cx="2903877" cy="2221048"/>
          </a:xfrm>
          <a:prstGeom prst="rect">
            <a:avLst/>
          </a:prstGeom>
          <a:solidFill>
            <a:srgbClr val="DCE2D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400"/>
              </a:spcBef>
            </a:pPr>
            <a:r>
              <a:rPr lang="en-US" sz="1200" dirty="0">
                <a:solidFill>
                  <a:srgbClr val="000000"/>
                </a:solidFill>
              </a:rPr>
              <a:t>Smaller customers value Target’s robust marketplace for lead generation &amp; seamless booking/scheduling</a:t>
            </a:r>
          </a:p>
          <a:p>
            <a:pPr>
              <a:spcBef>
                <a:spcPts val="2400"/>
              </a:spcBef>
            </a:pPr>
            <a:r>
              <a:rPr lang="en-US" sz="1200" dirty="0">
                <a:solidFill>
                  <a:srgbClr val="000000"/>
                </a:solidFill>
              </a:rPr>
              <a:t>Enterprise customers value Target’s comprehensive functionality across both integrations and in-house features</a:t>
            </a:r>
          </a:p>
          <a:p>
            <a:pPr>
              <a:spcBef>
                <a:spcPts val="2400"/>
              </a:spcBef>
            </a:pPr>
            <a:r>
              <a:rPr lang="en-US" sz="1200" dirty="0">
                <a:solidFill>
                  <a:srgbClr val="000000"/>
                </a:solidFill>
              </a:rPr>
              <a:t>Customers of all sizes value Target’s reliability (limited outages)</a:t>
            </a:r>
          </a:p>
        </p:txBody>
      </p:sp>
      <p:sp>
        <p:nvSpPr>
          <p:cNvPr id="178" name="btfpBulletedList613496">
            <a:extLst>
              <a:ext uri="{FF2B5EF4-FFF2-40B4-BE49-F238E27FC236}">
                <a16:creationId xmlns:a16="http://schemas.microsoft.com/office/drawing/2014/main" id="{C1469AD9-DB4D-4B8B-9DF7-7C86FCB176F2}"/>
              </a:ext>
            </a:extLst>
          </p:cNvPr>
          <p:cNvSpPr/>
          <p:nvPr/>
        </p:nvSpPr>
        <p:spPr bwMode="gray">
          <a:xfrm>
            <a:off x="8953159" y="4560958"/>
            <a:ext cx="2903877" cy="199561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400"/>
              </a:spcBef>
            </a:pPr>
            <a:r>
              <a:rPr lang="en-US" sz="1200">
                <a:solidFill>
                  <a:srgbClr val="000000"/>
                </a:solidFill>
              </a:rPr>
              <a:t>Small customers are dissatisfied with a lack of hands-on customer service</a:t>
            </a:r>
          </a:p>
          <a:p>
            <a:pPr>
              <a:spcBef>
                <a:spcPts val="2400"/>
              </a:spcBef>
            </a:pPr>
            <a:r>
              <a:rPr lang="en-US" sz="1200">
                <a:solidFill>
                  <a:srgbClr val="000000"/>
                </a:solidFill>
              </a:rPr>
              <a:t>Smaller, less tech-savvy customers are frustrated with complex, outdated UI</a:t>
            </a:r>
          </a:p>
          <a:p>
            <a:pPr>
              <a:spcBef>
                <a:spcPts val="2400"/>
              </a:spcBef>
            </a:pPr>
            <a:r>
              <a:rPr lang="en-US" sz="1200">
                <a:solidFill>
                  <a:srgbClr val="000000"/>
                </a:solidFill>
              </a:rPr>
              <a:t>Larger customers are dissatisfied with perceived lack of innovation and customization compared to competitors</a:t>
            </a:r>
          </a:p>
        </p:txBody>
      </p:sp>
      <p:sp>
        <p:nvSpPr>
          <p:cNvPr id="180" name="btfpBulletedList136746">
            <a:extLst>
              <a:ext uri="{FF2B5EF4-FFF2-40B4-BE49-F238E27FC236}">
                <a16:creationId xmlns:a16="http://schemas.microsoft.com/office/drawing/2014/main" id="{C0D7207B-CBD0-405B-F366-90B7FA48F0C4}"/>
              </a:ext>
            </a:extLst>
          </p:cNvPr>
          <p:cNvSpPr txBox="1"/>
          <p:nvPr>
            <p:custDataLst>
              <p:tags r:id="rId17"/>
            </p:custDataLst>
          </p:nvPr>
        </p:nvSpPr>
        <p:spPr bwMode="gray">
          <a:xfrm>
            <a:off x="9915822" y="1801688"/>
            <a:ext cx="978552" cy="257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1200" i="1">
                <a:solidFill>
                  <a:srgbClr val="104C3E"/>
                </a:solidFill>
              </a:rPr>
              <a:t>Strengths</a:t>
            </a:r>
          </a:p>
        </p:txBody>
      </p:sp>
      <p:sp>
        <p:nvSpPr>
          <p:cNvPr id="181" name="btfpBulletedList136746">
            <a:extLst>
              <a:ext uri="{FF2B5EF4-FFF2-40B4-BE49-F238E27FC236}">
                <a16:creationId xmlns:a16="http://schemas.microsoft.com/office/drawing/2014/main" id="{C91AC7AF-6824-8C23-F04F-B2E416FEF5D3}"/>
              </a:ext>
            </a:extLst>
          </p:cNvPr>
          <p:cNvSpPr txBox="1"/>
          <p:nvPr>
            <p:custDataLst>
              <p:tags r:id="rId18"/>
            </p:custDataLst>
          </p:nvPr>
        </p:nvSpPr>
        <p:spPr bwMode="gray">
          <a:xfrm>
            <a:off x="9915822" y="4315986"/>
            <a:ext cx="978552" cy="257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1200" i="1">
                <a:solidFill>
                  <a:srgbClr val="CC0000"/>
                </a:solidFill>
              </a:rPr>
              <a:t>Weakness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498160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CB4B0205-835E-A30E-EF27-C25777058A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5994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606" imgH="608" progId="TCLayout.ActiveDocument.1">
                  <p:embed/>
                </p:oleObj>
              </mc:Choice>
              <mc:Fallback>
                <p:oleObj name="think-cell Slide" r:id="rId13" imgW="606" imgH="608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4B0205-835E-A30E-EF27-C25777058A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btfpMGChart438928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uMJRV9/pvQLsiGzewXs/f758nq4c9ePJPnYvlaJVgKXAJq8Te9xTDII6uzkoZJKvwVinwMs4DkdiPWWheJFwsjhjMfB4dmbWPWkzFUxA9OLZlsDZcfB/0vWxNIAZfU+gUrHCnKk5xxrJnHtuusoNc48CMtWjnRKQ6+ZtkNU6nWCvr1GdMy43QcFsmBJmdf3u/k3Dld0moeC8kYD0FNt7lAADEfJCoBdEjBLxEytjeYsEy7iI9S20aaDGDMAwVo/4FJ1TtPMS/c2KJv0ZKm75PA5Vy7Zwrrvy3tPq58xodBXxCpt3VdNnWKARosFXEa+al49bkodmn8w+RQkbYWzTrhleDG5J1kmIbxenOuBTmUgl5uLs6g33/wK/eTrsAZ3goeluGrWkLxSVKNVlFPWSlVHBcjJOX9bVO0ArfRQjft+p3asTkS4F3K7QP1bAmLVpBEpmgC587n8kERkJCgt5PMrW5XtueOOdZsf0IpeklskVhEkinoHGxssjw8ZmhBlr/mgAXGktk2VNwayLB+oCufmggVWknSzcWdJ/dIhFTAoI5gf5NAPLC/10lXOuUF/b3K22yCbPC65KXmov/IreO5IESXUPFp38qEqjmT9YnHCtMGKzQwiieQNJm2RysdquBRC6lfqlmvW5Jf7Z8tn7Y5orMjiUhWGhtaSH9fNuxsZH3msoBSWjzB7A7Jt8I9gaoZtlA5zBhDKIyf/EI9zBmnG5LwAw2dmH4R0vUJKEPHxpk7ijn7XdoLZDxx8bHualX2jpNVxPTUbsGCUcxaoEzDLB6mBpJQ2uK620kI5JhrDh1Iq6zoZi/GqTttz+NZ7RLw/t+wjO2ua5StGbZFO3socq7w3ysVgWUIYRfLNe53h/g775XK0gd7v26ZLmi58VCdv/n4m2yQe7WuWaovqY/OuvEc1y0zoHEVTv3KGPMYyS0tS3iXhw5GNjBQysqereEqsZ0BPzKvbUJ8G1swYFVcHQXj4zOpfbEE6x5IOd/uaHnylr7GdVLkUFT6sfVFzyvR2BwEpX8vmsR8K//n2GyLeKt9wFBOXFaWpDHYorXdWA/auJ3/VSkxHIRkbt5rSYcBYZTY5obvQB4Q8kZ4IzG3wwuwMZcOM0nKh8er9tpxDN4wqrt0GkdtpAIEuw9G+ZMuXXfGpFPWNbPh5MzsVtHOU3kx3ICB65J8RQ41PglpYxCvS0bhO0AwfgbV6pS/+jDShNhH1AgLk62JT8EPGnPRgW6+m4wVfUgho4AHQ8lD43bvoDVBw/ZSvY2QYtyUFTAaaD6yXbb+Kt9GaGKNCOPN6qPJVUIa4L5i1OlUIGhUuPZmegIJL9uXDY95c7JgbAUaK9AXdnCHb3NrLcUkSE/+NAF4of+3LxFvqGCGjXe07bmgj4+czMOJfTv+O4pwcLm8m7zJQNCeRLZ3Jzf3JtkdKvOzweFo9AlHJxbYUnHoCQiiMq/sfPmabL2ede5oXq3MF5Sx9snoHTl87LgimrPo2AD6rnCawp5F6XtpDQ80fYT7qEmh5c4nAdtO36Lgyv3ZGsDSbOhFocb6j2iOOAPhgSxFIK3gVFJi56OldllsgrcHnNkAEwBdabQfUCVRm5mz5w4ybDTaGzfLX4AcwBoNCSFBr7da60DIWD6EkK7d3GVZaeaaLpjbNUg7deNTPG0woiDoKh10n7xRRTXdXxDoaGE1vNCB0JWmlRUyEB1bBlpTrMb3Jof64TswK0cAqB+AULJSdws3F07plafjw+cUPosI6NGAWl25CNF0MqnXoYGf28wGsU5YlbF38Z1EtTVk5fASqEzLXtXOQVIFZvaOxV8NacBZUCt0acUUh6C4Q0zEUVbhv2+FnLNC0/aRHJztkrYK8t13YijQJzWro8z17E9V3fllBbyXQdF7PXiAsn8rTwYe2d9ot1323piHro0spn3aZQQsk3508+aAbJuraQED84oah454UqqG0eeIKcQJA+7oquNb49J4IQXqtg+v1VwrVQGGfQ9ZvXg80CYsc9FVtH8XPPbA1GreeYRuNksgHDN1+S2pvgPNPMS53+IH35c3OPaeuMGtSV1cwdWkGvhPYqSZiu9vjIrvk3PF1sBY93tmLjik8EGw96kJJOQUhN02qm3xsa2dkGRVrOqLAlNF9p+HWVi5LLUpHHUzEGGZVCqsWfbg7PxOttiara1womHTrZ1W67IB8L2/5c5Rn/+BVpag4Nh1y6MZ7xy89cCv5TYf7O40fOpdZ5FX15BA0+TYIwHimJNYbbX4LpIGIGojjhJupOkO7wudd5bUYBpwwirFgGVv+kPyoMt0X+xsnYj2uExFTVLox7Vnt3sGUelUFp5G+P2Qc2uuKWDtck6pe/Gg8nojsTge2RCfVIeysQgDRfYG8bp9FNbony5goGnOrkJzGtwgCFRKVmHKTsh4/I+1l4oQFiiLfsi0Q9sPMMLg3ZVFXJWpTqoPXF2BPbrJevVzMakEgTt5bCtffKVfRonBZERmvJyncD/n/8xlvT0l8F6nfhAScD+FSsceGpDL3nKFpUtofr6Q1RQVbbjHALF7Fols/7hI5HPpfNd8dev2cR/8PkdAuhYmPXiCa4/Takh9zaqVdrKTXj4oI/cJNPqmwGczhBd7QyuAsTbykTtVaTZwm5RtLiEW8y9wJiD6VhNSbd5wA0eFgRygnbmxcL8wrItL8xp/S3e5Og1zVdRpy4CCDDkM39ETvu64Qx3IjfQM4sPwu/5nTIVn38nBhAF4bEi7PI7hYjkjQsRZjYpYFT9tHpwapr+QiIijZBnX+4Wo5WGo8ct/662q6HxctjvZBJtgYGMFpSAmIHb398qDW3So8XOfdVto2E+5er26cruowGkP+iUazqe4FMIBEJRyjhn3RVXNov3N/bkaMHghmBT1OtMG6XTw63dhfuiFoV9wgYrLzaBso3QcrOa7PACd0L/gYvE8sD0Pm2T3hDT6jEA83Z5c9bi3LIEAx94PP1bSWyQAwv2eI1gRFWlZLn8G3llKZVHlbBxmxe+jPqHcLTpJuaZjbr80hTpDUurKDeZFV6xZLryx2VIN9D8srGdpbJH3GhVM7/HARUc7oe9f1rMKABRz1Q10UyT/rmvRQjWypnM2G13UeX2RRnODnJfneKxfho9MM5YirWheYWYE4QQ/DNR4kZi62XIv2aGNNtfjmHFQzjCYtUYkGKQ8qFqmRHGDToXKIi03LS2Yrj6zpDMSWHSYVsuozWcbjrPxHL820kjMAbdetN+0UZL1pfwM4Y6AwrFAidOd5rbhSzWVItiapZaxRMBiA5eSn+dX4+T0kCJD7/HjOtAhJY1NKnpjL3cJFSzw8/iFGciBoA1hg3bOxRvuHTM/lMTGXqqgyIRtMlgQ23gr/XcSF2XxGeVOZCvPuhsfNfrqzWKkRd+4MaSHP6j3bmdfgGO0DiZU+UwWtCezDWeBJC1s7Z+oF0RScw3Zv3+C8BRknQ0jEVsmqCfghUVDhNktNZQN5uN/Xfsfz4csSgZClDDLsWR+jibTQ4qqyNZLnUqA/+QO3lBWfeaGhKPXtZ6yjdNu5c1kMPv0+gTKxmagzxwObouXXn+ZTJ8/SQ+rycuY8XWChz1fAekl2HRO6SKysEnVTU3QYNBuYO6z5ayLJdg7f1h3tjgrOZoC+7d3NjrT874C56Vi5NBbNKyoDoA7UJqmLZkigh92b/wuEFWzMSOje9lfGHHw8cCVYBjRzvSjz/WdtquVb/SoEw6EolkY95n3eFbdJfwJLgCM17eJpB4pdvgmVBV5cffVMPapsVM6/pLVLednoyoBbdX+/qOAafXpsJjQfy5pnrbkKjEqHtcpJyx66MnZ18SGaRsKKVVecdikpUWks4TlxgVkFY7Nc7sJhs3RFkz8i9wT1D/T3Y4qt2T/tSoFrfymZkzcG4la5TNO5ii0NVBw7h6M6t2UUDGAWPWmlsCueykrAWbWVZqk0pA5townlhreJ6KheygF2cHdCKHCdDXug7XOrt1B1xaAjI3bsejtqLW/L8n/Gnn2TL7fW1aj7Lq0ZsjQ2icrTzryhnSQNsO3CDrGv3A+wXEhgTdrtQRQQvLXFNCI/yHSPSqZX9TOScYPk0FsE+loqnX10yoG9fm548FbesSRSQpx/ImS5nNUtFZL4KQ92d7PmHf6v3L6hkkx2+PElxV29BSS0MnMCcvbd1YaGbF9Mjr0NnnUm2Er4Di5I9RbSJdMnm8AMmQLen0ljO6zTJLfq/ZvxNpaLxGXjnMOAAhVH5nxkmXzLjVSJWzJEgVoAhlwR+dgOIJ//PxNktzKYFvWEqkxwsINGECIbPl60yJp+TOYWmSOIe2RzEjv6l+WbOH6SdS2zrdjEXgQ0DBSG+RsrZbZuE+1rNWEQBw5VNa2BtR6eGA4x+sEflnSljq5Cfes3EvAmFqqvLcD3LVMerJgft8j8YMnpOClFEJW4er6xJDqdKiiqXWcHhFe/C8Yjcu4xP6WCObojnormjRpYvQsNa41dbtTmyf2N+1P3BM743h0N92FhvR2d/BBl3N2PYDFNN5q3bz5HD2tntMDVrKEb9/rqPrrWLSsrBMHIo/94DqIa0mOT/XXoqBunJ8ljJpSk37gU+ACttb3w91MucIFs9GH2oHwBK3qYgkrhH7WAo2vVaNeMlZ7Z4c+ACOQNVqPnjw9nzd4Z1V5VMN0KqkBptPvRWK4jLJ53yKoKkB4I6cm5RUb+FxybvPyucdz06vqkKkoikj2bwOVa/YpziQ7XctZqfv4p7+0o1GX98uvGDefyj/gj78uN8ZS4RUwjfo6TJFsyudBuvdfMP/9V20hgjPEO4M+qVQn4j3d21wLNqzVxONGZlb82mGYQYAieZ/4F/4M8CMagud/g5nGVcg/aayuEcXNvIdU3KqZ6JQjVxJrSAw+J2hvZAhg0KXDKbbeIqP46tLU91XbC75gq/6o+rufTJ8B8zmzAnUI3QO2DItNtUfdUaDh9WUAcZKHPK37TucyYTGrAKGvaL+cD0J/NPqeBfD+Nam4ozDHJpjnOZBVEcklGC3xIOY8jm+t5KgVhNqv4CtpyNDBGfD4fBt1QorNqi1rxTUK4UidpKuKeqEnOsQGNcUm32aWEYtHVcp97gSEF3YVK0ENcaUgc3Snr6dkyfreNL0yEP6DMUwZBZv5o9Vb29fM8Tr33lIOICVugay5NgCMewBAkXYcXzKuuqta/zM+uGMJ8O98kK4tqmdYKXPx0mpwhEmMjE3jiwG+4JEW4h6zpplnuFmTqHp8qpLC1m4NJ5wS2tEIfG7Cg/d2wac+9xk8BHMmVl+3/JW4pkrzX+Si/1GTgph5t5fqkWAS881n+t4+uf64Z4w8cLblBeSDtYQMBzKq2my4DH1XRcPfD5hWoLG0INogr8qgqJQ2doV9DZW31qjnrCWzmTB1taTzsBwg03VTU3D3r0UjtG3cr8oY04Dsw+ByEMJB5xh7nGg5S32Os4RqHu4nBQ6Wsws+NT3Xx86668DME/RUmq1l6OXBZgDoSYwqZ+IyW64vDiliNDVB5Ef9hGiuQiFldlrsAyPQuYgxU/Twbh52VAsGK+RZWn0s/RDAmP0dR0el0lDDlnQBAmRbofumVn1hW5RD2OQxCDA7l+tisHYkiA/8nR8BY9FgRCycxwzuelLmTo9DavpiuSc2ewt7y++m6F4VeT0T8rZk94+2ur0NXmNbpbGx8P9LnU1QG1GbtEA44iV14lmg1HJdTaqcvmeUPnB3rFNFWrugo7orgkeXlKcjptycqMna4BGEdiiM9rJxvsQXv3dGOu48L/ySGLUXvcISdam9JLWccVdTUyokq2+1IaVLF2gY/ucG6sttPJbAavAlYGgZfsgBQp/qHx3FS442fdTPsO228j5abOYJ/X8b5OGQt4ugSRhS7zia17EAMFhALDT1B4rqpDJ69k7q8eFkb3i9KcKTJL8G1jILoI9pnH1E0Sez9pJ5M1AF1eLb1tyMmve/gd1mZbULr8lmzjNfWEa2BRfv3K92mlkD6suZn9d0fFSOBEQ4Y/Ww12Oau66SxeoVLq4kIJ+8FUCyQFdOmNXDOgDmhloP21LiA5lHUi5hoLOv6asxDszffhnI3UZwp8ZsUAr0jMNYqf6owK1avwVygYmhImGU7tJ9vWDtEqZOdfdFPuYvIGbNxoC9mMjrloOwMvRZ3vDISVzEQIdu4ZSQ5c7irB1+JaS+Z4dPM1TYFAdSCbsTHjUUNAcWXF0RHlYFKoLmKGNuHYcL1A4E235yzLlxFWm7bZvfDezS16SyYYKl782HgtYICtXT/UMeiqh+se67gyY3uBENuSDDDHvogkYJOyNatouQOy6RxBTZd55BGFrxviqStzeUytUvroCrqPhiNg2j6etwUGz0lR1lYZEUMhzUjXR/QhAikO9H0WHscA/oGGElso+mkWglLdrKqjSdiZssgO8dRcDJc0WIDblcMXv/uHbIQnLKVaM/4yEWfbhygzwys/0ONL6aJHRjWsDZ8muT6nJgFzxi8aH8cchykBBeNt3jEcGEzo1c7KP9tBmhUc3/usi07SigxovaQLjfkG3iPI3y2L+pLRmLXAIgOkwnA1p5f5arLF/FX1RStDB6poRCASHUthu/Y9NMhVPxkWCgd5EPPlmTyYJeo8mH1nfxJ/Kd4lmWIrj3Yk6Rbk2XtbeDXMpzjyZsD6xxYWvWd15qGumfEKely3vK+byQlDBXoptbcvwQZvgdW4kQGC2U4Fz5Y2N44uUhFLMnk2IE9xcosgB6/2z54nvYf3xXQ3nX5ST+P12mXN2WJeGEMD/cO4FfHBT9A9Psk/djDkSd7/i6zSgTr/EVwEfyNhEn9lizVfcO6JYJ45lvC9xwmbbC6qbHig5lCsEBx45gaX3TzgKWT8IkVWIHnJ6OxE1J4et7P+SiorDbF09bsh7+DnXwt47l0Dsrhx8PzJbHy9F1RZzGYOTB8XpZ0HTVHVIVSTYKI7yc/0dJa3AUSJJBtN412eA/oFiF8l/xJjgizU8OQDV1Lxcc86D+JlGnGoNqBPTIJphBVIMe0pouD6EPtXVg8JOuuuUdUjf139y2vFzhtffoAq35CtWgbz7T04BizUQNoRkjxX+njyxhSphXLDcofW5im4oefLdchg7DFRQmXnaZLeDIOHOT35ZuA4+4C1yaxpKaHd8KVrafJcZGJ0SGMQfyR+e7WrOMxsDivnFxI/bByp8xumYBlPj96+BgP14crqyVwzvm1RkVypQLc1AU6GQTQlRPQilWz45Q5ufkoLocDjQeMfpW40Uoj0H+d8RTUyjwK7Mpq4fJx57ZK3ljrxe2NOedKgtU7D1f75Y2NfKc/jV5M2X6Xt4McL8UZ16obLczjV5kvJffTll8V3Fi+pS+yRBqdkVj0SG1hdt0BeIn7RALBmrjW784jnUJs0bzt1O4SAYkZBxOkwXlzeC3a7lu/wwf04HICwAc8eK7RBPGDVEdtituSelKUOyylqS/CqWz2llDsCe98KDsC4PFwoKrM5DBo0jSx0muGIO+LVMbxgaVGiCCDOKX7LILVQOo5Ul0ppUrLEyYgOeIxmG5VEyQsjuHvK9hChaG3dBly1Fbbx9Dzc/KaNwobMqmC/ASP93zR020Mg/xUWZVWPrD5bbRcsyKajLUY2ZAQb/4ecx5duKNtW8Lp4oesurBqj7fGWqFVCgInhpMkxi7mazH+oHP1/OW7+1ZEkX8fvUGbnJssp9BgiLtu2rj94EzkgD3bRyum4J0eMiTEfq7mJ0nKyX//7DKTGeSvBoBVKrHXAii6Ny9TNmWaGUt15Coe+IXqBzF+mn4zdNIHMTLdOeY7YTcpxPZK6aS6n2ZAMbAr/zFwKOXeuGEo+gIzOY68cZTEeN6G2tb0EPKWgxIZp2TE4R7pWCDEtf97fhKO3vBehyjRv4q9jBfKtNc7DIMaRTt2p7VIFbb5yxF2UNqFV3b8SxsFK/jCs+0IVHcnOoz2vP5d90kOZ4B1TyNtgW5Kn+bq5q0xpU/o2gUMgoi041aKWEik+xWk6fiMnLLtv+Qxkz+J/vrO4e66kXr1ZxE5LloG29EzLdJz98gSONpnZmmmc28b4n0SKtLWGFHk8LmjlYDqNarNImZZgcy7K+jRYMYfqJM7IlVx+I2JNLO93vYfuR6O0ySFiKiWC64GvCksi+0qWxDPChU4Yugufo7XZDEBnuKtPhIeERv6evxeaaSXE27Iys5U+oLR05/lcYMojDQrOpDQVT859I+4c7eVTUvBB0J4aaqRp1i4r5UHbDr7LsvVRZm5TdEPqXWkC7kQxps5swDLooO/lTNMmCxcVz6ejCdJBmi1HB9x7EilSKcXA9MhqyP+qI3RCmAojSlf/xKpZ/7jgYJFlumsJIikG0MXcWrl9q3q3xFJhMnoIrQww2REU7RkT35XLpqqSenEaLLp4p6BNArzd09jgh1c2BVgWpiqZZAygG9FjP1bSDChAfvoTBKpyNfsa5gxoC2OXTmWRb/cZTjtKdyR77569dgjMKNoU/1jxs72bP3fJWlGPBWYQOpbUon3AlyoNf7VInzosadh50kMGznVfOMOx+yrspRwzl7xHhMDbvejezQ5tYTNEs0vKX4Qxiqx8CaSOvYcSVWCzJLwb93VlzYmcv1S44b/euyptpTZd38ZjMY359q2bk9WSxz380eUjENBHvmT13BY/ffYkeE0BkRTMG1dvBaNxDL3wkbekH63W84B5qb1ChXFLX6YxlBZVNXl9IX72FF94uU6rfWvLDDBPIkGEpzchMkD4KguCLrQfkbhy513FA1/qHBuUUelQhR3RszVq8Oa4CG0fKCHoIbqy9kmkdDQwqLEtoCQnv6cQ5QRM5DuNzaNfsqKXd3+vggUXvqEQ4/w9gJUSh9gnMlSXl/RSZU577sLSd4SH818u0a24FKp8Jy2K/T6ZLtqnUP8A7nzOrY/Bf38YOwDtJIMqyViMi0loSnV3QaQRj79zEoBlcsDSjSTys3S38MgXXstkQOXFLVuSFGT7mbwzylSKvffIcAr8QfWJXHXVyyNkR+xkR2TyT0M+vhe12CoJCbn/oTlY7uI9W6abflDKtO3YGLPCLkqkgseLdbmfUxSoI47L2oCb26jHwVwIOsEGK0ysppJIhYPz4CRiT1nbQdffmRzPXO9ZMG6Ch5JHNkou6UVoucCSvWCXzo9AdMq5yWmXLx760tgeOvCFc7E9N4saoWwo0jrYDEJFoA9GaRCwIZ6X1/E2FmODpTBa3SNI0DoS/kNl8Lv+nf93AeLS6rJHI1stJmTrlIc0F2EnMoBtItWAj7WrzBJCNVbyZ3a3Iwn11Ja0Vldj31Qsfrm11YwHC+doOeQnrBvvrYa8Xzw1QW8bBp0UvbG/gTiMGVj0P6ANz00j532O/EjZ5YytrqVQTo3aH3Re6A0igPeOymzfoKcXBRNRdXVv3RufaiYLK/8K5vLKZNfA9bQAnTfJYws1TEQol0d7g7pT3z4+mq68MhIgfJRiN/gPer2vfrJinr7jgHNjW1qnOSegHHRfdH46xaWSRUPz3pA0pfZm+jxC9kesLPTCQD2SlLjVQaMabL3Yz3mDNAoMes2lvr3cBXxiDcnmBeby+rHIO4yBdU7iqIy0DOxekJcWcnuPv/Sj63FlLn+54QxXwJ1i00kexrpyN+pT5k/eNp1JESWTywBeH4lr/FdJiRWFPfQUpaag4RepSdYz24p5vCwmGJFWW3SfskzIlxc6J2YKBhyOg0vJA74bRtaoSPJhqhA09BjDvdwaAeq+ZmFOFAl3thVoP729mbUcjACngb7f9T83yuBbaWBlm1pUUMdNWLxehMYjbcTfSD5AQ3Mt7ZVvvmKPzle2y+tzzl45CPFYc6yQMnJQasxTKRBdXEkh5Z7qF6ODwvg1X1/ARU5ldG9F2hOQ2WjuG0UAq+/Y5u/r9klShkUupCqb97JMTPyB1Pc1mfu5Iq1Hi/NLOUE1SfVHdmo3BPbtVI0au4SmpxQcIiAeqr/wpf0uG/VVSloPxU1cP55a2R0BVqL/17BWVAAvcNB12upEfaSq0l5xn8jFzX0z0rqVF1pGDir1gefQYlrGgGQE60p254cemucf9TQE/Xg+c+53+c6NDenNnlgnsybJAlXPQZKUKBqqHLZHFZxnsp5QfMc0QX95/hiGi0+1gVBOQJCPYwq6vAsXLMAp1RfnQDmGRbjN8Q4qxJsW4FPCmhWlvzMgIpMsFL/k8K05PtjU87uE3i1QrjEXgGwpTGCYFvXIYZYHUhNqO4JRh7FuuLaH/rJ0PfDXLAYKew86Lji2Ym4grpKqt7WT5FysHcc2l8A+1kuWWlxwqXO0umIG6bFSlGMOX+y65SLbigXSw8BbMD2dUS+4ei05Rva0Xh5Yq7IbyOsaZh2hGHR2VjRpYBdCI+Z5Es5KEQ9ZuFX74GCcE3TEK/60bsFuTLCQcr1KWyDjfxmWAXFYyardYixcEp3AlPXHArQQic/1m9PY9LEVd89CrE7n7N3qTpVPbUtsRQ8TjudWTngCKhxfSo9QcQMripWz+Wfevq0Px1+q/iiwhD+8S0BrgVE/07MySikhU9vUFI0g6S0MRI5R4pIRmrdt8zSTwQ7wVcHxTbrcEAIH77kWS0aBIxo+VIgyXCsuaKfXin4Npx+0RnOPYObfC1Lgu8/xKvFDl0tdVPtXblS9qs8fxAdAa18vdSB8xoUUsSodrK9auD79z93+FujWL3M0q/AuWTaUq6pCwxKf8DE2rwTwlYWYZtIDLCEACLGzQEgOV+b6lYYQ/re2KqJbSSTMjkhC4Z2wdcJfHBtww4mfazzVtABe4rGzuBFp9SEmxrMtvoCch2aEYwUXbU9JI+sXjABv7hsu9uSuZbo9iGrgtezglz/ZT8vgBnNbwPi24XfVoFZn7jHngfMh4JajGTk+fxx2rh7zIDREuuHzkbCH2o1alcWMrtkeaLgThOjgxBR/jOq/VwavgchsLLEIFxrVUZvQqdg2dQmckKVOtj4YOpYRh3DUuth2w+AMH8Vy3P/TzdrrFXv47p6ZOjsNW3r4WQKxlagttNVCZi8Wp7RJWl9kUnZi+YseljfKSVTo4jQ1blSITmLsV+zGrCGVMoBNvJD0PyBy584E8yi23Dl1kSe/cCcAnPeW022SkKI6GSbnvLY00ZGepU6Lco6d+oOEEK1vsYQZBnBSs8mUynhh6y0NqCquRzVR3844EVo7dMGW/Vf/5vkOe7BBuUDI4gtQl0FxwRSobZEePzIqjnVv2H/gfSPbJR9YAflhOu4ottJprs1iP4Ad2QDbYkK5g3pTY9yzHNMyId4/nUPxoL3kDNSACdqdDWJoOe/i7C7fCTuc23pj8L3rdOvUzenLXlYHOmpIQCjhFucCZpkRVgQxm8pT6w04mYonRCXmQpr7FYyrJTGAEewmidTM0XsCrY6q5QI8Mqrpht5fDcxDPhBlLKKvafokrNwvCPR/Ox/8F3SJEg2mXfiDyaym3ZUaipX8bqFESrxrwRhbKTDAh1VpszdsudTcW1+eipv8Grz5VnFoDZV1UMT6WEgq26NbPvkb0tVI9nb6J15IqiPdj9Xo7y4n3cKdElnPc0lTqEG3iD2WVeHZgVTqa6uYa/pzZkl/A9MB1JxmraaHTqiQA6+9s6SLngqT1eUuHeSfJfMq94cm3mYMsG/l36C9rTa4aBNmO+JXypOPaqIGUaginbM6YOj0NBOOh6IHUB4WoksYRUB/8Pt3AtlBt35lVEkQyLO2cWnuLIb27WrBMXWoWEggzhR02Aqsj/SqJRSL2SELVXjTqMh4wCq+iJyRQ7eo84skIFIIG7+Zk13KYq5cRlsin+o9h1i2WnOR5d3wbTbMD25v0jOFu/Bm1vU36WBE+fLdRurU/Wf97kTvIsVWV5fRKmGFJP4fgN2s9Kro+dhwfdXeTLuMOK+veQv5JKhjkkC6DymAlTm0foBouN4dBwqRPnYNQChNjye01pMR26YsJwmp150soN0ULaWtRcHFcSKnoU2GgZlkGxAWFrLitXxGw0TtNvbvcgekBqbpXr7OpJzk9LvGznOp+LuScRqUBBplw8K45WYOmHC62as0rjzcxmjQMk1ODICAUVxB1oMnkrq9jvmf1rChxmUjhjgUeYoRCdqaZQ3GofnmhyXfKcYk47zuJxFT8cMgZ5LBTkE6uPBaUh9dk3BZ7hvBgYcQ3sF0P3NY07af5jJxwADe85QqfJyb1ON1Gu4IJ4R5lMzYKlRvbBlmEhLaXvO0XMCPa0r58HcefnwbWRAHK+QRwS2lbuZiq5YuvHGluoZ9e8AmgPTKSHwJz+RRoI1dU9TIx5ECzS8V41AgEBrVffPbQPlhNwPeChcaGfZSFeJnefdbsRR670nR92sdKEFv3nhgNDt8xH6f83Lbj95QkZ7YwRZlQsjFajhb0qWh7NB4EDipkD4H0hP7qfxukkf7//9j+vrQjlCL36eMXWQz5R9GDYKW/fM3LAnEnsB39CKIiONdeMBklcpUJUNkIkymb4BV2IQJz2x272uHL5kqM4PuvSyhCfXljYpqSBobZGVkj8Gy96lNoeR6OmKlW14lFGemQZVPGEMkyLgMHHpcKixMVGCqB8cqEVxsZdHm2g3idc/fDMiAnZRLHQu9oCiHc89dKLqfPOZ7dcSKrNV2abm231Y2kOSI1VYVpZYN1FqQIwzhsShTgzunezKV9o890pyKsfG23Sc1rm7WpdsCRJG3InaCFAxTrapOA9uVB/dF0TOKx3sbx32zrtL1GPxYVXiDW2QLzFKI+JI06loq+qeORM7pdZJkNmYP6naBo7Ve+pZMJs+rAuJTz4pQg3clTTTKc10OnK17WxBNb+MRPSTq4NsFtXRSp2WPyIAYkd3FsO+yDVC9g6xTyN9K4pL5OIzl22cUBbW40ENu+iLvkOMr1bXZug2o8+wNOFe0f+zwjLoM8vV/riEXwiDogYjD8oGRII2BGwb0q3JLjYXIo+ntXyAJzMiaVimYQJTjIO+KKY7EKI0hcngn6P5wZKtftOS1jN3JsfK51kelObaSQKmlSOL9U6lDlsKPRirYhetXHinA9o9aFjopYFzhSRuhIdfOTi6EEzgtzJ7IjnhymgxqUOiafsGprbwjoEF2RsMrbbcCSHS11zLC4CIRNzwYa7NjiOzDsmDkA9Pl10O2K4yFsikanHoy5f50qViRTUMXIKtmSRIxqT0SSwoeBDyTS+kh/upg2GSM53atSR3Eh91Cr/1tFLMvGENxtfpyaejD//+sJBEeMgvlul7b/SMW1w1AVvEvO3YrKGcneG+99aSJCUuxzaNeyZhJRife7CLeCY8LpEC/pyi4iQZCQSqArfHlaqQWjFHed+SJSl5WUeYHcrH52rUAy9wMstS6uPPpI/DpTCa+/X+Mg8fNqyGaQlDAbJtRNa6oHf+hgHryP6NSlmeD2ADqdPIEV7F1i5nWexnEZWgJwGFin2EKhYu9u2IUQBvG1puEqDZavtuuL2VWJeJX2aaUhrQOyEw3dxhk+Z9epFYffwF0tPgrXLIgZ7/E9004SeS/4y91NHZY+2+XMSziFI6G/qhJLIuCwrprnl3Fw1Jo4L1RNQIXiNJ5D0eDOZEkOsilVofMEXIhc0ssMN8QskWkQv3AxNhdUQrPs4L8MEqWS4WpXWG1uiLmUFxL78tWOzzQU2VYN+tr22r7S68o9kWZ/pOIYaKNdlmQNBbqP1CftmPKwlHJejdD8Nf0M9/84Ur5c6+VLdxQybP/hpKB5MRNs3Rw287XBMnMCMbP3NTnJjgOm8Q1Mm7/nHmwPYXZSwKerHd89lK0cZbAwIqLLnuyoyq7epqvuHYcearpCpfZVUxAdZ8hjxW28dyD1y7BWK/OYVcT2CrhM775om9PINX+zOlHBCRcESh1iYtfhgcIDntbuVKZHVUcu6brgIxx+XcXbYd5/GaR6Er2V7Z9uevgFAkfcvEj5PDM7p34EqHgKXqu1MCZdf8KqzCrV7p+kuqz7569wlGIbUvlDSYIoTwOkGRSpoDyEyXtz7uwuzSidJh7vdvkXaSIOWSVpY5cydYKjPW5I8bIcALDx5Y8qu1axN8oQK4sPEmNZdvmK0431oKkH5booTadhWXOYY/Gy6pSF7LPLy8nd02lh9f6nRvaBWKtLqkp0jDIbfF0T2/TxsQkqjKOiC7ls6ryYj+93xC4KAD8ETIGSvpK5c7jbJ/6M8LQmu5cpdWOkoWTHmK3MSCtWyUlImUx6iTD0Z4XJxTXbf67N5x60zRhnObm5yWFvrx2ZI03d44sz6Q/pVn5OmUhx3O7HLI3IGQO3KnynPcwhhS7jTtsyQg+nOu4UPi0irzc+2cIqcBrcnl1HoQsd+X7DtcDSkJrmYRSq+m6dGw0IGQ1KogCXBk6StnlX53d6updC6YOL0q+oAxmrXywDxJOnESbNnCcOelDHhSC7wdNjIt70vR3B0120BOSP0f7dTvglGiVw22YA14EeZAF9Ovcj4GR6MRxg1A3h/L4hfM9Ucct4sHBPswBtFGismJnsVgrMCbIKMwfY+QR4rzk5yYQ3LCTSHf2bP5ex0JYX5Y4ls741OyQhbhfb7WrilkhIJZ/gNiGBvOmcL0HAlxVGXafGptS5zR8i0hlQ/gR6ycO4vYLNYK/z8MI1sBkCHT/DjdQUSzwVXavfeA3/xM3dC6RoxgW7IFIczRnYc11IVxSq6kastoO8jp7mPVSU9K8KUddAlflYobzKYIV79XRWxYpI+uZDXcbBDky5Of74zJXHVrSxfQtK6pn5NvaaXC2oJkhD2iCJArG9JV493Q8Lr3RNOIge/D23/Cv7sSHGi7/U6c9cBue6/2ypmmostZShqCN+xv6umbhv6Zhd5sjOTk0RNBt8SEXWVQbCv6ge9m8P2wXgZLcTQczreUaPPKEBR9LfoPEokCfa8FQ42JsZi19ElOrhBZpywwxgH209Lmq8kX3pHEdQlELGjq8MpAHCsjhz0vJA96eykbMLnzCw8TJS6pUdh6NOCvR3ChTXv/0qxEs0B9lM5PNTn/9AcQerEWRAAuK5fIf5S4f5uEBexXPMrlpgckzJGlTsa0herfSj3U85A8ncUjp+LF5IW7Zi6KAcFL4Aplob+NY4tzmE13bqCBlh1+jKg1y/ocqBvQ7OJgiJP+cP80LaGTcww5QDX4XRC4B8Sxac33+nflRllWR27ElFBs4nnSDOeEFpzvqL8xa7SCr0//3iYIVQSzZnO0qYkH8e9poepbmFizqoj3AXHRaXPclN1Mkpdo/q3YzV70pkQKw+GAfsiQ+UzOnRsSL7FxQMVjHgyvQZCwuSTxySZ2+imF4nfXXZeyENlEHB/PmycadmPP+KQCcHcTWqGZwSCV8CP1RyxAN1T17a/cgKxtgt5gpQXPqdMVDJTbVShzkQwq+ZiZTGTpIDmfcjS1+rumhgJBNbDKYr0q+c29a1CvVLgcP9GW9CTmvqNuUUaMnoCD3YIetVLvHNP/hxBrLx3kAWagFAcKce9DwPzfMgoToFJDtHZ1N+54jDoq4PzLE9tBmvhrb7FP8MFUOGutQWlnbzRNzpgVeXTtIQNQf9FXkRVLrYPAqbX3DSCh5KvTM2XfinTBXEuO0zRgOCOwbWn+tbO11WJ8pK0eejJboKE1mX9WEDeQKKXN7JbnNxaXpHSpclHTnPMvOa1cZxPX0AatA15urAJeUkyOmn4JVDM2zDX++nQKcceSPWIAurlV0aiG5Z+edlpqubYJTVlfv3/7faSi5XJGbb9e5hVvIMAQp5o4y4/3UjfBsTMreQqkLCqfO5adHiGJ26C9mS5/EG5KbC7HQSrrPnAfn8WY+jscKnAToLrL5JfqY2MUihpexgEJND/5O5fXy5mJB0MVhW6bjsW1oDGn4UUvuo5JmwCmmv1iDV1If8fK+HHl7ympUC+nnRpJ1oOrYUBSUXdhwfqO6hjcD/mn13VYF6gNYX0w+J1NTvS/5CV9PDv3/oQ/Tu7MGO64+vspVxx4AJniZM7f4K+U/xPdJ/V+oblxdP34HJ3KqXh4mIf2eq/a2h+hoS+FYD62el3zhikRecpyHTlV4KHgpAdVV+36glrioETzuJqrbRb9iFzF47ugVDK2a7D1OA83mRs0fknb/X7leixvhm4oXbOZgiDaMbolo/xMaIm40dDfv4ip+RYmEn6Zz+JNs4uHKWLlxr8BGZJeor8oFByP/dbJQ9mdWspeflfh4VIswWcLSh+hEt2zlBaKcvHpksuDx3w2Lxw1C+2Luc0jSEO45BFwetVyxk8iZtedH6lLf1+XVaD/OkCElphG951oJGbLg0hfm1uV/umqL1A5ct+8+TXVmnLkNcktFhgUjJ6quzu22rILt6r1l9DnTJPN5T2DG7UVtmwSzHbmxYlnWk1IiIOm4HheRIhRpPrMzYIdTb1UShcXdmCHnLI9laSHfbNvjmrKKT1nNu2FBPsRiF+LelEgePAP5BfAQ7ZLxjajdWp1Qdt3/9lhqNfPhaZRe2md+Scn9CiGBlGuDGG19PWVDh+/9q+IZVOEw3bi0xKYGJK2TgCA51XAoVPe30FTO2v7RBVJOG1zgrBL6zJF038hM16RjRBP2KamWzpo+N4RqDgioR0YPpiPUxtiLFdodVvfyzBtaCQOoScR8ySQDMQ8ctFyVkn+yP+68LeFCXWbGrpZGJD6ZknyOH/QO6fAhgp175UcgPQqJF8TksZuxkq7yX3Rl6Yf4zjioF+r771Vf81NRFc2/H7IzE01iymYE6VpYVLeZcLTH6mFmqsRtSc8oZBTCGKXKCqB0qfGw3ui+7HT+rxoV0+Ll8G193qBlqZb7HraNdIQjTI51fzEUCPqTMdj7wZ1WbZejDSHHHSMN9J92op5KVsGcSExD2GHGIP+In6mmlDLRSQGjja9EGMuHz5B1mC8jk3+IYoIc3cdeF/5jOjnkQsdfGxQ2CCvA6kTlto45qQ5hFteJtrPPCL7LbQzaP1THZOcNKys9nDQR2OsaEPJltCBpnCDR0a3zVdURb4WYHahaLcdjTiTWsElo5DGaSS1ngqpaNDPSE8nfY5dvg9WSr3qCbjbnZisFeIlTEoZrb1ckKCqE19RA4hhMnt9/bSaDBdF1wsAx/YYdKeuO2Eu+TYvzWFT4pUQsS245KlzvUZuNlzfjr4a+Al8QZdW+Eux5KaDv7pv+HnwCLGvdexZ5vuTqXtpc0xXZ5LMDNW7Ij3S8ZT7LrlNtakmIt/bX200JMk2jDdtBT8hCN5lTvORdn63QvOalwqXvRpN0+m7rW+IJTszb5PoJGX4qds5TUOAy1tt5qIw80093F09PGV+ARJc+dAUmPSY8XTBXk41DCPwH5x63td8lUo2Cd9zEoijAwMz4wBMhY1R7nMleasPwqepxNLogFLp2c73FuEidvb3YBji5A+L6SU4+7it2rSo1aUFju5sQDkqSyYqAwvELANtolKJSu8Ny0V9P//DT/fE+9WKy9oUaJ/VCj8eFPsTKydadX494bxuO35swyKUExTN7rOIpCr2OwTAgTUO79wqfqJ5j9MXBn/ahhxhcWysListjowg6fKI6YFjv8k8/40afekYLviphig6KjK/k7NLbR/JeDaptHjL0QEtMj4SrUeniPyTzn3FHO2PHRTtanRxryaMAsCGGAnzcXKliyMRZpEci0p0o5Qslrw6SktGyZC2QuOALjWYlyP8eYnTqR3EC9IUDgDH7wGOk4SxNlaUk78mUr6qupP995VD9sZ56MyUClVRCIcOYVe2TmechfYqBys5en5+aBnnYIh6jqqMD9o4BKyZ0lenL5tWBWU2/nKu51q6OVmcCZGpUtXmfkESfHOnYw2iGyH2TPUEyC/851xeI0FktlHr4FXPfcNkVhrkiQh9bFV33VRA8Qa3Zd+w/i0fWTeNQ19Ncgc5UHfkHK23vSzaiy78kHqpH+XTJaCzdt6D/5djEzpErgRXAT0OOoqn/67rmKKDkHjYJChsbc+FnIP3yr/shi/TPd2APfVFxWQjjhPXAyzo64KTgmsofAcjD2Myu4IsiUcqV6la777RSziYcpAE0KZS/AU1eQeNoT3PZMzoiD/85xUrHYxKB5m6mnWq74/vCWV1ZTLpWMnqw/45IE7qtLJyf8teFh2lQwvOvoyWClq18aE75h+JYkq/NwLi+9h+/QPvvKOWak9BmoxXQbgmU/ihUzZwhwxOQJSqfqOm8jSdZEdAVDMOX9AqrlPnaSBZ745oeI8vBxn/bXxRUlsIuiDAvHN6juRHR1FImkOlFmJC/q5jVLeFXkJd7JZ1MNfZK2iDkVK+kWVlFdygJuH0HhLxeHtSU3BMt4G5qe1BLE9hskISh1u/deBjdY8fo+1B3NuELDoNGom7XgOpNIvgO9lN41qNIAeSyRD7rU5co7JeAow2bLHMcntvHdN9a726cgJvRHkmtjYcwZE3sZXqRsTxRqk9Y9zEfruikmvyCZKbnRWxmebEz6DXN3QQKnolp2M7nWs/HVWA9d5Ex4beaL+LSl71n8HkIQwpoIXuqSGYwBUIcst0cf2JzFsbE/rOw/+fmREmTatMre1V11Lw4zIZghL5qaXNBYWNmUQEt3pRGnqvjv16I0l9zMi1Y1F565+c1rLqDaU3Jp2N35tvbMd7IZTyOwxE1SmmxxDui/7woFfA27oNkSu+UdesUAjkdFFPbAdNb5andBsDX/PrYG0cZe2yYO6w6HBEpAGRYjeoIcViI0AMa2TwJSx5biQdCbuFU6wYGcn+HbOzynjxDx9HmRe7wr2b5C4O9lZKTum57rgg50hhIRVYwMQkRdUeqXJ7JUWc/+58xthjK1fo9CXKEp1bSz1P3oiC3q6tHxokkFc/oV6QbaKWOujghdhgrxni+fhUdTYbEnOSWqEXHcxekpsogkOCzOHI1JAf80BzbiENOmc9e1fmb5s551rFC3Gjy0K2HLFzsuEIWTrOkL4gzv3EfiUHAqEdhgE2IJ87JJZuW7eYQerDj21MqgI0vvVzo15QbhG7Obuv1pONePNI79jaeYjmhNmrc29ay2g2vrYci+hX9AttI7ePxsJ0M66jXpTdMK3p89+6xkfLlmZ8tIJkMHmdSftVO9uXl9NzBQioUD0sE96GI6LuyrFQ8LvbrUUSIs/a7nihcfkyBhoiw+VmUdhT6Dc784Q6uzuD9FxO8WDVnxo0ovpFHQbUvDB0pbpRNUpQ79RkzPhltuX49sqrHSCnDQF36WQ9Hx5HZbJ1Ey6FgcErfp9yJNi0hqLVgRlU0/Ka7QQLzY+ndJIMPDHI5BTetFtI0lu9wmORc4hvbFR1YuuArJUfnEAQC0zdq3SsTl5OkC+RQXwayDzRWNmlAq8fWLe5TM72eW/LHkyFEp9JG1uxTXeCmNHFpIyToNu/9AzvPMLgYXR/p8K2Nbku1oXkJN87UP8X+7d2EP2VQ4KR9Z5e+6ATDLexog760pq9khnMpFjWMJ748o9uSreQVxnjFFzQq199RjnbZE1fj2jNAGRerGtWVCiQUPFZ16k14pxYM36sPPBz1CChG2BnyagpUAql/Ut6/m4hrSnUF0Tqt3QcCA91K2M9MnWbvU4nSql/ODRKoQGwT1L2+D4IvXb6KuD2+9TO1r9dmHeDDezBDHpwDCFXr2p6zSNx3NPVfuUisIsyeMX/ZxDbXiN9GUUzuqUseBvdb0wouXx0VDit01vLQOJrkpLBlJXYO71lsb83VDkBasRUPNjUY4Gzui3cgT8kucqLEiOPLGsc3gZ4w8iBiKRh+9LdOOP7t77IVjLulSpoM+Q3LhF8EbvRFqGv7mIyORmz1F7IaczdGMdCEZypjuuwfFRAQlMbEwSADqxat6kj0bNyLHJydDiJ8Uk5bAWvzVf/l32gvk7Kc8wQmip5pRKwkmL5FgF9MqQdppNclGjOUfVh+lPSVMe38FJWvTeRHR1wY4OaBUg2JC1JIKmmx5EsiQA66J3M0F02xTJ7krqz+RAsfBs392lrt+dlx60LwjbQuHOVfjMdG6LPo6tmKCX3/BXOfwi3mVhLqhHwDcTVHiRmskTacyH+n6324BfE2Gi4GdAhzT+bz9NHSnl8b9uhXVHyKCHRXjsjqzQZdmSOY5dPg494BpK8YBlWKlwj1wvz7zanl+4exVIWySALaJgrwxM29VMUhaFSm6UC/MIdMI79VamEGb2/66F4uM477JkaIHJZBzNlBsDEKI9BDRsb3GvrZ5jYaKXz1KIGNsjAR+uVksOFf71BSNIqYtb+n1jKMdkbOOINbfQPokfo16TKUko0yhzEvPZkgP6bSpHBlL65l2AdVuECxpCN41BIBXN+sn/Tcrbl+vf+pzLxLv4nAGV7QrvP3WhHrEhKxlS27KjX4TsX26y6u2/EHNJ487+k1oGFKbhSvDktYmqbWuD0gq0OmSNeYIqxGX+NXauWQVbkv81XxmYYZlMcnsVSNb6fApGcqt0lRB4PhM+cIcBErY81A3qUq+SxPgJum1v91nM+ygE6GBTMAaio/GABKQ+/HfPtojfYx5nt+vDJ5ctrRYJAPySQdDgbsO+1p/oDCQdy68CePfOt/HsUN15OY0QUmBGWt35DftKEO7UPHvpUwX1W2/oE2wJsugF73IlDljNJK3pXpjx9ApYW0nQNQnLFEFshyxH26brm/ia2Myl2PmWYs9sIsz2oxUcpGuGunLkKAR4VFbdJBnxQGNX6v28OKKGq7iahczHFwLAMzj5PWpVA3lyAnYL93wOqTfsg8NEGzf4O1a58J1Th6plK3Yd9YA7yF1BiTnk+ecROTv0BGjFt+8y3ni8Ql7iyH7WGzQc+jwzo46Rtu5BnEjuYsa7NNae20c2/YjVLCEK/EMKWUdUrAqaOiI3ZYbgdwao0ZXOtsrTnFGrUPFbafElvnYJxxQdkKpqvcXKNFPrs7t3GkITOnq8Mmr63cSHjlx/HF8bUMRfwuZ1v/XfjqDJad8l8oAqzE8R7pMisBxDiJaUbRSjltE7CScBOUqwOU20QtnsxflMoTTTk+I4gT85Y7bLib5wd+JwZeogFrzsTDxsp3KewAF08kBgMbjB3X3cXHQHTXCZ6dPmf+M4tOtzhRLzk/fOXoEmNVkKtKFHTgdI8yMOkEgMl3NaDbXISy2oaPknUkPer8LAsygVEiGi6ugs3Afh5sEm376V3mNmk3tLzP+IEd3kdrBC6NMy110NpT5iRcHnTJALoms2RrzDYvauhV7EVCnXLj8z/+coFa2SoaQfATPbQv46pHA0m4seYshefXUE7cLEcm3vl6bGfd55SST3gjcQpKq6Ow4hafIJuIk1MDKHKyxNCLQ0OnRZmjUv5f7H88w+LtOEoJs8raoMKZ8jMLvuZ3Y4hp3O29HSHQida0FXFb51k3pfOtyH1rW3GjfxkroEIkZ/NZIe9tg2bYsSDYRNtJb2qWzFrFRW2mf0blI5wqvyR2HoAkkF/2EvgrUz3UKuH4rEqLrwoMKUUomYOM7u9Dv09IeNXH4V1y+scDgbUwIJWGdm66s1el9xusa7ZEOCvXyavZVl5KFj75tmn9knRpDYLVHlQmj6nwL7P6NSPczq0YcmVU7/pIGoWYVF2l9VMw+RFtkmpTzgRqQuy2NvGpYjvaTF+LDEucYsDia4Ima810+prLzS0lg6uU0kaMHdEaZbzBSSGGKMnPrJtA4U3EVhxjYQfFYnnbAfN+avcYl+M5URXf11XYiFx81Ojmmw0gWV4roU4zQXaYNm5hYtMjn45A/QRNSNyAscqBhQIj6wfCPu72L0dtNwdOWhB7Ypto5ktKkCq5N+5kHr4sQ8N7lGm7WelzHVhOb22ILVXvH0z22DAITlkI354m18bDLU4Gdb0XIaewb4EtAoZzslPo7ElaknFyhz+PM88IKwj+scwZybrSIUU2QRpsrtJGO8AqMK/b4g9LM5mraq4su69h9k7/rKxCyndITt9hf8V264ceeO3bQt2IYwRfDH91G0jdiAKqWu5VKwfchzghKVDhSvGFJUe7RAP81CY7AhdAx3KHQPnMs96g0OymQ4efRvSkBFAHfJFso95Mq3vJCuDy0Jqd2l0V3zlvJvcnrTJ4teR6xUKOkOnJXXsfmDsoxMSIrmyX8YsiHX23vvuUekrasFwsz/zCWoc/GkdCtIR9BCUGCHBErCtpJlxo4zRPCikR6NyWHBthazs7S3hPsUDEZB3qhFDwGg67Z4bNXElHDLOpdzbjLnWN6rruCVAUimdej+OCMuGCHHb4tYwhiw3M/d01EGAlqbjFCyJEvFrmmGm5NAKxIHZChrBzzwevlVAtcYgKxiWY2lqzaHZXICUKmYGaxIiJgLhkqrdkqw00K09ktojDtZzNjDK7+5Ge3xLu6BLPvEdtJB4v+1+IHUbojGXVyIfeo7IAm6CYZbVBF2+/IwIFliVfI8y7tcIQUQps1DlYltSjFTZTtxCZwvCGuaHZ+6iZnJF+Skuwry0KsbbCLGZPpTZ/1iRu+NcsXcLcoR0DwATAnbENbwEiZo32NrzWWSAj6H0k0ZEsT0IKjhvY/upkzasAl6Fd0btOybUcsBuGS/JuckNOmu1F16e4qR8JR9jv2sOoJYUxBxlZvNLU6247JcHhdeeAJKTbNB8b7qL7YLB4dA1Y0BdAIB+CG+0hJpBAwCtdtanyrih4+pPlYJvZGWUj9BZBznCGR4m0ZfSrZzaqlfZuVIJ0koqnaqt38OvMsQQRvD/2yIiBMe5Vpi6QOup657ej61YBsLlQ5zMHZ8N2g2oZxUNmB0CsNALjBShmDqo7QQn2AVMN5HZYYUYmL7ShdRM09vvMi5lILp0Oi11QUH0/vf1rBQRCBRWaoGw2a/jgda2b9qzDyjjN6+z3fqm2xiF0uT2d7phjL1hQ5Rp4DBms8MKL1Ly1zR0+hdYJdd5bXflbz31tEeIvmfmFe8L4ggFxHwcw8K/KtsRjqJ8E/U+vfWUre2XS3I47W1KF0Wrfad6Ot2Q0lL+JgsZIiJ1jyOzNGdzgdmOJmLNLt8o/HozppnBxWzQF485wL9EsYGIo09pe4HKrggPavTcnPZvvYu4BtHpvS7Swo+ic7NcFUo96DTz9PKeZxd62+ROTAQMFiqPJlDqfqMG+wkWjmJBlZO0eV92YOmHR1x7lqwSx3orl5VT8DXgSD1D2klzG5tU2ck7xtNPL+smURtJo8juD9KT8jwmqxcJCiP/bZF9cQ4qU8kuc+vY5L0wAgxexYrSuPpS6cF2YRUTXP0wk3Fhh43OIuvYW4XGwLrkYgSw7j1NvICu6MHuC07LcYXHbXdq+o2KkljnRBw//3pd1ZlRdQ48DelRO973VBX4rDzmZxfj2KnYCB6qPq32Ddn5uOxn1JqieNPu5egbVDWfqDuxbJ7ZHcmUs9QQCDjhcQJgZDvWO4uNj7fiBTPe6nTF/kknoSn4zaWyZpt8IRyC85SsuqjqMCDB7HGuAZEIfql5pkCi/vJgL/YU7hbL8S0eCMlihVoNopRbSZtv4kB0JG6SP/vqXCxXFJR68C2eQIHJD1ZO/82HvJCYWYmK+wPh/CGqPjbYRt9U/ucKRqLhsF0sDnzoUwuSNiK+2gXSUBt+kgbkQsyv7u2JmsI1Z4NlG1/f+0b9G6vgvh/kp8X3OUqNK4zZWOjNB8d+RU2OkmykRf38v4nScARk/vZWzdKlecndVu+TmqJzh1VCn991wjP9oGsiiPAns28aylW/7VYdDRrXScN6cnKht8L4tOPNa6l3qvAgWUiuOj5GdE0wPExKjDsSapV2z00M4vBsLSRuUA3+KH1eqk/FxgGPcMbb2TpQkALmaC46y4xb19z7S66eLSFvhrCvvgL30KIpgLNsCY2FTIwMYLPf/XXy66/RBcHpGuOY5SHNJQvRJBM1KDinaB5ici8+3XcPfctB7gkqgizO/Z4onXBQsUc0hI4BnH8Q3A8QcL7VE8RhdBeD3xM1GcMLkXBDo4jGutugarqaPZlJ+gAV1TsRJpNJ0M7ZMpwio0WBUv8WiRjD0BIcEBySkdoP4mqKnO94FzUBo9QJqfsHr1vBsdcQozpALf75L5rD0ASxwYqNmZC/B23k8pOwy6u5ox3nWpVBoCsJ8rN/93esbFjysqxYqI/3mc8EQwnmRLNEJhk3DWawT1BFx7FiVs5JcUBMMcBgdWYGtnWp1nLY5jOnsKZ/2xb8sfHm9H7Uv5MiDiCBBelyj+6IaTEt9fOe1dXyX67/MqRHUlxnKYN8gaRyTY6fmYGgypUmpoIr7+0XMlAM2LS+AOxp0f1DBJ4vbSeQ66ycJn9KM4HxZ+1hVrA4BxvhyK0SLV9IkAzTKc4wDzoikf2rbrzLD93lelLcRi2xggTeZPb3UaEcMqFYrWyEL2/xXGPNc9VUAakTnuu9XxJCkYrc+PW+KbepaqQ2UKl4/MSQ8asQ3IgNnLREvrT72j2muuhPTNRWScm2RMVkHcvV1A4ZG6GjzsZB55cZ46yQXxz0vXFc82d7alOLDhI5e/7MbctlG5dWs7ZmMo0I+prmEaI2qROW0W7b1cuHm0wBMOz2KTWfy+3UWnCtCXJqsVoIVP4bktfzYhCziwCPFfjaLxwGMwfgtvJncv8NkZaGa3VYfVsoVVegDbsoMFhA4ifi1V+/MbvJv/ffZMbYRQD54zVSIYUmvYNumDBbOnKvI0CoWCVvQaW1xnQGKwtnA1DURcedQGdYxDZAMiWNFslp0Jhg1IfDBsK40hteWNpbNvwgodM1Ft/MR0XMhzaUkBD9LpgGFe+0G74Yry75kvPwIpPZoA5OwDMgi3gUWCPaU/DALQhB4AxenE1X2TmJiXPGLQ3frie+vpcUMbXwRhqyxfXRs11acSo1Az1yCoegfp/Aq6ely7GHTM8tbtbx29ArJGIJuDmlmN7YzxbEFQF6aGln8ghzJBTu0aIaZwV2dzShbAL79gKPbSF81NaqHsvdr1lrzTrhtjqpfUh3Rdkv8fUINeGVQg+bgJTLRjTTXdZZgEFpG2XbrCYkKEWlgIKHasDRXISGaTJL8vpxIzDo9x9GV7J7JXJl6QAWF+67zji8i9Gxhwv99ta5n12mX6xCVm836wIqPCLUJrVyvgiCqNgNNiU/Bdo8qlIRt5pgJd3TSqSq1dhVEdrDZJ5kUfHER5cuAEHOVIC/eg1DqoBtAS/c1gG8lEV6mUY72lxLjvlI7gMX3AgX6U3U6yAOMLvM/I88KubhhOVAkFXpGMPVZ7Z/UBBQaOL1e+bq64ZGoRnD+79AveDZfCxlKDjGz0i1o/VTXEabqTxw6xyu6b0j5UUUfFDPoafKOVQvpOSlwBx3uAzl2O7V9+dPw40lR4lBXItnuxMmiT3aqjl38etkl2ij9EdKP+jpiBFHwG80NwGlJJyh6uRTGuYPaDV360f3nzK7AWpqHhxpfnLjo1JxXPxST8+YDxbuCP88GU9dxTIu+zM5yRIhs4uc//83bbMgJLZ5knkEeijFvlI9ouMd3tLV/Qtxa4EGqXooauPQ3tGqlxyseOxe5EHmxojNi5fWGwAqIdq+RZPqAW9E4E2gNm6sTk0F0VxdSIEPQsiO3acrdH/n+oLDOvP/iB6kUsZRpJiW8kSjK8MAHpz09KebpUrbouclLghxgSVb6V+EkM+uRzTsAFPitM8718gfX5baMJxg1wQLVPQLPkVu5rY9DyVAo1ZJKFJoIQSIaewO3OwKCg4UKy8F4E4QSzd3UqDJpfBfDJqC5nziTEzis3c5zXMPNv9Ka9guGhRSs3rZKxu/gmNlJrYxNWCoijKKDPeHI4b6w6mdU2GN4RRmbXmf/o2v0kD9bSsy0TLnGy/cfvibiayi1iAi7Ha5EJfvMPNVwZwoehY7cUam002zSCwQbU3/pcBEClKLvLDXWpYJ6QrC3i9TaN1CY/WnegeNVZSPQUdQ5GGcmVHY+vrhLdbSCFFKd3fWZQeOeoKcq+JQuwivXNzlBf8pNcGXDZNnTvGHg/SSO/z3U/hfD+IEhp6jHbnpF51N0BZBfxs//TDooDkb7KwYCp/Ix8owWd3O6v+7timNupuAA6Ucsb2SxHD3kLpEM8CPcfIm0h524YkDqlPIaQ6ZW+viSuvPyGowBopxJ3wgDpJ4GEQxWDF6Yjq0ScB9s/KOQWd7uK8/ydC7NYpnLw19B1hTrUnM6ZrIrj3OBxxSaDPd77N9z3HbRL9BWFYztF4itfp1/HXlmsAUIXMbhZy4mBWiWZy95Zn/Gq1Yed73N0gfaZ8E5UI0q/N31xRYOjoQeOL9brcod36TL7klxaSl3yFTNLk+ZvktzL/SwKaoXnknCkLifMaGA4WzBqX/zwVSVPkQJg8QcVP8ed4j3gXNH4nQHVWaC0ymYVKdOsSHiDMW/sRdQpxaXjAqAPPFZ/aAFesWskf2kbNSiE+RlVP4315oGgTD9VOOhBjiZ6DVYukh/05eBkI240t1OfoQ4uGnEHS2PvFtzQ2AtQ6/JLxLyiDvabDi8s6Ik5ijR2y2m0hACnVcdYlmKdWqA1dzdLc7RclplylfU269KMSds7qNKABXc0Bw9vEIEHwmwn/Zreq6CstHRt7/3VbAe3Az9hLe1GidQvZ8r3HSoqfgUBIT4526QvwBgc2aF82mNCyP9SKQVfoXNH7inUVr7O8hbOo/f0JuaTFT2x9w/2UtkdpS4D8rWm3+4yFM4xcEnEuNluc6KfPCZRqCIJMaEWQv1PSk8qyggslTWD50bUmrBSSwvlylixKKG8s2DFgZpLhdU5tFx8xXwIQoNBnWMag4VFQFLHSr38YhreqTRhm7aqsAk8dmY5W+4FlPdFdhDmnodkMHbmNpRtqe/eAdjXe6cmjanIrvW74hUty/4MAv0WZfefzwzIbhsUWnvtii9tRJQO82fre9bCWncRXwLPS6Iz/M3UMql05y6lfOi5QBoa4pgVd+1u9tlSeQEaguCyW4XNSkOI0x/ctPdVVDaKlC4JweuSKT7sd7m1YIXLI0xCDkPj52LD6qUKXmmlCIDdboViNapUXl+1lJVKO+ddlL2tShmlgdQj6KJkR5lscVBb7rN/dSnQ79oekT9uyTG5MFg5nHd41ib19/fWeMRWA/jpC5QPe9+fEWPVw5IG7d0tfRjHWCJF+9pt5hKJI2fSDv8RO1O1oBWOoP21GTR0gLxDKGe8wlpZ6f1DrEaAP/qOcslzXH9/6gQR6K1T/IneE+zzBXasJ6vwLX6feJ1/Tg1UgcpF+Ysf3/3VFpsJkNWixgjQ0bBO5jL85lUDtQJSGQEhCMVkDE7kYv8Mf79S4ahgZOTu5OWir/gj+1VyY3uVjFOF0WrVifsVZxBS003xoAsoYKVI+IqVITyw7XRV02asftnKJImy8ZMfdaj5jVPgcwTRoqCaOXd3dEYlb+XYDlf8upwNLttNYQKFu3k9w5oMceUNOI+kbHoy5c9fzk4xIfMpuphplY/TMpJY4+wujZ/Ylv6kW9bnv+cG8jEvDQPbrDO2QgXZ7IdBzlqobF6B0bIQd0i6LusMyzIGwPl+NUgjRZBcbH2/OKyrZsnQv+i7uTh3/rc69ajPqDOHwwUOPltruHhSPk9mcpJJw+0lEkTG4PXo6K/2T6TvW9QqUCR/v2qoUvJaMxW5vKiNn33NB3vivyLgvnpEM+A00hIiXUrd6Yd2WInrYTvCFG+MtCIL+NfIwecx1fYBnaUfY4R4qKCpNBK96NwfEfz2p0xcc1j5M8Wkzgw5iQvoUYYwlTXBfDAMo1Il42mNtT95Whq1KHk2JJPgXw+8Qlm9D2NbGFG+/gBU/D12DyugaLsW8lVUl33QUkbgS/yfQMKFYwFzRgyMc4xuVOHjdIDPobcJgJi4D1RIdn9E6euyMhGDclRcn2Y5YdZrdKUa4aKovqx0VxtjzslMNv3JwydCt/wPRz/9Ic4edAei3GdSB0QYT+c1WZjStosR067WH8lCYQ3iXACLXXndl0YZw1x1YVCcJfbdehajoEwRn/CyoSyhVdKMTSyZoVweK+QurBVc11lZgBdKIeDKVhfPYPIR9xaLIhmzC/s7O4eLUm0a7eC4eYm6qTDaV+uPcARKP7Uv5gsngiPp+pOha3I5F3wgAzkQyd4smGMhrVAi8TRi3fs7E/j684D5w++Oqr7tGYQegqdXrZaPiUvfOrBecBWbMh7y0/aMAeiS17xICoc8wZEBnwZQysQ4k4LD55SYm+H+mqmh8Z0wkH4VlpMMVaZXDXS3udMCBm/oAFXmP5QWTyCMbdqYcB8bwm43OUpT0chtcUUnG6AdylfxTjnDot8eihJp5dw0CB7/IKA7lLs7MZ+g5LeQ5vpVBJF0/TvHPv2AS2mSNfv9QclvcC9nRhrmQTq4xjvkKjM+M8QtH0Q6xtbO4vS9rmcRyeJ5zwnwYh6I4ubMSDXCYpNkQJj0IyUs8xl262SNqKpOSyZseU/0iG9gx12/QAx2hjj8UVybTTpPDtq1owWlfAH+tbyI8yug2rMW2uIqxBRZgSv8Cz0udQWLD7kXDqA2CnH8J0wZQhwEiRX7W0SCK+4fxMOI5q6GfH5zDfT8b6FBVfiFHlFrSYmBiodZ8vTI+rOKUAVx14aRRKSGhnVYYul1frqnpTFxLVymc+OsBegxixdV6BVZfvG5q+3L3vc/lCJo1LpJxi6DSAm+kUdY0hxJRkxVH7O5pvFIBFBSEmpARLx8lPSCiNwi8LHosTxrU/UU3UHZN245o6oNYpJSKCGzek3w8B114JUlsg9WZUsERi9XJlyy5RGrp/Ms7NKdffhtNQ7AqPTLfAP9vYhmvW8ujgG1vSOYkG9RBWX55ZmU/AfoWVXJQRkfQVZgFFIYSVhtrNht15o7PavNi32X83EJrMSmGOpgZHyvpF07hk7ZWjSuk4/pPQGLTrQYxhKCmw8T05ul0mED/GCzxJQSPa9NnL9Tc8x7sKALuQif5xGydjlZwSV8JFJ5MWxpN4ywCOttNFuGO8j/d0xf26tNTRXK+nRzpeuDMqFVPQLdmzDerA43SwEXAfLZfilFL1vQQHQ6EGHlwIuzVZnESVJck4wpStH8PX0eosX5dPqnvDo54TZm/J2gsyvJOe6Zr9XBXGJ3N3Xjy2DqwBjbW2cA7DqywQzG2lhQyV8Aakg0wt9MGC9b7tMfoZGzyx7kq0rqgFKMiikwR983pFY1K0VLkFrAbSG8+rPp9LMqhqm/tGJV51PdRtfSCM8/IyCPE59LJsmp9M3WfT2FdvHWwH4QPg4zjgFIcc31jqjYOBqNPnkem5oNw72HF90BL0jdbK0j5ikpq9fWPghD0gxvZa0iHbbmLuMAMunJxpNBCCM4b/LZ2kh55/ghxRdrCctmgPa3aBdMrNML+/FiMpPDBQQIY0epocatGilJUlF85qDpUSnpewOLjicBoDIcrx2W52bVhlTTr9QftOOcBqGxBytFR2Rz5H/s/30xfsSQNLRGmMBa7AQuLmQQij9KrEoMFIqEienkGuj1jQ0O6nUMOvTUGVk9+VqSxBf5QCj7HwKvsuCYffbzEe6ks49I3y52qZYBiVEvz3wJkfr1bqxyqeMwnqOhILbP7v95uKYFAVeJlDQJmOvTgLDvlauPFzfSMsWlJkkD8nsC9ca6aEB/45OlBcL/V2KDQuDyzjUfD3giYnrQGUVq2SKTuzuRm01ZZcS3ksSI9gpPPhPqEn9HLCy6tPNKNywA90A4E2fyiN6k/iS1cXLtSmWPU8dn9A2Frxxq9Ux7p3Qd/1YHf0npgfA7HT4zyNYNI8Y/9VYpECFYTwOziEY7klsga5WF+QqucSKKmuHR2pjFf3u/0a3gCbS7/fVRcu88WCh2trwcSNgMMp0jVz7f33WYEtFKYYMfefT/g8CjRWFkkYD2i6fWtdZMA9WLmoJtyeylg16GDH7EbhJPEysoGx1OwTf1jRKltQqJBiTWWJtH6j5wSS7d+Qg+LX8gy9829NXH8Vx+OGr6KhWWZr4B8sErIFMRhpwabyYcdtIgusn/RDFn6nsK10NMRRcYmbu7tUo3aA/2Bwv5ndpbWGohu7vboSkX/EhjRjItQRroKn91aSTsKIKWyIA19rtO6vStGTB5AP7gVMXAId8Os4IOybTlCnTXiTnkHCrBwuR+mLSFhXylkaz09kRPIlDUBxpgTXfcbfP9xDsopmh+5sMTPUQLelKz6c8tjyGA8KlR+1DIkRDTGo8osRGeDHui93peZ87XGvHNevW2SB3luZIQuIqOseE8Rr7r/j8DHxRp28t24C+7HRt4tVGPFXCvVeczlwgMleSkDXMo3iJaFpUdoNTNqjHPffbsEmgq/vsg1n3pyBYZcmcGmEQ7BB5abJJA3s98Ob6FXvDDELs3GZk+F64+uU9YiGYJzYwY/o1hrGEKQOU2QzbQAMwJBMXsNDbHi1pudl2sWveJcJ6pvRD3BajoaLQUhluVaLYz7QjzCrOSH33Z6851MqXtXNGznad90/uXGBrdIANvDwx2yzKYYO31hiTJeqy4fkDGdMY168wM8wGQicA8Y1o3c2kFNj3M7pgfEnQeL9T46Gf/SgyB8rUZg+xg/CyXFp82aQJfPFv3wReV/KWz0CgERSmrwbg7dCPJwNfcUb+VCfmtKil+Kuql4bd7omGK0RS/q48TSxq1F96T+YDY+erd+lR9bWVSRSlVGTqxIfbsOPP6J8i/+XFtzkrjAMeFeBeh68tOVkG6r2e20P1s6kqJViFpSHd7GPuMXYndJNdtFG7ShYKp5XAhRhR4oP7Lsn2BXuMnpp7laxUpG4ItxXf4nSl3GOg02gvAYwS+OWUX9eumuXih5TrG3ts/hwXNGgEPt2vv1NqBFApwPN25FDYckgg2WWF/2iwZznmo39Cjs07BLIZix1nMpXooHfDEfNrRFv6HX0QPlkPBYJkwgTpbU1yY0F5pXoyTxITLjye1ovn/BM43qdXduOHqSmZpEryIfkdFamLDbFhvoG8XUShtULpsiTH1ph0OIC9MC8KA8pbY8jE2t9tYniCfQaut5ZnJ2ta5FsOvYNTuSr18ArVPJ99u3zhaNYk5h37kuPZX4KnsxdBiJ9h0Fmt536vp0heRNlJ4GI3puclJmMUHWffYuL4d+oNctsNl2ABEnzA6ne+4XC0HdrqZn7+rExm/M+QBAD58+x/mdRKvPkOFlSI12V4SeX89oOdfKsitHYRHRnSGNjQQPI2rsBJ4MOkMKw5OQEPoiRTyBiCq/DuTrKKMPfv9SqfO2G5x1x4KsX9xy6POzJEVVwyflNOVQXXzPYdbx9QmPZ0rnOn8fidykKDjxflsWqyEaz0YaCyCLWxTr9E4L0YUsECK7So2LFTT0PQ2dMy6ZVgXy+MT98GMiegYzRm37i9mj2wBeDhdDS0RiWWu1Ef+Ol5z4eeUkJ/6iyWn23FoFAQPNWOUwwUbxH+GQVYOm+UFNNtORdmbCaEEPkODTHu4wFSfzryTlAqhLr+3Uo9hPU+L8AB5WpD2J6EjF4o8sWThgsI4b/V8tT76eER9qPd1MHz9Jo6EcfCSK86W9rOEtGO/2u2f3diEjAS2BJp9QWO+l2MK814bSoCtqeIaUwEFsIej58MLJ389chP41u2ahbSs6C50Vr8QqNs5Dcc1JWpGgmhIdGaRJRskJ27MMvFW7/Q18avm/33mhI9PM6bojL63qheykW9zghXrJYamdpogBZgSzwaIShOiZhcue6JCRBpJopkBMOoxFbiiExfDL88Eb3i/pURuNVT8eIssEaOkHWH01kWEDlbBvRdS5oYu/R6fDYGgSY8h4hSOkt3npxOs6OgkdaClVuNbHfk84cm5sdZP4s1ffGdqeXECV2y6UFbNJFCueOhzzdh9v2vGsscnHRKW4UdBaAA6J9zpu1Xx6U9+omqwQQ4UxrOYomWY5zy3z3lnoosuL78glWrWgWlaJMx0YPUbYitQ+bRSsqapFY3sLIKhl+WohRt9bX8YUxem6hrcU8bWprFqdtTn2csvFdVo23zIqc+0fIVomfFbCf7kCxSk036uLyc1rJVVuwHvusomq0jAYiM3VPSSdJeOi+7AmXxlDPuA3NNHNLo118l6OhjV234oNgn+lNN6qk4THudW5Ptw/2XTOXnMRkdp7ZjpiOaGlTq6mDynXwUioxSPkVyLSpPJckmwH7hwmSe+69clZEw4DGvSJLTCiICZHjqfAXHI4R64WVJ+rpjKFEb1SkZhVJKgDSsUZFEYx4RLaAGSuXGWZiNm/y7g+pYKS7QelSanNHzlvEIa+9Nr/iykVWC9TqfPTmJ+HbpsBlxUVOUBeKZfWXl+IMcfU8K9bIs98j2wn/6EHeW+v8GzYOxaxPF52DEbl0RixV96E2k0U9niIw1S9cwnZrxymkPCBr+d2p7+RgVMwRUYjXlI4K3lN+IcDAaaD3PwFHCho0zoMyNB1dp2vpXYqGdKcjJx6/o1AD/yg4xkFRhNY87tCYlWBguaZXptg+QGNK6MvD8MVnX2aH0Coy4l4EPuXDl7i2DT3sSLvZyx2tWXCuZdeS/c869TOz9angz4eLa2AcBUilnijIpIelFAPcpi468Gmy2lTMNdfy18hZROa6Ag2eN8aRZUEuxLhZCon6yuKluyTc/bR4AfKrLh9FJwxvTlSsj2M8JZ9QrAOC+o67+3R8l5onLHRyBapq+qKD+juqAnrWQubSkIK3bf5rnIctqONDgEqrl3n6zDFFtGIWbm6bU9bVsQeq0fopqvHTcDeW0HDriEP8pqDr+KQ5LspAMOuW/rfbvY3W5FSjbuA2zTAcY6SBbyV/oukYpAQ8gO0FlrgYXyGayr/bWfeiZbhdWZxfuOUwhHdcATZmjYF8T7Ay0JK9VDIWGV97SHO/KKU0VHikS5YAnfpO2kzCMpxt9vhXANG//8BRVk0m0bHDZX7Yn2EIjDjuH2eSiEVCgbZiUxgFYfC68lWldPxGH6s7wbZ2ECoM/AYPPgbjKoK8JHFcfVqp2QP7TivhLrWiDYJKXBhqVyrsKjmwI6W/lRNLUCXB7+6DBaWdX37RGQ3u32sXdKqd4gxa37HQbi92ePgAH82K0QTk2RQlo2WBVNdMAaz9N4ljL8S1R6aBlXo9xM52Po87o7d4R8IkBvcgXd2Dw88Ig/N/IRFqBrkpQwVyJINLLKLmQxl/W93EM4CJh1ZQoveh8RNOb+yLCa2X/71dDP3mRglSdbn2lLHkTyrcBlqVbp/IXbymi9U64aihfSWvL9RIOPAnt230ntpalsGJGFosgDyhzn9kaf5iNE7kyFH8KnrQu/9whK7DQofPAGR3OxBqX2EtVaFirrrzUMmFd2RefjQpuG6XNTW1ob0IITV2csPw12sXZGidR9R18TBhYIYvXnOnQ2LyAITqMk1oZZfJU4/nc/+f9TzhRo7L+hdHaWwntRt986Fp10KkGn+MBHnxtNQM+FeiJYiPKmIvy458oPp4x2rTILiwtAOvf+Yb+GGe68ZZQml009UvarGxT9qtdnLGyP+0I3zlqQgRuenG1lS7UjC5paDT12878No5Bij3jtMB/yhKK42sJ41cfapoPxqSpXMINIpKZhaZKgleZk8PGia/ZuPuLiUS0to8gsPlnJvNxS37fjH0uNjtXiTckf9pbx2mSJThXXP8MK/O/uXWti66G6tdOTFDHyw2+bT7nWN0kVZ1GFKCGGzu3eLUFZVzxphqUIVnWqFzvo14X2xcNpRjwulCYa0vZcWayU5bGMewdb1CcfOQwXF89hSKThQX+DM0JdDb26mC2R0Lx1bbb8RglIyB/yk345VANQEEk3Jn54kBfxCS32hzDIX1AWsaeLDaMgMwITLXprrroM1lpPCVqyrha6MgnwCuUPLdM2QBVNj0d7vW2dhTwtBDbRFhzQheQA/7DOAvAj38ABEvmunO01QgU0jBGd27nMb9WQ5f55Xl8T5xT0pCJTilmJsywKB9aELjpCpJEa9y2wVZFhUuBlijPKriMnZXhoHXsbrTH9NljacegUqB/oOXGY4iFxHJbdOp2/kSSojrtdvHQE16tZPehf8WLP9f5UvVjQbBA7Ui+PrA8vXQ8F9LsP+jQkU2Yj8OZnIMXGOOst8FJ8S+ezgJ4mYaScD629Dk7ARAHTZehsQEdAlvPkmPThkitelzopZFZoLd9bwBPvlZ0g+maDqGmEn3xHgnsSbQNPwaRmyS1b8MiMrilPla0jV+AfZyDfDyY5HcZhNP8tMNYrfKF5u3fDHIxmQ0vI5jtYLdozraFx+YI23B0kSyNHCnKIt0xKuF3mWylKqW7QG+tANMJyarjjLyay2quteXNPLa9d8xvQ2pDXs2wktX65sXqxEyeI2GZG4Z1dzEDfZbzrUEFwRKTNmQbpu6gABWr8QG/W9LTOe4vvhD4dG6np1p2LtI0ZNxhaU0v9xmvU+YBka96bSs9sxI8ZvdBqodsjqzuwW2rSIihpLtINg3W0tOsg1xg3UPJt8el+3/QJxKyT8EICVLp9onERx9tGz9KS1PHpKTRmbeuwAjWasI6MTYt+OLMo5kSXfgZUbA0YMzosY0AVewC8oFN/MnjbT+IpwcMmjxUVbEx4HShdNjDTZZ6tKpfahj9fIURDcIzWFKVNJgGEtZ+E6wj5RKBhyYB5PrdlkJV8RN1vYq2RHHpPdt5k2RKR6cdMMd+elO4L8Ye8ssJZ5w7wO6gJO1iESpFtMQZ3C6YopyGey0Zzgmjr8QJud8aoYv8ptAJdxRLpd3fQOXfSwTePDEM7e0L7sz7mpuSx5xd0BMGZuEERVllJII8OzC0yRDSU2rfpr16uBlxgV983ezms7Mc8rqQWGU7arwLf7tpb/ooceS4nvFKodYFwhQ9p8PsOst4iyQnUXBttItOmPltKvP9oeIJcn4/0587cC0iCsIUgQY3xL0/Hvb2jh1cuU3E+a3+9v00t+EsuaNBoK1MwY4otPoixQiEUgDsUOJmQpdcPBT8DKoGLQrD9tQl4AiYQdl9slEIMbPvM3Ft4BsOExR1ckk8el+i+CWw0oeUPG2p3Ez6gHsApSMtodL6JlZszYBOajTI3wd5yCuVpZBAYBBQXJe9LwMPJNDfr8x9JIYbU1+OnQ+zHj4JLS1UP8XQ/Rv+G5r8jZvEv6pmBqXfckbCxbusY1ftwQjRsKNasJDLNNQbgRqZSVgABfF2ZF00Ks/TweLZmwNjEk6JavbJQvnR/AliBt/OvoxQ1LaPlS8urEaJLWwomzRJX2zNvLhtTtiaBGjiYeky4Fko5tEJ/kMw7aLmBGYhVnQNAXeAw6FrFut4CAOsezfE+yXo7TAUpFDNw3QPfthftrq/N9F0GQofalOBEp/tgO1wX7B4/pe1/tyb8b0o0M4gair5TLKdtw0g4BFILuYVLWSveskHkI7tsqPDjzRGEA+QZeWLFoG6y+iDfNF79tjVtsp4PP7A4K/XfnUBcLOJH5eLO4utNCYwDGjxe2d3BCNX7UmMoId4FaEV1ehe+cJCAof6RMpkfSJKIpdRC4jzyNfQk5VYH2t8ysv8+ezOJ0znXx7Nbh6O2ax7Le1cX0zMSqniWWH/fP+/Xjo5yypKCJfxlU2pNnEwfBwzEsAtTCsKU+XxaZdOonbMFwrDcd1xpXp4u41WqubGNetXXU4kwgKDSvaMmh1+5VLJAE04wxWCykRqMUsggUdM5KAvsS5vY99qADfMO87VYofRxRMDizJpWAOOkRW/DIbXvKaFcdna0AeIFsQnCg5EKXd6vcy0E04reD3qDw9ilQxeMJKoksBi7CEc30nupiKHTmgZMS/idJ3mVZ4gCAXbgwrcFw8Ja7K/59ELU9BcvqcJfcvmt67b8myMsEBRH7RkPUp4dZqhoMML4syrVA+OKXk5ZJMPB40nt8wmgscBy+flad2zaQukwGzq2eylNNq3abu327NoM3Ihi2w8znfGt3bc3FmxW9N3tFXKxxUXkwVe9H+9hL1R6tGOTHZOXcoYidXWHR4AlJ4eRGaT+peTEHBLO1lWjuTORcMMvaEadfsPjI2JE4GFZlVog6vBQCDuZ7GweEZejXdKNbmr7ZAC6MHqKyFDs8/f1FUgRkq6FfbuufHvQ2TclGwl3chLQoGnuSAFT9XwBNaXYeUaU/8R21+NXfhcMz2w6LSzPrfPKRk3ayXTVVjAvDWcZuK33rMc2EuR13UL8rWFkMZGfe8V14fvelM+ePWmZ2mUsCvye6fZeY929c+Ie4LmfOnb25EgCMC3ZuiiIs1rqwLveWae68X3UcWC4yub6AYjbqyyN4npfVUOXhhJqdA9TwzoOy8dQWhmp9YVZTrvbPzS1FkFZkgRKtfix44AdwNrkTy6Nm6TSYxkHaqESuE6H9v0cjGdCX1+eiWvXUFhmBdhOCAm8KnIN99gZwkCbZcceBLf6I2yx2PzTQvGCHkfg5IJto3QDfzka3lIKB3RXdF9JwlpVye4ByPTB6OT5tAwQHEdvD5+vbp+VV82wak5nWGLctKV+lbw2w10+uuUvC5u6dCPmhKdsI5mRyrA29WzVEiYhrMNMTEuDjQQ7NArPQ6MgFwz1mzHJjW4x8SI9lI6bZBCaO1Z4ttYdPYfUodp8R9UoxPlNVFctohCVcZ4OJG6rU+L/xj4YYSI1Odw7wtRWI1/90a0VeIcvbBd2+Qfa5sqIxW33sa9BAY4RUGP2EaF59PruSN7+4omNM3oZgh4fkcmntc8iKtosnHXQ3q/CHYGRU0q5McNRC6a/g/2Vbh1okSsUBE9vluZyRpYKKW+cASLGJwk3WpfZ9oAEcGGbx48MQ9w5Ex8c02UcWyl4VBUId05Afvi5wEhB5iN3k/ZpUkUPYUBJxNcZiVph666HW0uJafr3IVNIEI6ZyKkoFtHVhf4Yx+HolMU+4XSgB9pLFe4f8RjorVWo3WH1enlx01I6bxydur5CG9lGcxh+2rTOkoEVzlaBEJl89dYf9f8q/fDoVVbtIVVHnc0LPwjZqaorsHVuYvH6vfsryQPiOJIFSagHLRn42B+d8qGx0s6yqX3q6KR+m90QCI7tDGENZMB/ZUoL3mpthy66tnSvnA0tgSgaNcOOHptGLo5BcPWgMkmxTGIXSILezfpXzc5cojfZ+4eQNteYXVRDCuC/iKxvG4u/4xALUPJZwQlrwAFa4MEaIal30pw6E4CCsi7ssuAY5TfNNuHzUhNnvK9zwQEyWYDcTf1HgzlDE6nWWOM451WkWOcn/A0G2OQJG2RdEPN55+tzjMFo6cV3e5SB2cW98QjU/I8sC2QBVf50/feXDsklKXPPlq+sIrzNnCMh1GztADnfVuqCns/54yWJni2cXMxIFY6EYj8zXnFd988XysnAGkU52UUyHLj0Rl1uQqjpRNpmTu8nkajLvGd5hRKvcQS7LlIPHoLH7OiS9MuvoV35VL6NV83yRNQZMRIQuiSBzkS1+4FZwTU7McDaDnzt8eBrd6oyLe+LmXUob3mpYJPmGlKOonrIJqdL0E/qmVJhUvths52XnZOV6GeoHJog1t6f0DSex5W7c5/dEf/rgoitDYlCOrAV5De6nad1Y8BaEGQBsDXN6m6eDPIESeNHKEBGDqLpxCf6DWjzU9ss08OxqB/8mIm3aotuxF5lDhlGOreDzeauYGQXMxk/Oq+8Yl5Diqd3jWMOhz8M7I/nB/hTnZ2pkeURKpXPLCa453Mv0N83BcSm5VMcBnJDhfBIgW79TAIpTpTcwKFrgDg1K//qWP9yOcE9JMytAmEA0H/HyVTTF5Xtat+POHq9r93vuEPcBV0vGjvkT79VjS9kyKWNSn0GMRA5Wz1Zy6YY0qdBUnmwqR2XFgnqouxS1YkQzTwXBU3gITGnqPj30VHRtM9DkyRWDfCIUTNlU6BDwBZihsh3VvkQUIusn1fNlGN7N54qugZWs+X5khCSBXmq2opUw11r9QArpVOOQuEk4aLuFx6/i/3nbQrgSD50ILLY27z7KLYqmGJ3ohmQl3GyiY8KY0YIqW2PmeEW2QoEHIMwE4zKyHwD+zo5uI9fB/l7270XahZQSvldE55Cpn5xk/MJOhZMzJcC0gv4DUR1/UER+eP48HhWSw+I/xG0OZEWIo44U8Xg7J64x4TrfDkiVD5dmDBrfg1WuOSQg9p6mpQ+ezsnf/bY4v+dwL4Ide0Bfu1dOSc2KwqfKu1iMN6elwPIJHCcSillk8kmpHlJ/yh8n2FUz/aytFZVrt+cA3n+utlkWPrYGD3VBTPGzSmO3JCCOhpGU+DmfJ5fO3hvpGNzTs14K3bvQWU1PenjEdHqzzvYAARQw0r6BPV4mWyWXroJkCTtKp0NJhh9WiSgREc4CHTM39q4D5ihnf9QWYWq8Hr2aMBiuqpUID39b3Fbm0wpopl3IhG4NZh8zIRw4bAwa+EDZ30jGrmKWWmbpkw+LjE1jbFivZD9VQc6sgoeh0OA8JxmoKB9u8QMQvc+DFfCwDKYS8BxHQQ4L+5LFpr9AlH0Hu2Gu5sMfv7Go6fuP7iSEi5Ox7u5Ufei4BpyNU2lyzE4tTL54sQNU3x/pELm2fjQgHJ3/HrrKjLrhILO8BYsnOOp+Dq+wo6cDB+FWeJihCwJ3MaBiJzwE0E0RKn8HruL1RxsOJ2BmnP7urGA+PB2SGmsb5EiaSUXqzFxs+EJvef6ACQaqQ/dYaD9+p0EzDL4/ZFrvKbA2FDtoudmt4Mds2Ru8iCl1RyYQtKXNkAcmi7DPwrxQVtKJcdnPNMCa5N5M+ppoddCpbvaSJFrA1h1diD8I2oBLyUXAquIY2dZLifdqqV/MT4j9064W7bKyC9kHDLCajjcRGKKsgMAfzUgQ9AK4bLTsHODrT3whH3VvsNtkRYY+lcYbZkCBjg0SD9FH0NmZ0humwOOUFXGZalgRSG4ZlVJW2BxkvPaL68LfPB8PeodMg7pzdnNDuJUEwXrDMQmyT+lE4yvev5JxQRyqMoijgJkqrmnmT/7E6EcVbfHConazqk8cTWfIpKUHrlq/NPv5u3hIPbjrCRhFrVUjWFM3faEOeqkWTIaBb+C8pHpft3mYEZTKEogzqGdZvg44yBYyFnySq5vcJIcP7VsDCp4vnrtg4E1kW6IqRkwhLhLPR0lupQjZSG2Wy9Fl4rq7ja1silyWlSYfkyDoEdXf784eViRoIcPbPUNMb+OSic0qxgW/bkn6p14mHQU3d7OwtqTRuphggfAXbfegXwBOlzxK4RFkjnvfJBoIQch0jmmOBlv1sAg5YQYZygPYD21hmehRPQ1SEznM5Iqe8Iwi3gu+kK/LBVMiKpFUOyqNRoHtYHOMKTrZHieMtOKYnUwWSF5eJNkALxH+RLROG+WZyn00wlX5QGhLxOWVOEk0vJTSPLQ35ACLew5uHdJ/Ni+mMRrw4bfYWX4wvJeG+zjc70voyMK9rMFjEEVWjceJ0MtbRJdFqjoQingrME0a/KJ1PHgEj9Vg/kYKGIZv8N9EGfwXvHhiX0KLg/5Lqst3cjq0hQ6+hwuk0ak+BAECe5ezLAXUI95ivBaa1K+W7IoREYywCnoIrKy3N7glqfFnXsnHeFhtx1pA47D8jOKodcpRar5m4M/ewiXO6Eyb3+mxJFjg5m0Eoag6mq3Nffl9kvTYjYC+PT1sGV9iUHLWhxjU0A5t0Zl8MNaMueZ53jMPpBmJgLrDJDUThBxgugJlAlX+/qGpWgX4jXrXAsgkp2qLzNAdNKWj1UMt+vSNNyNXtGfEMM8UZrOIHTAXq5Dc4Cg93wfpDb2dXxXybE/umgWeM6WZzsn+5ja3z2LMIWLUSZg7fjlC7DUmejslTQNfrW4OwRoV7IOoFBManphfiHoIdWGd7QFwrM7THyMwSYI7aa4N4mMpi9fk2By5bGcBnzo6b4R/Ym2XJ22G/54jBw9jYa3Kthnv1c18HznfxDcOrgkJMDiN2ejuO2cbYNFx/VLSE33BhBVu3WO4MEgiUmx0EibBVQ/TMmB/hjhHU8qY7GzT3s7tWphaiujetykvnYg/y9BKGEnHB5Baa1ncuYpU6E76kYucZFFHDZGkhkTLODojh/g8SSAPB0NB4KZTaBh+whD56NtzRghbsteJxNZj1sKmYdtKjvqZAuWeJq9kw52Zs+6Iw1Lr5hExSO/lEMB970/8qC5UXC2zpe8d5/Ss5x6SxSj+7ccA45MyWw2BNNJDqkcLKO+0xQeJ5ZviXHb8aO3Or4C6sqArJmqZthpnnMz4iDTnNMQ0HAgc+5Zur6RlETVcp2af7tZdxDImJbFYsNxcODbjsMGlDnsoaqizjnRM1XPYrBxXx35r7RfEkr4OnYNNQwGlPIR101WlNqpqZ4ufXpfeHIf84paLdGjlnib49dR/Qmv+Dw8VGKTlraMzDTiKLCJ5cOotJwC/CBnOQsTckFZsHAa6nu+V0J3Wr4Tim6cjhqbjnz1gOVeFL4O1czKlKBvQh5rlolrESbk4IFB4BpZ4fDkJzZwFaaSjMr+i2IDOYKVtv5/1s7cxesJVYr7vV8FguQIhCqZAxk34bQDr0wjEClh6V8uRpYe8YBcAElNqlg7MIxFWSZ9C8Spcpvf2+rsaRlaKHMaaolg/ZKJ0uB9X/MUiH+fCj7hDNufZbYzgVQoMhNIXOE8rbD5qiKm8bUnzxJPvo6e6SB/UeqoRNaIG36WgfwS4XC+cF25A+OpCI7cB74sMHAs1MfIB3yGe49L2B6TvIzyUVQGLABsjk47SbnwtwroguExfJ6q7pZTjgAhKoycxL2anpKf6qCRlwo4zqoNByE/fvLZjRs+x2k4j+wqd0ttJ5JqhSEDIa6Mps9r4Ki/u7z/CJ0ShUj6P9rZryD7h+XouQlQpCnG12vgA3myfp63WChb2zQuo5v9ZkvL0pw29r9vcDQBXjqnuiwIGS1iHuwUQWC38iP9Xm/PckMqSZFcaCn8yuGqKZADR58sO4dkjmtL37w8OqPM/1DM36FnLyGEwPJFXDtt5dsOmKpPHKs0CK6EU0nDO7PTNB1x0fJnQlotcOmVPI/2sq1S78THaETIA5M/dVxKqDsJuG/1vzRttOJsak5CNk7VefRDv0pycybhcCytHzcmLWFFWH9k/PHZ660QFq5loqfON1oalBtgg32nqKlCUvMGkXouUmCEP6Zm0DcqrOnzbsl42gP9zulXiSIFacTzw98GCcLGRT9ton8vRYi7LYCvD6zOgvI6mp9/27PP5N00TDRO5rqE9MiTsOYCbgIyBNRikCO1/O+6BRbtuHoKHvTBrstLCUVwd42usNcQwAxO7d4IJc/HnhLT45ZSgtzK8vm4NIwyriwsPttJVo/E/PbkI1ANTIKWEieLQi47vfVK+YR2luGNp0i2adVw7QU2BbHolv9ADF6rYrcSI/tTxY/0TYcHwYw619Ig3j6k31QITSnoviLYYDxOKZlIieAjfAHkOMJAsDGbmek4e7OqYTZFzkZzVLUAknO59LpFm3WHUrz1dHCT16qbh/SAvUXBkxlwYZCCNnhezAJ554b3mOMA3V0TzmUDdef7qncuF5LvDJV4Frjugai4lU23MZsh0vPaExMW5nprmF6qOMTeSwBsNqxZ6NPkwLHc83Qlpjxo9eDKL9+wIQgFv38Uwyf1oQJbOqz5/gYSQ2m4APDdT7RF1ugD4aZBRGgIolikdL5AQXCH50VXqkBwDJ0xgYKO1kMWxyxTHuG9UYvsJERrK+iT2cv31Zt3KcJMRRy+XM4tUl6TChJAQjuDkBDCOPwfM0Tk8yM0YJRWw9qEO45JH/mLzobo2HZDxmSsY2gUux0e0UtwrynCiVf8orCS07b61CuryYJg98Spfwb7PGkb+d/Djjo8jkdZNBXWqr5kurmW4qG173pf5vU6QQzOVc26iVOMWq8JT01ClHQxaYD8aKYmdWAFvxDj/G+oNHOdaULAD9jMviH7zzJ187vbYtoJ+JydDoWgC456EsCJQ7t1N7/9+FFy/Q99let6chDd03O3BG/mRw5VoGUHRsiTbSctwU9qkpx7hrJS6QtEeQcNsnGDXZlwGGGvH575uYMtXcltilGVpgPi17mrxZWCc7qwLr0W39IMZ2QCTPQ0Bs3DWb5V2d1XOoP6uUqfGR6WXu31RSEJ2mCI/AisnS7hjn1MYpru+c2CvGz9on8B53/IkPFeeD9VMleeKmk5gtxH6+0QpgAUBEsfVO3rjNnPKH5LyL9YuCGoGNhUHoNbPLFP16I3a+YwX8k4CbYAzvSoIIvvgxCDyYEiAHBjkLvEhKahvDpQ7LBMMuKOekkUZIBjXrp49mjdJcfapc8c0havQmVPc79irTjPORBg7bf2m8iSFFx8sZAb/+Fp+43o9ViHugJI7uDnD0QOisPqFYl52Mn/O7UXus66pX99pkgg994ve1kGgW2BH5Qf1Bv8hAl4i3s+Z5YNPtvjvWjmAee12A9+G/tleMSHdw6NPbM97lSpyvQccyyNvUGKyJSUOMQm/RBvfxDD1TntHJo9pzrOGdnpemd4sPNl1UQ9i/3C4R1k3muM0mmuiHCco6SSiEEiuFZj0EmjMB/HrNALC27Uybi84fY4+jp98mDatFMphesjceQ2JxL45dIJJszuBBqbMe5UoEQeyWncd1IeV2dGUoj0pNn0QCMUmntz80TxCAVCrfvq9d+cp1vGBnECzM8qR1gpKgHbdT2tNa9DOk1YGix2o+xCP6DzE5lhMAJ5smd39oo3HP1E5EqpyZn9Zy2/Blc1NUiYfovvfsILhOAmMy/bnItnJIc+68LJ97A6F1QFjWLy8hbXtmIC5nKQFHsfRS7ndmIPh/jICSeXI7UKQO4znV5Xa2WetkhjoRn+xnC4fFNLyvM9AQKAVRmL0xnmDASeK4cHRzTlp9gkvYHmbYip6gu0VzDnvECp1r8ywzIiZ0CnAStBJ/mYAYpwXUR2BRhi6kKqqZ6M6iOfRV/w9omJDs7phAikhtBdEWj/Y8Q0+nBRtlwNuZTrQSsYZYNB+cLHA9d2cMsGEY9mJhOSbcCUzKooMDcNjKKPm7NKtgfVuaB6APJlrWODoFxsVl36UpmdLp+RFLPrULSHCZg2YV4wxi+1qHMHLKFh33rgyA+Lpmh4KfR8Qa7ie6dzLI2Hm7NfNzL5ul7W+iUdk9OMooBbVJsojknk1oAgMwHi4YeR8r3RluJ5+kZMjkOBoL23uKnF0i6csdy2zy9Sm8csYvLyx0LUZzPbizEPCBm4LvhXGdynnU/+5g7eKd/Muc9PI5ZVbJTJCj1fGvug5MxjIpFRU3MDdSQxrxqZ8TFoaludVFYoRi3JYLLERK2qpYmaSGgo7P6oTGySWafsLeV9Nt0Wm2R5DB4juSLiP8r0iEDFR6U51slT4RLQqkcVg4GMXAcdCw9dQy7zZXpA3PAANjnZgcfPtbABKYAL5Ckb1++jZ4m8PGXjFHSov7yZg143CtsL/jMy1XSnyo2AEp/cTOYtt1qd7OpEzJd6+OvRdxAoeSOQS/9cmYuxSL8veXGOlKGvZ/wU4J7xMQpsvIJoARmGp7bVeykSFAs6zKmYPn5KSXW7Ns/UXrYUtbOtFsulcV3FmHOBxIA2vw/c1MdeX6yua88CMNKWadIUzqA1D3akOLF/wYgB+7QUu0FbWswEJJd89uM7OOL7745N0uAvMbBkrgrweIfvzTpao7MTwYH5OK2tOWm+Qxf7jd0RrsbPcWY4uWarSsrgAy3gIEeCDa6kHoLWCDwrc5bUha7VrjH+pxMMujiv+H+o6qvL2z8VLX6M9P1niIyGfXHHpEw1jMcHerkkinzdhrT8g/RF6dI1btepcuXMfAwuMhFhzLAeWLilKxZXfdI8Wi9WW9XObNXypThZx0bzTiFVQ40uoseEcQOw2PXPF120nogY3UtLGpL7ph2//Uf0Qrhifo7k5b8ynv2xSspFXlDxJK6eXZgR7g2/wKe+GZIxhIEK8boX+Gs/L3WSx8SaO+6AX15uGNUNG2FVTXEdQWD6WFPlDIvwCdniN1puEpnQ95mw5KUNjbxna2NCDC5MmpKijd0GfYqBk/oNMHYMPmyNSde1BRlzKk4QVH3uEEKGlU8oQEE8HIqU5LUB2/Q5AsZYNUkHMsiDXl1pnhoccEiemZ1tlES4HYX6mTrGG7MQyDvHWvF038vmcn/UW8trZyalyRQtaDLRxJMcA2OgEnAdszIVTnzW8bh7tBQUJS5GusLbp8D0iJhyU/u/xMHqsoKvfGwSeTI+rUzH4q0p3ZMzfDrVcDS7c/SPZPzDqVqdSOPmAGCCORh23He+CQAcMSnMX6XYfJRCNI5cRRXqNcqntCtl8ACmpxPvqurDdVfrFXmE6tkkFSXfOSvY+y6ZrGCL+AqApUhYt8BK+uh8jdGVBPH2ZnJ4j6+FK5nilKAvCRPkK/kEPmGXUUISfEYW43J5y0zlgfiMmnLz+WhcSBf0O0fxezw+gg/k6AZ4LZvztPRCmo1Es7GvXUzXMMcbULwVL8d0EUrxhE/tRS0Ty/LXQycCrDW7BjpxXt14IjipNiczOPzZIe6sgZI7hMVvFH/Qlbgw6k5dpFJPEc4D7Eo5cQGdSBvZaL1qQb9xxM7bj8sNHPKIvi4jtUNyN+f85sPrtmuKA3R1/Zt3X050FUoa7blJZZ+dHDk3c7/kaZXZ5siG46bPpDNtYe70jegsFRpGRg4yihngZ+V44DWnzT5emYH9R5KYToQyqrYcrELMRNktMq30h2cqXpsG7u2wiFsGMwwHXxdMdxaF/LiDXEl/UVIwFQt5x0U72wwj9EncP0H/5Bqut/SE4gO9EhffLsXGpnbf0wNBDUOmiOdJaE+I7Kp70fKTELWuHkxQaoP2pJGFqpqt2FaLvuMbMwD6xQYmuyuy1sqgnpqr4NB7dWUm4S0HUPSiOgo2kO/wp5lBnmdy6tY0vPIEJOcX8SlkwrXVw/JzFclDQSwvoTuEQuW9NG9rHwdfS2+yw3PY6hTlSVFQHvpR+/MVxfdTGwwkbKwEuVeu2yFJgJK+EvMw+34ls2q/KV2YosgESGrXU0PzCs8+GJHLglApKYvivfYA0WDlwSY42AriOMHTcz4mYg93qNFqARu7Y6Y67Swk/qbdEKHjE1YfoGIN/PMWIhk4Ig2TtO33BQejhiOKBxmc5YoVXws1Nkc8+lFP8AbJJIqG+w2JPkdLnjJZmVLJ1O2zjCF2cPwDhU2PwsBfQSvCWnrdYjugotbuBGlGQI8Vghr1pYOibyg1lN1D4YB/rYDx+CNCy9tV6EejKI17GaYSHShte6w9f00nbbXAOgWYHrkT/2PyjRM8goz3jWNVr+hcxaCTlWw0TRrhoeHxhP2FpzejE4K2NAS9sX45Wssu33O/ERW5pQRwaOalAWH/1sFmQPeiw5EV1D2Gq8AIWbVVr2IPDPHhrm7mUTrS+430Xbo2/3+IBn5EABMY/36rwfAtvPM6JGJlujTv5R29qNRusziombBOsMbASsxR6Bi9lYP6TIznbROUiBuEYCE+ZxaGjs1jdEWEDC/tXB3knc3DLUAvHzMtvpFkoZiXqRehXKuxFORuuUBLh9otC9k7boNyczcL60GgfcLzmQRwg2l0VUNqVJeI3C6l2W/RPzjjLrpKvUR8X3aS2Cn2YFswkaX9udZsIsCfiudVP6wqP7y1ptS0ffVdqbI8oA3h4VhNCRG50Saz6DqnJKW7zN/piLX3uPEnbw8ype5dXy24t4H3i5iLhJcQxNRd7I5olU2awCJG441sob7mnuX5GoAdQivPNCTwqrhJ3xOqHXJ96iRIANmoRZgpcWqnzNUeXFsvvZhscQiSlSSzcu67vF6SHUPzpc/8S2/Dp3/2plg/pAn7uqQUSp4SUN75FUN50gcpgc9UEIUIet1zFLg/4tcLf+3Y8El5d0uLK1+YhM9NMAhbiGjwbNsGA8UIOlGqzBDul24K6FVrwmX9RXWw5a7DKYJNcORDMrWlw2fXvpD/A87LeVsXiA5YbxDj6USYXWmeM0vAqmZ/GidYFr6V3lE/HBNn/f1xvmzMYYWQEe8F4J6vCMwgNQCdYf3Qs7fT8sEazFeeUu45wP/jP3uWvOYnA4mtmXoQ2/AmXsdAufi72Wj+Wq9YOsXhRv9KFpkpFyXJlDQUaYaFK5jZXru7PmlVc6dSo7GlyTxo4yFaCuslsF20xh7Ul4c1XhTTKw+fiqWanIrFivmddBClqM2C6DHKhEiOoMwRaPUqMlNXLFykuPMu0WO9bp+8xz2Xnn6CiyXOmAso5ZVM3ztUyMdnVEu0l8HhRAOJo1iXPyjFhKL5blaOvjxZrFT/csI9wOPsFKNNuTvakroha4v1CWGWPRTzz2eX3OfxXOc7nLKZRICtujAF//Ya78nQ8a2qsIRxJ+mymqUS6kv4g2Gzm3t1PWPg0AxfnmGh32Y5EbN8M+l204MYiDWve9acxxBdqWZgVESfwutaUnbg59+tBgL5nA/Z0lDIl+WLQylUd0o2/EYcYra/RKUDkFAMRS/ivpgutnJN63FA7ZNQKsXGGOml2Du2wIEiJ0TDkBw2lLcIoQiizb5BIfTfLQ5GxqVg5EA3x7pb8VjgXFolXMf1f9HcW46mlBZKHmRpz+RHB7mfnwyQjWtv+ba6Oeu8KJPEft0L1NlH3ASO/oCSh917xYQNgwDk/GasnBTQhrCLLrkFPn/tt8uoTruUM08Mta0jXNxx4Df2rV1qxsG93wW89gpHTCZVpYRm3Cu7Y13s6oOCsE64txJjbntekLc0MogD6OjXBrY2xlasK6IlQMwR79bgjMKDZqL46ANHBw6KNaPZc180cfiWf5G2h4MgMAYxb0UjwPFwGd90+2Pj8kZqW1nieLO4ahVLd6MjHCy/oakgwWlAZB1fYliMR7mgE79jFt/50wcs1Sbj0Ep81PSmN6F30YJroRGY02jPHbVtoupIukrPV5Q1VYFifCYeXL3DRlHPLgbY6Q36LZijujcF3j5aeJQGcYEN1ssIctc+oR0ZJpXajmUUhxV7nAFxPW9BxhVIfQgzAY0n2CzFeHMwYTxqflK0ZPqG4pTa9W6n5IHd/SwiD10lDvK8g3mel45Hpy4AhPBZxMhaV+040guBii7A1Ci/l5kC277s6G9misCQTvsZ3UWDBN9k3jrhIVQiZ4ybzcqUuicDYKYM6dUKpBiI5vL7EWsb8J8G7Bae0j7pTit/EIGbpt1K55TpjGnjow97BQGDu5nWa2/DOjWR+fOrV3xs4RvWYURgy4SHPQ2PrtDU4qcDKzPI7oecPdrYztONMvg5Y9zO+HZiJY6mJvCDL7vN4tIPbY5Lr7PtQ/mizDFyqnK41Ro4m2+084eocvD3pTMjqtgY+71LFn278gvMDfWkqhhxJ0QU+54lpqG5mH2JZbCC7WD7cxTnaNJJfF7G8OiAc7HpSf2MUtQsF/r3LI8Ggd/f0t3wd0veKEh1DpdHceQKbf5aoXDRVfU5WLeIenkN3AkObaRwQzdKZbeq88czzL3os1tINZOJ1kbu+09YXkPoMEZVXu1ENsCmjTQ0jARImKJs4Ejbqtm9uNDqbYhB6MtkppIcUZNdp6N+zi5ljxOqIrgR8a6YWiSj3l01AakP6JL+uY6+ibZ9uoJsRidgqxKQiLDUClAza5dpwdTB6uf55JQzstaxCyrUhsKbRP3bmKVRBhun6lK8+R+qkci/zfmjydVB+oK30tzjoYtpt0oWmHiBkmLjGg/W7oHHgIKTm8f+mdMlfCUvo/Zv8CedBbM/eweqSWwEir/ZgMtIQXBxJ3zAgiguhOdd9FqDn/hzHDy/80EI+PECziIPeyoQgjswlEe1Zn0gSWxBIArWXotyAZRzZqtaUKAQiv8kBpASdKOAA7awnyaYou0sacDiBg18AKpJhcG0xf9kqacXNWciDzFAF97l6W+ZIci479STyZUd7pPHJfKZ+zFEpy3n1lryN5nnGmxaLGgVkbYmSUZlkDLugOTpPe3Gg68KLumvyjk1aX5u5m8VmBLqNf9jbpw6cwVozcRyFu1OBlHEhVHT37XkrqWEDW6n1NA42ei5RJQXBLV/YJOWTqDgJNQEcHjS/6oKLfQMfstfVdR45Gt0yw0dov5U2wUWdacxBNsMtFdTxGS8XOxoWwqURCbrByR8qC3o2eWZA1t5SjIwaH6ubWQAldXdepmNMPi41NpF3C2YPogu918VQqjHi7ccvwTsUvaKM48wm4ixUphAKnNhC1GzXwJt7FblLvJWugB2i39PISzBMdXOzvEaoZInlo+5V4HN0d+IHjOP8nUTQDMZBr3ctRU4nLdPT8kDJuTvdeImvhcso4hhBJiZ0MZesbeXLQpJ0OHHwr5onWtZTOvFAyINA3V0+UTwdrLlOQBVfDYsDy5BDngp+raB1+zkSbQ9V1En5krAkWrxgfPgK3F1SkNG27NIHll/f/awtuBP3mZLtDzZLaDgsM6jOb3bV1yXRgLranq/NBRtGCgFvk/hGfZj4KrDT4+1FtB7fld9GdJXuFXwq/bDJiJsehPRHC4Td2HMKqk0S7B5Xh2FNqol7n3dCvCzdplgpJlnTD0MakwHmpiWJpQNHRf2zHOnKHSNLy2O4arw9qCYiQNb7m/ultpB2z+m1Z41pm9LhPnV0FwvSsK+R2E6H7kf84Fc9eByNRyff3H1RAVHnzXai/+6tYrH+x4R6Ke8vGsOntp/OCGGjYxGKCZqtExkvfKfaepBB85coHd4itaTTXwxyiY5Zm4yX6arpfZ9zcb9kDF9i0vFrti2fxGreghI3Le81NzlJsLFub4eUFJheX/B+wWfzKH7/Rg6Sck2JrGcx1wpptaQP6viOqbjqiIfTJciUt9ZdKwMMDL5tQjdiBoT1NT6h11c8/kNdioAb0Ulq01Slzx9ms6qg4wOEKpSAmViyVUC2eWNLqS79pySPi+2ZR7KhDnIA55SGYfvMz8/LuBl0MHgdNqKUOiKMmTid0OrLksx4w21pbNbkYL4KUc8+xRADuRkWXoDuAfsntgC2PDC2DrqZ7/aSUzGyVAHbLjKkkjhjXiLr/mjjnNxoX3y1kSDH1DbwQeQodsWPEDcNyT7iu1GjTQA09pWc49HctE9ltHqgI+KCBE2gstK/whWgDOlqRC1onPzf3y9xslz0WRHoeJ/AfoGb6uGol3bdcR6s/bbS1rx5PMkQfY7/6vAHDQe+TZuh67XxiuaEoDRHI6wXq+gD5FUosN2WmsJIp1ILIJmQmq/PddU8IrmT1Kk/J28erE5WfW7/DsiWkpGuZQbKujIjj2vQoDvplJKDA8yiSliqDCC8xBjxX2sUNMMkwa9Qnyn50+FhqIgdVyooRbzrCVPZ7FRNa8UQR/sEgAPsRFUA4ZsEO0w/5J8x24J/h4Za4MkbB6PkzbaNRx6Ky9cwJHM3b63t/Ms/BPr9n67294EESWxDfqBdmfdk7SfevcxEmdFVNdPnm0EiQCiN7WvW4WvAiCWk7jRVMGE9EtZ+7yxk14kAP6nkpkThnTXX8ZAWGUEVpVu4ADbGTjMBqK9QBhZcF5xAlL+yyi4uSwA6t4ZvpQDNRSr2m9JXHsfDVI7c3eEkTLpvpqOHmvZDJmwa8a9xJ/jlclARmRTqM5Dp43a51jcJE+c11zyTo0HA53lCt5pRhnX/ErJykQBx0Y0Hw3gMjQ/Xy5C+xBof6TcohzPCVcdOLljgiD5Y+qHEFN8O13kduPjsmh1+pO6roOvwQeZewXJ+V6j9LCJ0crwUFNgYQcnyZHsigcDNCBbeZnvz3FCNZDUJjro3UVs8nDKNema3FyZkuCYA+NKdNB1fxxeSk9WlJC12zq/RYnp3ZMRVxtMq+LG93iON2+38XbX5mcDM235wYiRqlUDn8maS5hhUgrbvooa+7JSWqjPMKKBK5s/a9r1d4Sf/2zoDKmz0atvrQVG3RV08GFnQpcDwyKk6purPPKKf2sxAfeYQ3ItFZRC0FdSTTtStAt9VNbd76vCJkqOvmwQ5IF1TrdCkplnnFDx9PvNicIPjPv1AkGbRakL1pJVdvEr5zIrtgknRXfDbwkOagGOVj6lQ2+bh6ueeGSVOH+/wM5+x8n2lQJu7fWqrDUAMP5rK5iWyGHmKu1ZjSkZLL4NPsoK8fO9+4m13XTlq94qtOwKe2HbBv0DINjqsjmX2C0jmAX0iNxOa0htQKTqJdytChLGI6jmKfQABvsseZCar6G1/XvMJkm5OkdkcMsZMdth8UlQblmwE23C4u/Frf8rmBU6Z0Re2sXXmMgI4ssDtTDY21U0fB2sLsb6+N/B0UXSj/VGxxYENmlbS/wz3K2+iSE44xAxoEk/fK3xeIgcrFjSR/x47U8cSZTImwpZNZDKVq3d1VQDgeSyxKqn6+JfqaUtFGL6saNiZmgtjX249R69aydV9cStAFtCr4F8sgS2ulvC/Iu8GJcdm/rO5U//5gYPRStlsGlIqvPeIhdauIcrDEr7dikIDLn0BwNm/0XuzLOaUUJelJAGHxoBOBW+ytZLQmipmhswPUAAcLSCNYXq2P6FPvVw64urJBKLTSf0bcDVFsK6s7MY8Rfw0cztrsB+dIYFJAXacvj+T2btCfl+34+rU6++pRsMaVaZ39LTCtgPLV5qQnhRss0sgakJ2jKfL98qmzgQZt+rfeYfHu+5zTjvydtAphucYQWj5LBRD9H9DtD44CI0gStpzFh1Dp2GJr3vQY2w3ZAxhb+DCaeQPIQeeXUIhqM89lE/bkWPJTa1MtwZkh1xN1mkcJiJ/ArM8TFaYOmSeOBa1dJkFFCTUPqJbRiGMZyxDHr7UTupzxLWMItqrjQ3Nlw/Zq9S7dSdjIoY3GWEnSe8qLMBz/ieTh8xdCeEMyLOOeERZnsobknbqSjaAGwOzP2HMEgpoSd+AzhYu1N83yyqma7yKyPrFrOq1jkNbGTiKl5WgGiiZ/TZ23i+26tCF6c+iBgIHLIpmgNOFieBDOWIM0EVOYaMt6uFYHcaYgCyT41jaXCCMzyOpF68NxZnm18kPPkyC+HxMLvqu5SR3uIQDqfCm3tjsUmYvNqXX//fayhiUFvUHvT9+8pqsjp7bbHsflmLGmqrbqLlAc7ZsVbV8RbxyGtASSBnz3AbZXDjQFmXUvNcCnhj/VTsUOXLFcYKZ75AW7xs5YZiVNANJEyV5E/RZ0JM9La58/lNreeLBzS+xzhkOy1YWX4fnKMWDw1BpKBDw9YPTiRqbLUO0RI4bfEDYF+yP1DomUqQ7xuWZjhSGDQvDIGx4QQ8loOgljCVqCgwfBQ073DpKl9d/+K1OztMGZNsY6Qt2/YSthyp7NxlHBe8OIYvKlbWxPOlD3dhU0J+SCx1zW/gipbEBJD8p3AXG73dTzdcgmBBgvicUWjyg/XuWHscVnK0hAHy4B5pYd5M+wjq1GQvNfNG6qfFU33U8scq4Newq9vm9DoKtHzrTIgNGriydQ1ZSP3vUU/VnRc6zfIADBfmVBrRDcsT59Ag0bZqeJxy+uoZIyNgzYD6QHHNLsNRz/x2W6LEPbg/y45IJUkrmLz2hxh60GpVnWFHKXy0UYxobLhY4Z/jNBsB1Y1BT3fIF0fBF011CLH8gvAywg2/aBf9h1mKYj97LdqLXq5W3Qvlb6thiIw8xxM3rz0vaRQUTViD68A6rcysUBbXAj2JEPL0fglDynQTBWvUsLVZzq9OQmmMcMnN0ZUoZrGJnO5iXRuQI3GbRCdiJL3S/1bSpjcuFuKq8O4LtUXFnNYeIrUwg1c1FfaywcCEH4oxRemXNYdOXawkDcrQ7E1gWkKe1QNSFNrJmr8qz2jGLK3h8JEToInPuQu4VidLSpF5TA71A2z8ubJAFDzc7YNXLOqwedrDQlh3XhQcS0brFYgHdeEtqy6X563U3Cc6qw2DSZ8bupjdM4kmBwHkukSkxqANQz3iRv0CsA5XAtewYi/1/sTAWmvyZxIAegahyspOL6bTYBmGnkqodHMFyKHeM0Nz9stEncuPJo0ERPB1MsYolThjbwycQVtLcG4Hb+j08HpFsxU/Igd5/3cj6L9z3w5A8hxmb2JN+3GN0yTo+uZrsl9Jqdd9w++mmfV8fvk5iHTo3AdNf5DBgafF769hw28nfQdiGak4oF8C3J4qpCDgkrBlMm69uOx+czlfdOIvmIm+8kGW5KGZT6DnQo3qK1W/Yrm00HgceXZsxQD7ZUHseZq3lwCV40w9AUqcQrL/2H2LPxTBxTJcu5GoiAIaG0/97CFhvIr8Qmmc9YBrVyysURznEczwNRCU0OXHquuEaMCZ/rc7rGFatNFxhy4R/go7b07S8w5nYfhMgkcYl+9MglBmw6pWCboelQJ593+9hwekchfnsFLspDuOQuXAdEV45Q/syhlJw2sF5sd1LIt3NwY1IQQIpYofehQsKMzfslsZbr8iUM+aOHx8NaYibXTLgQG9cW98VcCve/PYQ6WUtfeT0Qd5y8/9R/oz03996zkvJFBobYkwKqat1fXzGevVt6x7Iw4n4RbGIJ+a0JABObDMqAm493k17vtbIxULBFd9H6BolsW54SpDMFY/n1hyY07bFSoWOUONWG9WEHjfQhHihlyrv3ODCyb02tj8OdlcbmNlc56hUMWxPc6fRXqzP7K5pEaKYdh6R2KzY2yU/YSBUyEa+fqCYFwQupzhhVP5PzdeNcKa3jk8abn+qyullj0UQHiRWNosV88XLdoDr6l5/g7mdghFI/IiRrvFJvV2tRpBy21bOOgiOt/iulf4vbgRsQ5w52q9fXH9stR3o9TQkfUaUpB/MnxDggb/T5yzkTYgalC6OmYGrIv0txPn73zZQcFLxJ0MEiCuqOgl8HbJr6xO5d3vtdmBjYuT5+6ib930D28xu7mvCueUp7gxmrWOvv4HtCAEyoXKNd4/XtMR2yEs4Z5VV06D2ZxPSSkaKmKrFLzqvwIammh/c2PHA/Y6rPIqzXPgGTLBhcR4kXaAcfckxnLCjYSmAFSL57N4kUt0k+zweIct8lqhm5mcvjVT5F5UYxo0kEq0QPXtdcJqcTVGbowRCXodeVW7t4DpIdt67QiRjUiAWzOjYboiEk9D/s+3FG8JxLGw1F3/uQLMwm8mNhiAd2A0qpSN31OTt/hwa9mMMv64IBBr+t2OFrdv44M0CIFXA/tkX3ieXYxuKm1mh9MWDGq837Pz1vw+hPdf/ZCqavkmFad08EX1R1VyKrH2gVdE7RCxIc/jcWU/ggltza297H+aX93CsEyMq8sTzsNhzSWzL1F4OWRUWIjQs8lV4kUJ0x2ptWTr9jbif7OLLbHFt/JG1qQolsVJBrwW5HJ1BD7EJHPsE7SzvM8kPuUvOyPNfV+QowefzG6792+VgVO4WPR3dY2ONCKA+GLQ2oJT/JtQAVod9WqgRrydJl0woswNBcuMkl5Equ6bvqB7sVQBitQzZaywihYnJ+s5M8PmvcrJdszCOl4ETroKYfQsF2QenPxaw7iRWrMmIG9SlbcBD1eBUa7RQ2BYGpoqE62oNDdqCQ4SyK7lyWcImxSU6+4MQ/CtqkAUzXk7zjEoHKn/SWJJs2B0Zer/x/9qzpeXo+Ty5YkDOscADQmZ0sarJfOguvJPFgSbXO46LVxNK0cD1GWXtM2ZBpIwo+thlk8m8GMna+f5p4fHRnAPx1xWKcu7FjHvvEyEnAcHbCzhgq24ilTiFL+2+do7nJt91vFrEuX/nI+RcOuubcclofSL6ORt8r3RRTpY3IJLJZJAAq/QRsxy1kO3xHLU7Si57VYowQdh+2waG2FcKPtMh/qZKZNHvwkjWlcz8W9nQjyXowHYMi7a8EhoJgkgjx/Gsms9NWNcFbohJs4VJSJzqFdUYEW1kSo1ZmozbFp8243qFv2PuO3pdyPKx8zPFJK80PCSApku5Ee+PPCjZh8+8bXIl9F3wuPmsE5QFVglBjBlOJxwZBj2T3eMYYuBMwnYzJusj2E3K03VVCngG2+SFWmuVJcezymIOeF/F5kIicwCOS9rCJVOo4qRwOLcnpRyESJDDdkIEQd5Oq3W1oAuSRbCJO3CdOPwDPA3um1k8W1xKrFeLN7YtH1Ar4+Cju0yItidnmYI7t6aZrYUOwWBHHxNscDWoAAxOhbCZohDdCkSxgkhTrXd9IOWxhsGsF89H3GUiVxy54z0kgpHJz2WbO+7b5XTEiL586cF/VmxfNp/eDMF1fu0RmT7Md4IhargVGuT0LjtNmHITj8xnmXZNvmrJUxCsejyCN4Z9InPajAZ5p2AciWJn1b3pz0Ub2t7qMWTbbW3gASYNYEkhIOnffBMGhp+GDV1cjwmj/U31pWLHbEgCb94XZ+TYNeRQS2eXUNg65ZgFYEdInQYj/jc7gZk/xqJDZLncIRF8y62U6ZiYiLFQHMshY8yxZtAgOzl7BjHQ/iY6s0M1V/IrkNx8EAgvTAc4qJFIYSOxrS3Cb/ZM8+u1CLJyg35t8fgHKyIrJSEhDMAR1fE6E05uQurc9H5Gj7oTVQiKTkpyttgK0znvnqFjfGNGe6y9h9WNrMug5MUaAToaVVOrEEOBQVd+MlQ8DTCHpIA5GGB8o+M9CdJ8dWFt5i2sHWBjBO3pxeGRa5uM/O7/pfi7/PIdlpuT2ZIKYzebCGok8+o+6OT6NfGMys4zgobH/J8C1riUlNR0mYS9nC9+u1tvOCcZSWXedRaatFjBKbTZ8+5p1Fq2TxUN+D4eTiprm75C0YdhaJZM/lTVx8nUImsoYKlA5IPiAIcMpDVmbKwhCxdHv8YxZwUk2LsZa4iimwhxrY8Pj19+k5i+js4pWFdUKxJz4HBW5gqAUUuHa4q2DOmnTls30k/2EGOco/IafoaB3U2d1m6W7ZZRQpWd4qQ+T+p6JGU4EaVJnU7miw3XpBBrpB93U5SDItEZNxZJBcVjuZrmGU5w0bTifTXZceeGN1PLQqDQHbLqq3Bi5lqNkZGHD6wKXm5quHVy4I5dIuOMti59C4dpxd54C5BLj8L7d2X+C67rxvNztqpJjt8D6Gk9RbaheFl1Buf4mD9WB7dWL7A8HMTWnO85uFRaqYxmt+wgr/Lr38fQfWY6IolemfQF4U6ehEuJmibepbOH21lZdP5uJLBev5fbFTkdHQLgw9gsp0hc8aih5dHLyPo5MMsg58SdQPGUe2J7RfeLwAKM9GFOoDwa29G8LI/v5TghBriKN+esCqJVk6haSZRKAqxHR7Nxt5AfJ6IzSMlAPJjSR8z+rm34qZBFepnVLOSVnndvzczmkfmzh4/GcIdREPt9NdTQGTK+GiuXAwn+sFOKezBXKI/373lK8hriVGDMn5P8RYJ00CE7AOgLM38a4NwLKHA2bHHs/ZKjyXl6hRsSZkx7CEfiN4M+wB8e4Z+lAPhZwLQZtm+otmRGyWDyN4toT/XoBjj9tofaYBSo5V0uR1S1/N7pWLzPeETVtbfn44VYa51DxfJgtFBEHvR7DeaVCVYTMbpzVgPn3TNY0EOGEquwJn08cfWKwl3KzUh54MVuzGcnla2Zz+Jtiu2EBEIcWzo+6dFbDfnEg2SL9T9ALziWn4cWEwUZ6jRI/lGvgAHM7ShKDN8q6AxdFF3m3JZoPC+2aKXuHIydBLCTxAKihFyWdVafTH4HgAxRMlbseci3gHq4/PMZD6z/VJrLOn4amJ2bz3c3ibVFGAWUMdc5MiLdiAoB87oV7ZOHtDOs2j2Hw+CTR/+FswzNzQEQCrogihUDhM7MFL3nSbN2tyUWrCKWLwqfXf5/M6z+idYc8fMY+LctI8luFOOlb0izLUzfBV1km2w6Ct4Z/aLZXuvJC+JHFS9U5opcmLYkwGWzbyFM8et5phS8qY2rF+dLkN4I6dNDBpwSm67GVAhhxfCDUvMTwzoUpmH6h/EvTViCkG+TDhp8tI5OHGGmyRVhZBWEQW/FsjZ9hiOm/8UUR1po8WuTYqBlumIf3accXgM5bSQvt0XiQLhDOtCWk/LPUmuGg5I7+2v3QLGW4FScDY/gwUPyhgOm53Kp3EUAu+Tm6KROrJuTjP9rCLLuq/kHFAOzPJ8tRGiJ5A3eXuv0jogeSvagdnyjqy0TayohOOkPWvYg5juhR+K1jKebf5p66SHzUvvRxt+2BIAuQ+5T+msFq5T+utWRrO1BZpWUcb3WcWH867FGQUuQ75vvb5B5dMUuu9rPDHaRMVsAzZ76TpCpt6XtP/Nc//U5sEu9mmjwLPezOJJ3DD5JJQFJKnvb7nCLpi8DfxPxXNWe3LitHIIuhFKC4d26R8hcANM0Fi5HEd2Uvki+AufUa+rtLlh+F6//WCU1IA7YplDrBiXr5H3TP5lG0yoeLv146VSUCdoyvrxHgO08+UzYHx7UKmU+Yl01xGHINrphk8NbU+XVLZwAqDbzgyyIwl96WXuxc7dwf8YY/PiLZtF4fUphoCxvT20JaMUk0UGnnQgPVvoy/7SO3dPaK1MBGgG5LvLn7Vrz0yFcXi6bqx3rhA9bv7HVa7We4GVP/ddbHhCgvJU2SD9Fh9UWakQOTl8MmJ6gk58eaakpQm8g2jXBVMWQ6scsw5Gg7v3uY0N0dlhAF+riyq0DBkeF4lQm3nh4zZcPyDPg0E/bJxBPQfOZFDuUCX3mJB3YaZ2/pjZHYRMSwJehc38VOvSybUYtuFReoQ/DVbEZ9hNl8K5yeqE2A73hgBuS0mS4Zxj/unPHnv1v4gGsl7Vg0aPujO4x/5U6YxXnSygqP3emL+z8ThfeqGGQKF+5jiKGYyHuZ14yOVL8FK9mrCzGUYoTDQK6SvIkYu1e6JetIRwLJAXC6ooe4DIy5gC+OBGxC4iKIjaTDPy/sKWXG8RV/o2O2VpsMuvx4Bn2kXx+qQ5A2Lg/yb7ow8jgAHp3m68sJlQaddkwS3tywAOoBc2G3DuuCiQc/f3x5EIXzXHrzylxEvv0Ri3FugykDzQAKC0vkbLzfRwZUzC/AZK3s1adswK8M/cbknfcUba5j1V9bZxdSB2KJeLyS06/d2OPDOlz5gKROcTcURGFXo8g85Mi+cIQM62oaSDkppYElvkbu6ZL2THvbg4BvNFOdydWNR7QCS4rOPd/Sl06KD4kLzETFWkEob9FB0J0Bk06Kwd2tH2wN2xQwMo9GKTDhy9V943bL7kzdyU7+lFzqG+YEKWG3FtYh19OT6xwNAgSDGPXpbOISrHlM7OmDwz9qB1tXaW75mZq421YrAnVQycZ/7OHrbPt7rSTptsNML7p3HwrIGj00YV4JrFelquA5dXWocGnhe9UbYSWbyyo/3DoSKeKtaX5OmWjCIDucvhhmxU1BHFC7B3wQ/X1U96gG584qMLYyBVl/VCa5JWyvKcnrcyPBDHJIrJuHfBzPHnCsImqHC490gpvSv2kZV53aCajGABmDsGIggApKrNQswudt0quNNO83pamLJkKLxYCzetqoT3GfPgYmCjvLCjsejUDa2X1tdh1pNk0v80n3XD6pH3M6Q8oO7PSL1g/kCVEBdmoG809BOAgn3xONsv7L/JIZlUsoXo2hWkZqztaRONkkRxqZLEEzW7ZEbHsSj2cZmqTrddat+DQefB92fZ3MaULlPUqZ8vJ+KIxd9oI6VC6yXhHHAptb8Rbvhf22LaVtZy/q6MHSE9isRXvxdnp5DKECL5by1VScfHupx3fPBqY2JXZeK2a/n8JpuKXdEUMS7IYmAq2ksddnXBQdwsyYjAOazP3FU5J8Jhv4+rh37/CEwAEcAeNH4adzfr/nW2CzbeG7SvHGnwwZPN38awM7qx2GU1hqts0GltyvjY1Z1ZvLO3m+BlNZYZCWkh2ZghBn3hBa1u+aaRCYPEUUl68fNOKabR6qFMjR7lAEp/eK8vpaJ+wR0u0iXWTStdlnlWHTZHZXPTd6ojkXaRHgWowSncIHw2IUOJj6Kv07ndYRYkFDK4a1Ehj06ARwFeSX/LUhFecpG/7vmWSSbVdofwtBQvFzXtOjDLijr8bV7qB6wOvUl5M3C/15+sQUQ412ToCMiyj4sgFX7ophrv8hMzbOmz082eqmUF92WseqqQZZZDV8bUG+KiBHmILHswHjm5O6X+FJjlM4VcIHo+ChfZmiEydeHN9bVlFmCNpH1PyeCF7CGYr1tBxyisuFY4aO2ZPGCftG7jfelxTdRQTlKbIYxFVTz6lufXrRUufKSzNOua2rRYSbX3ADwRsto5lHQGIjo2rKLKCOkRYi664N5SvQqVwu5+hHOEtXy5uyYOzgdLP46b7QaH6WTwI2cc/i2qmPJFntCS76DQ4xn5ZgO1IK/YGvG0wCpzfjh1msvItk8+gR+fN5VFCwiUr16QM2ILkty2NWPHqth8hKpk4NWy+ZnpFhVakJHDskbTS4XrReKwSrj6D07MF+9ylJdCFCgW00sbzSGEBVvqy6PuNR2E4DdCoFqJIK4ZD3wC/gHkFNdTkdd7bFx8IocyUr5DEFrD/dG2ZUiZkZq0HGNr5WHv7jTf/TPBLBUOHSWTbYgvMCK+wNlAQqgoIs1Y4KK4naAO0PKOuzxCBdk6EPU0pKF4YxwKajmAivym55pgm+3ZZCiaylU4Q5OfWr2EivLaUsOK8NYLkCj/SW+PjueZ3G53zOyTaW6TLbWVanQoUOmnQsOvbAQ19Q780GIJ8Qawd00Q7jeSmFg7lYy+FBXS7GtT35yuS1WB8s3hCFwEnW/v1+9SAo9EVqmYaSXYCBcDlssWSQNvUvU+8CBH/majZdTMjLt22IEvBQ6A1Hc5UGs7dK4rd1oJk585mHD/VFf7ZoXm2W5ToZd9bxdq68DtPRExmGM1HDqvqoR8Nd1v6Y2sz1/TgBqrvhD86Wn6iZf/0kXXjsGuKL8nUD23na1cdpEdJiE2f8+kPEek3WGdrv41rdpVRnplnCxoWh0RcgqFk6jpIA6i1bTTF8grNyQlMNxfpDhDbtIuuKBrRi14tLOTXI6EVPGGo84wfsMC+yDC1E6gZmJqzlqD7++SWyls0Ivd0c4qNPAcorWidtfy7PLcDk4DLwrz6qBh3VeK3dO/cZOY1d/Dw0jDnHPjiy8/xkqxun4J5yI4I7+4O3Moj4Gpd/NTTcj5FLdkjPa4Hn9T+12IFxrB/TlJMDFQst/eM5r9C/zHEQ2oNFcvL3nQoug1DQdBa2dghOBud7eHmpSQjDJtkS8jJGTIp5rwQRjOInMI3VHQhS1dKnWwbBlDnkPXihegbv9m8Dw3vIuRwzcWOWuXHYLpnl6VVioTq2npr/G41FCKvW4l25XR8KBXOYt6o6WHbEE/9BcFeVcG4H4FXx5AmnA29VFpgJl8XtPsZM2hRY1jjifQVebqXP02ajZjpnzZZyTvg5GGZ3Gs+AH8hglmShkLfcKYU13hPhS4QD2Nb7AVG4zSNuorz2OdBDQ7ip44Y772R/faJFc5tlfVL3/cXCX2f9T6/+FV7TJCO0055nOu1SVjtscArtUVjRg3IumVqRUFGLWp4yFzBaOsXF3EOyb/DbPb1XCtdpupKXmR2HHuPYT0GSog2uNm7fF0ebiVlMDXBHT+jz">
            <a:extLst>
              <a:ext uri="{FF2B5EF4-FFF2-40B4-BE49-F238E27FC236}">
                <a16:creationId xmlns:a16="http://schemas.microsoft.com/office/drawing/2014/main" id="{438088E1-2FE7-48CF-7B76-4A229D946F6C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6375603" y="2247104"/>
            <a:ext cx="5495528" cy="4172168"/>
          </a:xfrm>
          <a:prstGeom prst="rect">
            <a:avLst/>
          </a:prstGeom>
          <a:blipFill>
            <a:blip r:embed="rId15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65" name="btfpColumnIndicatorGroup2">
            <a:extLst>
              <a:ext uri="{FF2B5EF4-FFF2-40B4-BE49-F238E27FC236}">
                <a16:creationId xmlns:a16="http://schemas.microsoft.com/office/drawing/2014/main" id="{DAEF6BB9-288C-17E1-B211-88345993AA9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62" name="btfpColumnGapBlocker988860">
              <a:extLst>
                <a:ext uri="{FF2B5EF4-FFF2-40B4-BE49-F238E27FC236}">
                  <a16:creationId xmlns:a16="http://schemas.microsoft.com/office/drawing/2014/main" id="{C835A9E0-F438-3E24-1BD1-CE02EA42E6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56" name="btfpColumnGapBlocker382009">
              <a:extLst>
                <a:ext uri="{FF2B5EF4-FFF2-40B4-BE49-F238E27FC236}">
                  <a16:creationId xmlns:a16="http://schemas.microsoft.com/office/drawing/2014/main" id="{099A5E38-CAA6-2558-FFD1-31C295262F8C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2" name="btfpColumnIndicator995997">
              <a:extLst>
                <a:ext uri="{FF2B5EF4-FFF2-40B4-BE49-F238E27FC236}">
                  <a16:creationId xmlns:a16="http://schemas.microsoft.com/office/drawing/2014/main" id="{D30CA1B6-7246-F029-CE19-99ECFFB3A7D5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btfpColumnIndicator665106">
              <a:extLst>
                <a:ext uri="{FF2B5EF4-FFF2-40B4-BE49-F238E27FC236}">
                  <a16:creationId xmlns:a16="http://schemas.microsoft.com/office/drawing/2014/main" id="{46B227A9-4A47-D8D3-456B-40A5BE22902D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btfpColumnGapBlocker621534">
              <a:extLst>
                <a:ext uri="{FF2B5EF4-FFF2-40B4-BE49-F238E27FC236}">
                  <a16:creationId xmlns:a16="http://schemas.microsoft.com/office/drawing/2014/main" id="{57CE1EA8-C6F2-6FF5-BF2F-F95F7500E3AD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7" name="btfpColumnIndicator424072">
              <a:extLst>
                <a:ext uri="{FF2B5EF4-FFF2-40B4-BE49-F238E27FC236}">
                  <a16:creationId xmlns:a16="http://schemas.microsoft.com/office/drawing/2014/main" id="{F314A9A3-B6AB-BE91-A75B-6BD424BD7879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btfpColumnIndicator932878">
              <a:extLst>
                <a:ext uri="{FF2B5EF4-FFF2-40B4-BE49-F238E27FC236}">
                  <a16:creationId xmlns:a16="http://schemas.microsoft.com/office/drawing/2014/main" id="{3E55345C-5B43-3469-D644-F8F5EF74B8A1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btfpColumnIndicatorGroup1">
            <a:extLst>
              <a:ext uri="{FF2B5EF4-FFF2-40B4-BE49-F238E27FC236}">
                <a16:creationId xmlns:a16="http://schemas.microsoft.com/office/drawing/2014/main" id="{C90B600C-EA84-337C-0F2C-AC1780A256FA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58" name="btfpColumnGapBlocker334697">
              <a:extLst>
                <a:ext uri="{FF2B5EF4-FFF2-40B4-BE49-F238E27FC236}">
                  <a16:creationId xmlns:a16="http://schemas.microsoft.com/office/drawing/2014/main" id="{4121DF1F-AB40-B0D2-5384-CEFB4C1B7ECE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53" name="btfpColumnGapBlocker939603">
              <a:extLst>
                <a:ext uri="{FF2B5EF4-FFF2-40B4-BE49-F238E27FC236}">
                  <a16:creationId xmlns:a16="http://schemas.microsoft.com/office/drawing/2014/main" id="{521B4B89-E9E9-A1D8-0D4E-3A4C09B60ABE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9" name="btfpColumnIndicator939390">
              <a:extLst>
                <a:ext uri="{FF2B5EF4-FFF2-40B4-BE49-F238E27FC236}">
                  <a16:creationId xmlns:a16="http://schemas.microsoft.com/office/drawing/2014/main" id="{ED3D200A-4E91-E418-620C-0CCD4374FF2E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btfpColumnIndicator494815">
              <a:extLst>
                <a:ext uri="{FF2B5EF4-FFF2-40B4-BE49-F238E27FC236}">
                  <a16:creationId xmlns:a16="http://schemas.microsoft.com/office/drawing/2014/main" id="{CA4A5A4A-AB62-01C7-E419-D89B405B8AA3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btfpColumnGapBlocker380290">
              <a:extLst>
                <a:ext uri="{FF2B5EF4-FFF2-40B4-BE49-F238E27FC236}">
                  <a16:creationId xmlns:a16="http://schemas.microsoft.com/office/drawing/2014/main" id="{9DE224EE-1CEF-B99F-0F4B-7F370FC00156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9" name="btfpColumnIndicator247514">
              <a:extLst>
                <a:ext uri="{FF2B5EF4-FFF2-40B4-BE49-F238E27FC236}">
                  <a16:creationId xmlns:a16="http://schemas.microsoft.com/office/drawing/2014/main" id="{0154C041-4701-EA8A-96C6-220DBCCD8A8E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175785">
              <a:extLst>
                <a:ext uri="{FF2B5EF4-FFF2-40B4-BE49-F238E27FC236}">
                  <a16:creationId xmlns:a16="http://schemas.microsoft.com/office/drawing/2014/main" id="{BD06F3C2-4980-A767-340B-2E2882ADC339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7D6E69B0-DA32-C117-AEEC-6EAA0B8085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 dirty="0"/>
              <a:t>Switching | </a:t>
            </a:r>
            <a:r>
              <a:rPr lang="en-US" dirty="0"/>
              <a:t>Customers view Target as slightly more difficult to switch away from, compared to other vendors; low switching likelihood across vendors</a:t>
            </a:r>
          </a:p>
        </p:txBody>
      </p:sp>
      <p:grpSp>
        <p:nvGrpSpPr>
          <p:cNvPr id="16" name="btfpStatusSticker577716">
            <a:extLst>
              <a:ext uri="{FF2B5EF4-FFF2-40B4-BE49-F238E27FC236}">
                <a16:creationId xmlns:a16="http://schemas.microsoft.com/office/drawing/2014/main" id="{3F2556E8-C77C-4F48-8D01-D768997CEA4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100356" y="955344"/>
            <a:ext cx="1761444" cy="235611"/>
            <a:chOff x="-1630959" y="876300"/>
            <a:chExt cx="1761444" cy="235611"/>
          </a:xfrm>
        </p:grpSpPr>
        <p:sp>
          <p:nvSpPr>
            <p:cNvPr id="17" name="btfpStatusStickerText577716">
              <a:extLst>
                <a:ext uri="{FF2B5EF4-FFF2-40B4-BE49-F238E27FC236}">
                  <a16:creationId xmlns:a16="http://schemas.microsoft.com/office/drawing/2014/main" id="{6DCF6EAC-A501-F625-4B8A-6F7D4932B5DB}"/>
                </a:ext>
              </a:extLst>
            </p:cNvPr>
            <p:cNvSpPr txBox="1"/>
            <p:nvPr/>
          </p:nvSpPr>
          <p:spPr bwMode="gray">
            <a:xfrm>
              <a:off x="-1630959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Preliminary</a:t>
              </a:r>
            </a:p>
          </p:txBody>
        </p:sp>
        <p:cxnSp>
          <p:nvCxnSpPr>
            <p:cNvPr id="18" name="btfpStatusStickerLine577716">
              <a:extLst>
                <a:ext uri="{FF2B5EF4-FFF2-40B4-BE49-F238E27FC236}">
                  <a16:creationId xmlns:a16="http://schemas.microsoft.com/office/drawing/2014/main" id="{3E54FA1C-F75F-9318-D0BD-673CDA6FCD1D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630959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18B17636-62E6-B3B1-7378-F1C72D741E68}"/>
              </a:ext>
            </a:extLst>
          </p:cNvPr>
          <p:cNvSpPr/>
          <p:nvPr/>
        </p:nvSpPr>
        <p:spPr bwMode="gray">
          <a:xfrm>
            <a:off x="6377376" y="1906680"/>
            <a:ext cx="5490766" cy="36256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 i="1">
                <a:solidFill>
                  <a:srgbClr val="000000"/>
                </a:solidFill>
              </a:rPr>
              <a:t>Q:</a:t>
            </a:r>
            <a:r>
              <a:rPr lang="en-US" sz="1000" i="1">
                <a:solidFill>
                  <a:srgbClr val="000000"/>
                </a:solidFill>
              </a:rPr>
              <a:t> On a scale of 1 to 5, where 1 is very unlikely and 5 is extremely likely, </a:t>
            </a:r>
            <a:r>
              <a:rPr lang="en-US" sz="1000" b="1" i="1">
                <a:solidFill>
                  <a:srgbClr val="000000"/>
                </a:solidFill>
              </a:rPr>
              <a:t>how likely is your organization to switch</a:t>
            </a:r>
            <a:r>
              <a:rPr lang="en-US" sz="1000" i="1">
                <a:solidFill>
                  <a:srgbClr val="000000"/>
                </a:solidFill>
              </a:rPr>
              <a:t> away from using &lt;primary vendor&gt; in the next 5 years? 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6F296C8-DF7E-6E2D-7A54-51FB69FF2DBF}"/>
              </a:ext>
            </a:extLst>
          </p:cNvPr>
          <p:cNvSpPr/>
          <p:nvPr/>
        </p:nvSpPr>
        <p:spPr bwMode="gray">
          <a:xfrm>
            <a:off x="323857" y="1906680"/>
            <a:ext cx="5501870" cy="36256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 i="1">
                <a:solidFill>
                  <a:srgbClr val="000000"/>
                </a:solidFill>
              </a:rPr>
              <a:t>Q:</a:t>
            </a:r>
            <a:r>
              <a:rPr lang="en-US" sz="1000" i="1">
                <a:solidFill>
                  <a:srgbClr val="000000"/>
                </a:solidFill>
              </a:rPr>
              <a:t> On a scale of 1 to 5, where 1 is very easy and 5 is very difficult, </a:t>
            </a:r>
            <a:r>
              <a:rPr lang="en-US" sz="1000" b="1" i="1">
                <a:solidFill>
                  <a:srgbClr val="000000"/>
                </a:solidFill>
              </a:rPr>
              <a:t>how difficult would it be for your organization to switch </a:t>
            </a:r>
            <a:r>
              <a:rPr lang="en-US" sz="1000" i="1">
                <a:solidFill>
                  <a:srgbClr val="000000"/>
                </a:solidFill>
              </a:rPr>
              <a:t>from your current primary solution to a new provider? </a:t>
            </a:r>
          </a:p>
        </p:txBody>
      </p:sp>
      <p:grpSp>
        <p:nvGrpSpPr>
          <p:cNvPr id="6" name="btfpRunningAgenda1Level603411">
            <a:extLst>
              <a:ext uri="{FF2B5EF4-FFF2-40B4-BE49-F238E27FC236}">
                <a16:creationId xmlns:a16="http://schemas.microsoft.com/office/drawing/2014/main" id="{20342085-251C-8FA2-C813-0A3AC27FB46B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0" y="944429"/>
            <a:ext cx="3320616" cy="257442"/>
            <a:chOff x="0" y="876300"/>
            <a:chExt cx="3320616" cy="257442"/>
          </a:xfrm>
        </p:grpSpPr>
        <p:sp>
          <p:nvSpPr>
            <p:cNvPr id="5" name="btfpRunningAgenda1LevelBarLeft603411">
              <a:extLst>
                <a:ext uri="{FF2B5EF4-FFF2-40B4-BE49-F238E27FC236}">
                  <a16:creationId xmlns:a16="http://schemas.microsoft.com/office/drawing/2014/main" id="{6777B93F-4623-0707-8CC5-7BBF6FBF29B7}"/>
                </a:ext>
              </a:extLst>
            </p:cNvPr>
            <p:cNvSpPr/>
            <p:nvPr/>
          </p:nvSpPr>
          <p:spPr bwMode="gray">
            <a:xfrm>
              <a:off x="0" y="876300"/>
              <a:ext cx="3320616" cy="257442"/>
            </a:xfrm>
            <a:custGeom>
              <a:avLst/>
              <a:gdLst>
                <a:gd name="connsiteX0" fmla="*/ 942786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42786 w 1816204"/>
                <a:gd name="connsiteY0" fmla="*/ 0 h 257442"/>
                <a:gd name="connsiteX1" fmla="*/ 888066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146368 w 1146368"/>
                <a:gd name="connsiteY0" fmla="*/ 0 h 257442"/>
                <a:gd name="connsiteX1" fmla="*/ 888065 w 1146368"/>
                <a:gd name="connsiteY1" fmla="*/ 257442 h 257442"/>
                <a:gd name="connsiteX2" fmla="*/ 0 w 1146368"/>
                <a:gd name="connsiteY2" fmla="*/ 257442 h 257442"/>
                <a:gd name="connsiteX3" fmla="*/ 0 w 1146368"/>
                <a:gd name="connsiteY3" fmla="*/ 0 h 257442"/>
                <a:gd name="connsiteX0" fmla="*/ 1146368 w 1146368"/>
                <a:gd name="connsiteY0" fmla="*/ 0 h 257442"/>
                <a:gd name="connsiteX1" fmla="*/ 1091646 w 1146368"/>
                <a:gd name="connsiteY1" fmla="*/ 257442 h 257442"/>
                <a:gd name="connsiteX2" fmla="*/ 0 w 1146368"/>
                <a:gd name="connsiteY2" fmla="*/ 257442 h 257442"/>
                <a:gd name="connsiteX3" fmla="*/ 0 w 1146368"/>
                <a:gd name="connsiteY3" fmla="*/ 0 h 257442"/>
                <a:gd name="connsiteX0" fmla="*/ 1146369 w 1146369"/>
                <a:gd name="connsiteY0" fmla="*/ 0 h 257442"/>
                <a:gd name="connsiteX1" fmla="*/ 1091647 w 1146369"/>
                <a:gd name="connsiteY1" fmla="*/ 257442 h 257442"/>
                <a:gd name="connsiteX2" fmla="*/ 0 w 1146369"/>
                <a:gd name="connsiteY2" fmla="*/ 257442 h 257442"/>
                <a:gd name="connsiteX3" fmla="*/ 1 w 1146369"/>
                <a:gd name="connsiteY3" fmla="*/ 0 h 257442"/>
                <a:gd name="connsiteX0" fmla="*/ 1146369 w 1146369"/>
                <a:gd name="connsiteY0" fmla="*/ 0 h 257442"/>
                <a:gd name="connsiteX1" fmla="*/ 1091647 w 1146369"/>
                <a:gd name="connsiteY1" fmla="*/ 257442 h 257442"/>
                <a:gd name="connsiteX2" fmla="*/ 0 w 1146369"/>
                <a:gd name="connsiteY2" fmla="*/ 257442 h 257442"/>
                <a:gd name="connsiteX3" fmla="*/ 1 w 1146369"/>
                <a:gd name="connsiteY3" fmla="*/ 0 h 257442"/>
                <a:gd name="connsiteX0" fmla="*/ 1399643 w 1399643"/>
                <a:gd name="connsiteY0" fmla="*/ 0 h 257442"/>
                <a:gd name="connsiteX1" fmla="*/ 1091647 w 1399643"/>
                <a:gd name="connsiteY1" fmla="*/ 257442 h 257442"/>
                <a:gd name="connsiteX2" fmla="*/ 0 w 1399643"/>
                <a:gd name="connsiteY2" fmla="*/ 257442 h 257442"/>
                <a:gd name="connsiteX3" fmla="*/ 1 w 1399643"/>
                <a:gd name="connsiteY3" fmla="*/ 0 h 257442"/>
                <a:gd name="connsiteX0" fmla="*/ 1399643 w 1399643"/>
                <a:gd name="connsiteY0" fmla="*/ 0 h 257442"/>
                <a:gd name="connsiteX1" fmla="*/ 1344922 w 1399643"/>
                <a:gd name="connsiteY1" fmla="*/ 257442 h 257442"/>
                <a:gd name="connsiteX2" fmla="*/ 0 w 1399643"/>
                <a:gd name="connsiteY2" fmla="*/ 257442 h 257442"/>
                <a:gd name="connsiteX3" fmla="*/ 1 w 1399643"/>
                <a:gd name="connsiteY3" fmla="*/ 0 h 257442"/>
                <a:gd name="connsiteX0" fmla="*/ 1399642 w 1399642"/>
                <a:gd name="connsiteY0" fmla="*/ 0 h 257442"/>
                <a:gd name="connsiteX1" fmla="*/ 1344921 w 1399642"/>
                <a:gd name="connsiteY1" fmla="*/ 257442 h 257442"/>
                <a:gd name="connsiteX2" fmla="*/ 0 w 1399642"/>
                <a:gd name="connsiteY2" fmla="*/ 257442 h 257442"/>
                <a:gd name="connsiteX3" fmla="*/ 0 w 1399642"/>
                <a:gd name="connsiteY3" fmla="*/ 0 h 257442"/>
                <a:gd name="connsiteX0" fmla="*/ 1399643 w 1399643"/>
                <a:gd name="connsiteY0" fmla="*/ 0 h 257442"/>
                <a:gd name="connsiteX1" fmla="*/ 1344922 w 1399643"/>
                <a:gd name="connsiteY1" fmla="*/ 257442 h 257442"/>
                <a:gd name="connsiteX2" fmla="*/ 1 w 1399643"/>
                <a:gd name="connsiteY2" fmla="*/ 257442 h 257442"/>
                <a:gd name="connsiteX3" fmla="*/ 0 w 1399643"/>
                <a:gd name="connsiteY3" fmla="*/ 0 h 257442"/>
                <a:gd name="connsiteX0" fmla="*/ 1567958 w 1567958"/>
                <a:gd name="connsiteY0" fmla="*/ 0 h 257442"/>
                <a:gd name="connsiteX1" fmla="*/ 1344922 w 1567958"/>
                <a:gd name="connsiteY1" fmla="*/ 257442 h 257442"/>
                <a:gd name="connsiteX2" fmla="*/ 1 w 1567958"/>
                <a:gd name="connsiteY2" fmla="*/ 257442 h 257442"/>
                <a:gd name="connsiteX3" fmla="*/ 0 w 1567958"/>
                <a:gd name="connsiteY3" fmla="*/ 0 h 257442"/>
                <a:gd name="connsiteX0" fmla="*/ 1567958 w 1567958"/>
                <a:gd name="connsiteY0" fmla="*/ 0 h 257442"/>
                <a:gd name="connsiteX1" fmla="*/ 1513236 w 1567958"/>
                <a:gd name="connsiteY1" fmla="*/ 257442 h 257442"/>
                <a:gd name="connsiteX2" fmla="*/ 1 w 1567958"/>
                <a:gd name="connsiteY2" fmla="*/ 257442 h 257442"/>
                <a:gd name="connsiteX3" fmla="*/ 0 w 1567958"/>
                <a:gd name="connsiteY3" fmla="*/ 0 h 257442"/>
                <a:gd name="connsiteX0" fmla="*/ 1567958 w 1567958"/>
                <a:gd name="connsiteY0" fmla="*/ 0 h 257442"/>
                <a:gd name="connsiteX1" fmla="*/ 1513236 w 1567958"/>
                <a:gd name="connsiteY1" fmla="*/ 257442 h 257442"/>
                <a:gd name="connsiteX2" fmla="*/ 0 w 1567958"/>
                <a:gd name="connsiteY2" fmla="*/ 257442 h 257442"/>
                <a:gd name="connsiteX3" fmla="*/ 0 w 1567958"/>
                <a:gd name="connsiteY3" fmla="*/ 0 h 257442"/>
                <a:gd name="connsiteX0" fmla="*/ 1567958 w 1567958"/>
                <a:gd name="connsiteY0" fmla="*/ 0 h 257442"/>
                <a:gd name="connsiteX1" fmla="*/ 1513236 w 1567958"/>
                <a:gd name="connsiteY1" fmla="*/ 257442 h 257442"/>
                <a:gd name="connsiteX2" fmla="*/ 0 w 1567958"/>
                <a:gd name="connsiteY2" fmla="*/ 257442 h 257442"/>
                <a:gd name="connsiteX3" fmla="*/ 0 w 1567958"/>
                <a:gd name="connsiteY3" fmla="*/ 0 h 257442"/>
                <a:gd name="connsiteX0" fmla="*/ 1736273 w 1736273"/>
                <a:gd name="connsiteY0" fmla="*/ 0 h 257442"/>
                <a:gd name="connsiteX1" fmla="*/ 1513236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2005577 w 2005577"/>
                <a:gd name="connsiteY0" fmla="*/ 0 h 257442"/>
                <a:gd name="connsiteX1" fmla="*/ 1681552 w 2005577"/>
                <a:gd name="connsiteY1" fmla="*/ 257442 h 257442"/>
                <a:gd name="connsiteX2" fmla="*/ 0 w 2005577"/>
                <a:gd name="connsiteY2" fmla="*/ 257442 h 257442"/>
                <a:gd name="connsiteX3" fmla="*/ 0 w 2005577"/>
                <a:gd name="connsiteY3" fmla="*/ 0 h 257442"/>
                <a:gd name="connsiteX0" fmla="*/ 2005577 w 2005577"/>
                <a:gd name="connsiteY0" fmla="*/ 0 h 257442"/>
                <a:gd name="connsiteX1" fmla="*/ 1950856 w 2005577"/>
                <a:gd name="connsiteY1" fmla="*/ 257442 h 257442"/>
                <a:gd name="connsiteX2" fmla="*/ 0 w 2005577"/>
                <a:gd name="connsiteY2" fmla="*/ 257442 h 257442"/>
                <a:gd name="connsiteX3" fmla="*/ 0 w 2005577"/>
                <a:gd name="connsiteY3" fmla="*/ 0 h 257442"/>
                <a:gd name="connsiteX0" fmla="*/ 2005577 w 2005577"/>
                <a:gd name="connsiteY0" fmla="*/ 0 h 257442"/>
                <a:gd name="connsiteX1" fmla="*/ 1950856 w 2005577"/>
                <a:gd name="connsiteY1" fmla="*/ 257442 h 257442"/>
                <a:gd name="connsiteX2" fmla="*/ 0 w 2005577"/>
                <a:gd name="connsiteY2" fmla="*/ 257442 h 257442"/>
                <a:gd name="connsiteX3" fmla="*/ 0 w 2005577"/>
                <a:gd name="connsiteY3" fmla="*/ 0 h 257442"/>
                <a:gd name="connsiteX0" fmla="*/ 2005577 w 2005577"/>
                <a:gd name="connsiteY0" fmla="*/ 0 h 257442"/>
                <a:gd name="connsiteX1" fmla="*/ 1950856 w 2005577"/>
                <a:gd name="connsiteY1" fmla="*/ 257442 h 257442"/>
                <a:gd name="connsiteX2" fmla="*/ 0 w 2005577"/>
                <a:gd name="connsiteY2" fmla="*/ 257442 h 257442"/>
                <a:gd name="connsiteX3" fmla="*/ 0 w 2005577"/>
                <a:gd name="connsiteY3" fmla="*/ 0 h 257442"/>
                <a:gd name="connsiteX0" fmla="*/ 2183510 w 2183510"/>
                <a:gd name="connsiteY0" fmla="*/ 0 h 257442"/>
                <a:gd name="connsiteX1" fmla="*/ 1950856 w 2183510"/>
                <a:gd name="connsiteY1" fmla="*/ 257442 h 257442"/>
                <a:gd name="connsiteX2" fmla="*/ 0 w 2183510"/>
                <a:gd name="connsiteY2" fmla="*/ 257442 h 257442"/>
                <a:gd name="connsiteX3" fmla="*/ 0 w 2183510"/>
                <a:gd name="connsiteY3" fmla="*/ 0 h 257442"/>
                <a:gd name="connsiteX0" fmla="*/ 2183510 w 2183510"/>
                <a:gd name="connsiteY0" fmla="*/ 0 h 257442"/>
                <a:gd name="connsiteX1" fmla="*/ 2128788 w 2183510"/>
                <a:gd name="connsiteY1" fmla="*/ 257442 h 257442"/>
                <a:gd name="connsiteX2" fmla="*/ 0 w 2183510"/>
                <a:gd name="connsiteY2" fmla="*/ 257442 h 257442"/>
                <a:gd name="connsiteX3" fmla="*/ 0 w 2183510"/>
                <a:gd name="connsiteY3" fmla="*/ 0 h 257442"/>
                <a:gd name="connsiteX0" fmla="*/ 2183511 w 2183511"/>
                <a:gd name="connsiteY0" fmla="*/ 0 h 257442"/>
                <a:gd name="connsiteX1" fmla="*/ 2128789 w 2183511"/>
                <a:gd name="connsiteY1" fmla="*/ 257442 h 257442"/>
                <a:gd name="connsiteX2" fmla="*/ 0 w 2183511"/>
                <a:gd name="connsiteY2" fmla="*/ 257442 h 257442"/>
                <a:gd name="connsiteX3" fmla="*/ 1 w 2183511"/>
                <a:gd name="connsiteY3" fmla="*/ 0 h 257442"/>
                <a:gd name="connsiteX0" fmla="*/ 2183511 w 2183511"/>
                <a:gd name="connsiteY0" fmla="*/ 0 h 257442"/>
                <a:gd name="connsiteX1" fmla="*/ 2128789 w 2183511"/>
                <a:gd name="connsiteY1" fmla="*/ 257442 h 257442"/>
                <a:gd name="connsiteX2" fmla="*/ 0 w 2183511"/>
                <a:gd name="connsiteY2" fmla="*/ 257442 h 257442"/>
                <a:gd name="connsiteX3" fmla="*/ 1 w 2183511"/>
                <a:gd name="connsiteY3" fmla="*/ 0 h 257442"/>
                <a:gd name="connsiteX0" fmla="*/ 950802 w 2128789"/>
                <a:gd name="connsiteY0" fmla="*/ 0 h 257442"/>
                <a:gd name="connsiteX1" fmla="*/ 2128789 w 2128789"/>
                <a:gd name="connsiteY1" fmla="*/ 257442 h 257442"/>
                <a:gd name="connsiteX2" fmla="*/ 0 w 2128789"/>
                <a:gd name="connsiteY2" fmla="*/ 257442 h 257442"/>
                <a:gd name="connsiteX3" fmla="*/ 1 w 2128789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0 w 950802"/>
                <a:gd name="connsiteY2" fmla="*/ 257442 h 257442"/>
                <a:gd name="connsiteX3" fmla="*/ 1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19116 w 1119116"/>
                <a:gd name="connsiteY0" fmla="*/ 0 h 257442"/>
                <a:gd name="connsiteX1" fmla="*/ 896080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4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1 w 1119117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1 w 1119117"/>
                <a:gd name="connsiteY3" fmla="*/ 0 h 257442"/>
                <a:gd name="connsiteX0" fmla="*/ 1279417 w 1279417"/>
                <a:gd name="connsiteY0" fmla="*/ 0 h 257442"/>
                <a:gd name="connsiteX1" fmla="*/ 10643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279417 w 1279417"/>
                <a:gd name="connsiteY0" fmla="*/ 0 h 257442"/>
                <a:gd name="connsiteX1" fmla="*/ 1224696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7 w 1279417"/>
                <a:gd name="connsiteY0" fmla="*/ 0 h 257442"/>
                <a:gd name="connsiteX1" fmla="*/ 1224696 w 1279417"/>
                <a:gd name="connsiteY1" fmla="*/ 257442 h 257442"/>
                <a:gd name="connsiteX2" fmla="*/ 1 w 1279417"/>
                <a:gd name="connsiteY2" fmla="*/ 257442 h 257442"/>
                <a:gd name="connsiteX3" fmla="*/ 0 w 1279417"/>
                <a:gd name="connsiteY3" fmla="*/ 0 h 257442"/>
                <a:gd name="connsiteX0" fmla="*/ 1606879 w 1606879"/>
                <a:gd name="connsiteY0" fmla="*/ 0 h 257442"/>
                <a:gd name="connsiteX1" fmla="*/ 1224696 w 1606879"/>
                <a:gd name="connsiteY1" fmla="*/ 257442 h 257442"/>
                <a:gd name="connsiteX2" fmla="*/ 1 w 1606879"/>
                <a:gd name="connsiteY2" fmla="*/ 257442 h 257442"/>
                <a:gd name="connsiteX3" fmla="*/ 0 w 1606879"/>
                <a:gd name="connsiteY3" fmla="*/ 0 h 257442"/>
                <a:gd name="connsiteX0" fmla="*/ 1606879 w 1606879"/>
                <a:gd name="connsiteY0" fmla="*/ 0 h 257442"/>
                <a:gd name="connsiteX1" fmla="*/ 1552158 w 1606879"/>
                <a:gd name="connsiteY1" fmla="*/ 257442 h 257442"/>
                <a:gd name="connsiteX2" fmla="*/ 1 w 1606879"/>
                <a:gd name="connsiteY2" fmla="*/ 257442 h 257442"/>
                <a:gd name="connsiteX3" fmla="*/ 0 w 1606879"/>
                <a:gd name="connsiteY3" fmla="*/ 0 h 257442"/>
                <a:gd name="connsiteX0" fmla="*/ 1606879 w 1606879"/>
                <a:gd name="connsiteY0" fmla="*/ 0 h 257442"/>
                <a:gd name="connsiteX1" fmla="*/ 1552158 w 1606879"/>
                <a:gd name="connsiteY1" fmla="*/ 257442 h 257442"/>
                <a:gd name="connsiteX2" fmla="*/ 1 w 1606879"/>
                <a:gd name="connsiteY2" fmla="*/ 257442 h 257442"/>
                <a:gd name="connsiteX3" fmla="*/ 0 w 1606879"/>
                <a:gd name="connsiteY3" fmla="*/ 0 h 257442"/>
                <a:gd name="connsiteX0" fmla="*/ 1606878 w 1606878"/>
                <a:gd name="connsiteY0" fmla="*/ 0 h 257442"/>
                <a:gd name="connsiteX1" fmla="*/ 1552157 w 1606878"/>
                <a:gd name="connsiteY1" fmla="*/ 257442 h 257442"/>
                <a:gd name="connsiteX2" fmla="*/ 0 w 1606878"/>
                <a:gd name="connsiteY2" fmla="*/ 257442 h 257442"/>
                <a:gd name="connsiteX3" fmla="*/ 0 w 1606878"/>
                <a:gd name="connsiteY3" fmla="*/ 0 h 257442"/>
                <a:gd name="connsiteX0" fmla="*/ 1792826 w 1792826"/>
                <a:gd name="connsiteY0" fmla="*/ 0 h 257442"/>
                <a:gd name="connsiteX1" fmla="*/ 1552157 w 1792826"/>
                <a:gd name="connsiteY1" fmla="*/ 257442 h 257442"/>
                <a:gd name="connsiteX2" fmla="*/ 0 w 1792826"/>
                <a:gd name="connsiteY2" fmla="*/ 257442 h 257442"/>
                <a:gd name="connsiteX3" fmla="*/ 0 w 1792826"/>
                <a:gd name="connsiteY3" fmla="*/ 0 h 257442"/>
                <a:gd name="connsiteX0" fmla="*/ 1792826 w 1792826"/>
                <a:gd name="connsiteY0" fmla="*/ 0 h 257442"/>
                <a:gd name="connsiteX1" fmla="*/ 1738105 w 1792826"/>
                <a:gd name="connsiteY1" fmla="*/ 257442 h 257442"/>
                <a:gd name="connsiteX2" fmla="*/ 0 w 1792826"/>
                <a:gd name="connsiteY2" fmla="*/ 257442 h 257442"/>
                <a:gd name="connsiteX3" fmla="*/ 0 w 1792826"/>
                <a:gd name="connsiteY3" fmla="*/ 0 h 257442"/>
                <a:gd name="connsiteX0" fmla="*/ 1792827 w 1792827"/>
                <a:gd name="connsiteY0" fmla="*/ 0 h 257442"/>
                <a:gd name="connsiteX1" fmla="*/ 1738106 w 1792827"/>
                <a:gd name="connsiteY1" fmla="*/ 257442 h 257442"/>
                <a:gd name="connsiteX2" fmla="*/ 0 w 1792827"/>
                <a:gd name="connsiteY2" fmla="*/ 257442 h 257442"/>
                <a:gd name="connsiteX3" fmla="*/ 1 w 1792827"/>
                <a:gd name="connsiteY3" fmla="*/ 0 h 257442"/>
                <a:gd name="connsiteX0" fmla="*/ 1792827 w 1792827"/>
                <a:gd name="connsiteY0" fmla="*/ 0 h 257442"/>
                <a:gd name="connsiteX1" fmla="*/ 1738106 w 1792827"/>
                <a:gd name="connsiteY1" fmla="*/ 257442 h 257442"/>
                <a:gd name="connsiteX2" fmla="*/ 0 w 1792827"/>
                <a:gd name="connsiteY2" fmla="*/ 257442 h 257442"/>
                <a:gd name="connsiteX3" fmla="*/ 1 w 1792827"/>
                <a:gd name="connsiteY3" fmla="*/ 0 h 257442"/>
                <a:gd name="connsiteX0" fmla="*/ 1953128 w 1953128"/>
                <a:gd name="connsiteY0" fmla="*/ 0 h 257442"/>
                <a:gd name="connsiteX1" fmla="*/ 1738106 w 1953128"/>
                <a:gd name="connsiteY1" fmla="*/ 257442 h 257442"/>
                <a:gd name="connsiteX2" fmla="*/ 0 w 1953128"/>
                <a:gd name="connsiteY2" fmla="*/ 257442 h 257442"/>
                <a:gd name="connsiteX3" fmla="*/ 1 w 1953128"/>
                <a:gd name="connsiteY3" fmla="*/ 0 h 257442"/>
                <a:gd name="connsiteX0" fmla="*/ 1953128 w 1953128"/>
                <a:gd name="connsiteY0" fmla="*/ 0 h 257442"/>
                <a:gd name="connsiteX1" fmla="*/ 1898406 w 1953128"/>
                <a:gd name="connsiteY1" fmla="*/ 257442 h 257442"/>
                <a:gd name="connsiteX2" fmla="*/ 0 w 1953128"/>
                <a:gd name="connsiteY2" fmla="*/ 257442 h 257442"/>
                <a:gd name="connsiteX3" fmla="*/ 1 w 1953128"/>
                <a:gd name="connsiteY3" fmla="*/ 0 h 257442"/>
                <a:gd name="connsiteX0" fmla="*/ 1953128 w 1953128"/>
                <a:gd name="connsiteY0" fmla="*/ 0 h 257442"/>
                <a:gd name="connsiteX1" fmla="*/ 1898406 w 1953128"/>
                <a:gd name="connsiteY1" fmla="*/ 257442 h 257442"/>
                <a:gd name="connsiteX2" fmla="*/ 0 w 1953128"/>
                <a:gd name="connsiteY2" fmla="*/ 257442 h 257442"/>
                <a:gd name="connsiteX3" fmla="*/ 1 w 1953128"/>
                <a:gd name="connsiteY3" fmla="*/ 0 h 257442"/>
                <a:gd name="connsiteX0" fmla="*/ 1953128 w 1953128"/>
                <a:gd name="connsiteY0" fmla="*/ 0 h 257442"/>
                <a:gd name="connsiteX1" fmla="*/ 1898406 w 1953128"/>
                <a:gd name="connsiteY1" fmla="*/ 257442 h 257442"/>
                <a:gd name="connsiteX2" fmla="*/ 0 w 1953128"/>
                <a:gd name="connsiteY2" fmla="*/ 257442 h 257442"/>
                <a:gd name="connsiteX3" fmla="*/ 0 w 1953128"/>
                <a:gd name="connsiteY3" fmla="*/ 0 h 257442"/>
                <a:gd name="connsiteX0" fmla="*/ 2121442 w 2121442"/>
                <a:gd name="connsiteY0" fmla="*/ 0 h 257442"/>
                <a:gd name="connsiteX1" fmla="*/ 1898406 w 2121442"/>
                <a:gd name="connsiteY1" fmla="*/ 257442 h 257442"/>
                <a:gd name="connsiteX2" fmla="*/ 0 w 2121442"/>
                <a:gd name="connsiteY2" fmla="*/ 257442 h 257442"/>
                <a:gd name="connsiteX3" fmla="*/ 0 w 2121442"/>
                <a:gd name="connsiteY3" fmla="*/ 0 h 257442"/>
                <a:gd name="connsiteX0" fmla="*/ 2121442 w 2121442"/>
                <a:gd name="connsiteY0" fmla="*/ 0 h 257442"/>
                <a:gd name="connsiteX1" fmla="*/ 2066721 w 2121442"/>
                <a:gd name="connsiteY1" fmla="*/ 257442 h 257442"/>
                <a:gd name="connsiteX2" fmla="*/ 0 w 2121442"/>
                <a:gd name="connsiteY2" fmla="*/ 257442 h 257442"/>
                <a:gd name="connsiteX3" fmla="*/ 0 w 2121442"/>
                <a:gd name="connsiteY3" fmla="*/ 0 h 257442"/>
                <a:gd name="connsiteX0" fmla="*/ 2121442 w 2121442"/>
                <a:gd name="connsiteY0" fmla="*/ 0 h 257442"/>
                <a:gd name="connsiteX1" fmla="*/ 2066721 w 2121442"/>
                <a:gd name="connsiteY1" fmla="*/ 257442 h 257442"/>
                <a:gd name="connsiteX2" fmla="*/ 0 w 2121442"/>
                <a:gd name="connsiteY2" fmla="*/ 257442 h 257442"/>
                <a:gd name="connsiteX3" fmla="*/ 0 w 2121442"/>
                <a:gd name="connsiteY3" fmla="*/ 0 h 257442"/>
                <a:gd name="connsiteX0" fmla="*/ 2121442 w 2121442"/>
                <a:gd name="connsiteY0" fmla="*/ 0 h 257442"/>
                <a:gd name="connsiteX1" fmla="*/ 2066721 w 2121442"/>
                <a:gd name="connsiteY1" fmla="*/ 257442 h 257442"/>
                <a:gd name="connsiteX2" fmla="*/ 0 w 2121442"/>
                <a:gd name="connsiteY2" fmla="*/ 257442 h 257442"/>
                <a:gd name="connsiteX3" fmla="*/ 0 w 2121442"/>
                <a:gd name="connsiteY3" fmla="*/ 0 h 257442"/>
                <a:gd name="connsiteX0" fmla="*/ 2400364 w 2400364"/>
                <a:gd name="connsiteY0" fmla="*/ 0 h 257442"/>
                <a:gd name="connsiteX1" fmla="*/ 2066721 w 2400364"/>
                <a:gd name="connsiteY1" fmla="*/ 257442 h 257442"/>
                <a:gd name="connsiteX2" fmla="*/ 0 w 2400364"/>
                <a:gd name="connsiteY2" fmla="*/ 257442 h 257442"/>
                <a:gd name="connsiteX3" fmla="*/ 0 w 2400364"/>
                <a:gd name="connsiteY3" fmla="*/ 0 h 257442"/>
                <a:gd name="connsiteX0" fmla="*/ 2400364 w 2400364"/>
                <a:gd name="connsiteY0" fmla="*/ 0 h 257442"/>
                <a:gd name="connsiteX1" fmla="*/ 2345643 w 2400364"/>
                <a:gd name="connsiteY1" fmla="*/ 257442 h 257442"/>
                <a:gd name="connsiteX2" fmla="*/ 0 w 2400364"/>
                <a:gd name="connsiteY2" fmla="*/ 257442 h 257442"/>
                <a:gd name="connsiteX3" fmla="*/ 0 w 2400364"/>
                <a:gd name="connsiteY3" fmla="*/ 0 h 257442"/>
                <a:gd name="connsiteX0" fmla="*/ 2400364 w 2400364"/>
                <a:gd name="connsiteY0" fmla="*/ 0 h 257442"/>
                <a:gd name="connsiteX1" fmla="*/ 2345643 w 2400364"/>
                <a:gd name="connsiteY1" fmla="*/ 257442 h 257442"/>
                <a:gd name="connsiteX2" fmla="*/ 0 w 2400364"/>
                <a:gd name="connsiteY2" fmla="*/ 257442 h 257442"/>
                <a:gd name="connsiteX3" fmla="*/ 0 w 2400364"/>
                <a:gd name="connsiteY3" fmla="*/ 0 h 257442"/>
                <a:gd name="connsiteX0" fmla="*/ 2400364 w 2400364"/>
                <a:gd name="connsiteY0" fmla="*/ 0 h 257442"/>
                <a:gd name="connsiteX1" fmla="*/ 2345643 w 2400364"/>
                <a:gd name="connsiteY1" fmla="*/ 257442 h 257442"/>
                <a:gd name="connsiteX2" fmla="*/ 0 w 2400364"/>
                <a:gd name="connsiteY2" fmla="*/ 257442 h 257442"/>
                <a:gd name="connsiteX3" fmla="*/ 0 w 2400364"/>
                <a:gd name="connsiteY3" fmla="*/ 0 h 257442"/>
                <a:gd name="connsiteX0" fmla="*/ 2222431 w 2345643"/>
                <a:gd name="connsiteY0" fmla="*/ 0 h 257442"/>
                <a:gd name="connsiteX1" fmla="*/ 2345643 w 2345643"/>
                <a:gd name="connsiteY1" fmla="*/ 257442 h 257442"/>
                <a:gd name="connsiteX2" fmla="*/ 0 w 2345643"/>
                <a:gd name="connsiteY2" fmla="*/ 257442 h 257442"/>
                <a:gd name="connsiteX3" fmla="*/ 0 w 2345643"/>
                <a:gd name="connsiteY3" fmla="*/ 0 h 257442"/>
                <a:gd name="connsiteX0" fmla="*/ 2222431 w 2222431"/>
                <a:gd name="connsiteY0" fmla="*/ 0 h 257442"/>
                <a:gd name="connsiteX1" fmla="*/ 2167711 w 2222431"/>
                <a:gd name="connsiteY1" fmla="*/ 257442 h 257442"/>
                <a:gd name="connsiteX2" fmla="*/ 0 w 2222431"/>
                <a:gd name="connsiteY2" fmla="*/ 257442 h 257442"/>
                <a:gd name="connsiteX3" fmla="*/ 0 w 2222431"/>
                <a:gd name="connsiteY3" fmla="*/ 0 h 257442"/>
                <a:gd name="connsiteX0" fmla="*/ 2222431 w 2222431"/>
                <a:gd name="connsiteY0" fmla="*/ 0 h 257442"/>
                <a:gd name="connsiteX1" fmla="*/ 2167711 w 2222431"/>
                <a:gd name="connsiteY1" fmla="*/ 257442 h 257442"/>
                <a:gd name="connsiteX2" fmla="*/ 1 w 2222431"/>
                <a:gd name="connsiteY2" fmla="*/ 257442 h 257442"/>
                <a:gd name="connsiteX3" fmla="*/ 0 w 2222431"/>
                <a:gd name="connsiteY3" fmla="*/ 0 h 257442"/>
                <a:gd name="connsiteX0" fmla="*/ 2222430 w 2222430"/>
                <a:gd name="connsiteY0" fmla="*/ 0 h 257442"/>
                <a:gd name="connsiteX1" fmla="*/ 2167710 w 2222430"/>
                <a:gd name="connsiteY1" fmla="*/ 257442 h 257442"/>
                <a:gd name="connsiteX2" fmla="*/ 0 w 2222430"/>
                <a:gd name="connsiteY2" fmla="*/ 257442 h 257442"/>
                <a:gd name="connsiteX3" fmla="*/ 0 w 2222430"/>
                <a:gd name="connsiteY3" fmla="*/ 0 h 257442"/>
                <a:gd name="connsiteX0" fmla="*/ 2552649 w 2552649"/>
                <a:gd name="connsiteY0" fmla="*/ 0 h 257442"/>
                <a:gd name="connsiteX1" fmla="*/ 2167710 w 2552649"/>
                <a:gd name="connsiteY1" fmla="*/ 257442 h 257442"/>
                <a:gd name="connsiteX2" fmla="*/ 0 w 2552649"/>
                <a:gd name="connsiteY2" fmla="*/ 257442 h 257442"/>
                <a:gd name="connsiteX3" fmla="*/ 0 w 2552649"/>
                <a:gd name="connsiteY3" fmla="*/ 0 h 257442"/>
                <a:gd name="connsiteX0" fmla="*/ 2552649 w 2552649"/>
                <a:gd name="connsiteY0" fmla="*/ 0 h 257442"/>
                <a:gd name="connsiteX1" fmla="*/ 2497928 w 2552649"/>
                <a:gd name="connsiteY1" fmla="*/ 257442 h 257442"/>
                <a:gd name="connsiteX2" fmla="*/ 0 w 2552649"/>
                <a:gd name="connsiteY2" fmla="*/ 257442 h 257442"/>
                <a:gd name="connsiteX3" fmla="*/ 0 w 2552649"/>
                <a:gd name="connsiteY3" fmla="*/ 0 h 257442"/>
                <a:gd name="connsiteX0" fmla="*/ 2552650 w 2552650"/>
                <a:gd name="connsiteY0" fmla="*/ 0 h 257442"/>
                <a:gd name="connsiteX1" fmla="*/ 2497929 w 2552650"/>
                <a:gd name="connsiteY1" fmla="*/ 257442 h 257442"/>
                <a:gd name="connsiteX2" fmla="*/ 0 w 2552650"/>
                <a:gd name="connsiteY2" fmla="*/ 257442 h 257442"/>
                <a:gd name="connsiteX3" fmla="*/ 1 w 2552650"/>
                <a:gd name="connsiteY3" fmla="*/ 0 h 257442"/>
                <a:gd name="connsiteX0" fmla="*/ 2552650 w 2552650"/>
                <a:gd name="connsiteY0" fmla="*/ 0 h 257442"/>
                <a:gd name="connsiteX1" fmla="*/ 2497929 w 2552650"/>
                <a:gd name="connsiteY1" fmla="*/ 257442 h 257442"/>
                <a:gd name="connsiteX2" fmla="*/ 0 w 2552650"/>
                <a:gd name="connsiteY2" fmla="*/ 257442 h 257442"/>
                <a:gd name="connsiteX3" fmla="*/ 0 w 2552650"/>
                <a:gd name="connsiteY3" fmla="*/ 0 h 257442"/>
                <a:gd name="connsiteX0" fmla="*/ 2712950 w 2712950"/>
                <a:gd name="connsiteY0" fmla="*/ 0 h 257442"/>
                <a:gd name="connsiteX1" fmla="*/ 2497929 w 2712950"/>
                <a:gd name="connsiteY1" fmla="*/ 257442 h 257442"/>
                <a:gd name="connsiteX2" fmla="*/ 0 w 2712950"/>
                <a:gd name="connsiteY2" fmla="*/ 257442 h 257442"/>
                <a:gd name="connsiteX3" fmla="*/ 0 w 2712950"/>
                <a:gd name="connsiteY3" fmla="*/ 0 h 257442"/>
                <a:gd name="connsiteX0" fmla="*/ 2712950 w 2712950"/>
                <a:gd name="connsiteY0" fmla="*/ 0 h 257442"/>
                <a:gd name="connsiteX1" fmla="*/ 2658229 w 2712950"/>
                <a:gd name="connsiteY1" fmla="*/ 257442 h 257442"/>
                <a:gd name="connsiteX2" fmla="*/ 0 w 2712950"/>
                <a:gd name="connsiteY2" fmla="*/ 257442 h 257442"/>
                <a:gd name="connsiteX3" fmla="*/ 0 w 2712950"/>
                <a:gd name="connsiteY3" fmla="*/ 0 h 257442"/>
                <a:gd name="connsiteX0" fmla="*/ 2712950 w 2712950"/>
                <a:gd name="connsiteY0" fmla="*/ 0 h 257442"/>
                <a:gd name="connsiteX1" fmla="*/ 2658229 w 2712950"/>
                <a:gd name="connsiteY1" fmla="*/ 257442 h 257442"/>
                <a:gd name="connsiteX2" fmla="*/ 0 w 2712950"/>
                <a:gd name="connsiteY2" fmla="*/ 257442 h 257442"/>
                <a:gd name="connsiteX3" fmla="*/ 0 w 2712950"/>
                <a:gd name="connsiteY3" fmla="*/ 0 h 257442"/>
                <a:gd name="connsiteX0" fmla="*/ 2712950 w 2712950"/>
                <a:gd name="connsiteY0" fmla="*/ 0 h 257442"/>
                <a:gd name="connsiteX1" fmla="*/ 2658229 w 2712950"/>
                <a:gd name="connsiteY1" fmla="*/ 257442 h 257442"/>
                <a:gd name="connsiteX2" fmla="*/ 0 w 2712950"/>
                <a:gd name="connsiteY2" fmla="*/ 257442 h 257442"/>
                <a:gd name="connsiteX3" fmla="*/ 0 w 2712950"/>
                <a:gd name="connsiteY3" fmla="*/ 0 h 257442"/>
                <a:gd name="connsiteX0" fmla="*/ 3019444 w 3019444"/>
                <a:gd name="connsiteY0" fmla="*/ 0 h 257442"/>
                <a:gd name="connsiteX1" fmla="*/ 2658229 w 3019444"/>
                <a:gd name="connsiteY1" fmla="*/ 257442 h 257442"/>
                <a:gd name="connsiteX2" fmla="*/ 0 w 3019444"/>
                <a:gd name="connsiteY2" fmla="*/ 257442 h 257442"/>
                <a:gd name="connsiteX3" fmla="*/ 0 w 3019444"/>
                <a:gd name="connsiteY3" fmla="*/ 0 h 257442"/>
                <a:gd name="connsiteX0" fmla="*/ 3019444 w 3019444"/>
                <a:gd name="connsiteY0" fmla="*/ 0 h 257442"/>
                <a:gd name="connsiteX1" fmla="*/ 2964723 w 3019444"/>
                <a:gd name="connsiteY1" fmla="*/ 257442 h 257442"/>
                <a:gd name="connsiteX2" fmla="*/ 0 w 3019444"/>
                <a:gd name="connsiteY2" fmla="*/ 257442 h 257442"/>
                <a:gd name="connsiteX3" fmla="*/ 0 w 3019444"/>
                <a:gd name="connsiteY3" fmla="*/ 0 h 257442"/>
                <a:gd name="connsiteX0" fmla="*/ 3019444 w 3019444"/>
                <a:gd name="connsiteY0" fmla="*/ 0 h 257442"/>
                <a:gd name="connsiteX1" fmla="*/ 2964723 w 3019444"/>
                <a:gd name="connsiteY1" fmla="*/ 257442 h 257442"/>
                <a:gd name="connsiteX2" fmla="*/ 0 w 3019444"/>
                <a:gd name="connsiteY2" fmla="*/ 257442 h 257442"/>
                <a:gd name="connsiteX3" fmla="*/ 0 w 3019444"/>
                <a:gd name="connsiteY3" fmla="*/ 0 h 257442"/>
                <a:gd name="connsiteX0" fmla="*/ 3019444 w 3019444"/>
                <a:gd name="connsiteY0" fmla="*/ 0 h 257442"/>
                <a:gd name="connsiteX1" fmla="*/ 2964723 w 3019444"/>
                <a:gd name="connsiteY1" fmla="*/ 257442 h 257442"/>
                <a:gd name="connsiteX2" fmla="*/ 0 w 3019444"/>
                <a:gd name="connsiteY2" fmla="*/ 257442 h 257442"/>
                <a:gd name="connsiteX3" fmla="*/ 0 w 3019444"/>
                <a:gd name="connsiteY3" fmla="*/ 0 h 257442"/>
                <a:gd name="connsiteX0" fmla="*/ 3320616 w 3320616"/>
                <a:gd name="connsiteY0" fmla="*/ 0 h 257442"/>
                <a:gd name="connsiteX1" fmla="*/ 2964723 w 3320616"/>
                <a:gd name="connsiteY1" fmla="*/ 257442 h 257442"/>
                <a:gd name="connsiteX2" fmla="*/ 0 w 3320616"/>
                <a:gd name="connsiteY2" fmla="*/ 257442 h 257442"/>
                <a:gd name="connsiteX3" fmla="*/ 0 w 3320616"/>
                <a:gd name="connsiteY3" fmla="*/ 0 h 257442"/>
                <a:gd name="connsiteX0" fmla="*/ 3320616 w 3320616"/>
                <a:gd name="connsiteY0" fmla="*/ 0 h 257442"/>
                <a:gd name="connsiteX1" fmla="*/ 3265895 w 3320616"/>
                <a:gd name="connsiteY1" fmla="*/ 257442 h 257442"/>
                <a:gd name="connsiteX2" fmla="*/ 0 w 3320616"/>
                <a:gd name="connsiteY2" fmla="*/ 257442 h 257442"/>
                <a:gd name="connsiteX3" fmla="*/ 0 w 3320616"/>
                <a:gd name="connsiteY3" fmla="*/ 0 h 257442"/>
                <a:gd name="connsiteX0" fmla="*/ 3320616 w 3320616"/>
                <a:gd name="connsiteY0" fmla="*/ 0 h 257442"/>
                <a:gd name="connsiteX1" fmla="*/ 3265895 w 3320616"/>
                <a:gd name="connsiteY1" fmla="*/ 257442 h 257442"/>
                <a:gd name="connsiteX2" fmla="*/ 0 w 3320616"/>
                <a:gd name="connsiteY2" fmla="*/ 257442 h 257442"/>
                <a:gd name="connsiteX3" fmla="*/ 0 w 3320616"/>
                <a:gd name="connsiteY3" fmla="*/ 0 h 257442"/>
                <a:gd name="connsiteX0" fmla="*/ 3320616 w 3320616"/>
                <a:gd name="connsiteY0" fmla="*/ 0 h 257442"/>
                <a:gd name="connsiteX1" fmla="*/ 3265895 w 3320616"/>
                <a:gd name="connsiteY1" fmla="*/ 257442 h 257442"/>
                <a:gd name="connsiteX2" fmla="*/ 0 w 3320616"/>
                <a:gd name="connsiteY2" fmla="*/ 257442 h 257442"/>
                <a:gd name="connsiteX3" fmla="*/ 0 w 3320616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0616" h="257442">
                  <a:moveTo>
                    <a:pt x="3320616" y="0"/>
                  </a:moveTo>
                  <a:lnTo>
                    <a:pt x="3265895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4" name="btfpRunningAgenda1LevelTextLeft603411">
              <a:extLst>
                <a:ext uri="{FF2B5EF4-FFF2-40B4-BE49-F238E27FC236}">
                  <a16:creationId xmlns:a16="http://schemas.microsoft.com/office/drawing/2014/main" id="{CD5CC1B6-A377-DE6A-D2B5-67E572A25CE6}"/>
                </a:ext>
              </a:extLst>
            </p:cNvPr>
            <p:cNvSpPr txBox="1"/>
            <p:nvPr/>
          </p:nvSpPr>
          <p:spPr bwMode="gray">
            <a:xfrm>
              <a:off x="0" y="876300"/>
              <a:ext cx="3265895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Customer loyalty</a:t>
              </a:r>
            </a:p>
          </p:txBody>
        </p:sp>
      </p:grpSp>
      <p:grpSp>
        <p:nvGrpSpPr>
          <p:cNvPr id="11" name="btfpColumnHeaderBox646786">
            <a:extLst>
              <a:ext uri="{FF2B5EF4-FFF2-40B4-BE49-F238E27FC236}">
                <a16:creationId xmlns:a16="http://schemas.microsoft.com/office/drawing/2014/main" id="{F35EE27C-B078-B057-6D73-8770FF6AD30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6372614" y="1249330"/>
            <a:ext cx="5495528" cy="498792"/>
            <a:chOff x="6366272" y="986920"/>
            <a:chExt cx="5495528" cy="498792"/>
          </a:xfrm>
        </p:grpSpPr>
        <p:sp>
          <p:nvSpPr>
            <p:cNvPr id="9" name="btfpColumnHeaderBoxText646786">
              <a:extLst>
                <a:ext uri="{FF2B5EF4-FFF2-40B4-BE49-F238E27FC236}">
                  <a16:creationId xmlns:a16="http://schemas.microsoft.com/office/drawing/2014/main" id="{0D4CCEFA-13EE-E9FC-E0C4-5590326E94FC}"/>
                </a:ext>
              </a:extLst>
            </p:cNvPr>
            <p:cNvSpPr txBox="1"/>
            <p:nvPr/>
          </p:nvSpPr>
          <p:spPr bwMode="gray">
            <a:xfrm>
              <a:off x="6366272" y="986920"/>
              <a:ext cx="5495528" cy="49879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 dirty="0"/>
                <a:t>Likelihood: </a:t>
              </a:r>
              <a:r>
                <a:rPr lang="en-US" sz="1400" dirty="0"/>
                <a:t>Switching likelihood is low across vendors; Target customers indicate slightly higher switching likelihood vs. peers</a:t>
              </a:r>
              <a:endParaRPr lang="en-US" sz="1200" dirty="0">
                <a:solidFill>
                  <a:srgbClr val="000000"/>
                </a:solidFill>
              </a:endParaRPr>
            </a:p>
          </p:txBody>
        </p:sp>
        <p:cxnSp>
          <p:nvCxnSpPr>
            <p:cNvPr id="10" name="btfpColumnHeaderBoxLine646786">
              <a:extLst>
                <a:ext uri="{FF2B5EF4-FFF2-40B4-BE49-F238E27FC236}">
                  <a16:creationId xmlns:a16="http://schemas.microsoft.com/office/drawing/2014/main" id="{BA14DD1E-1D31-180E-0E93-4D5F4B05E53D}"/>
                </a:ext>
              </a:extLst>
            </p:cNvPr>
            <p:cNvCxnSpPr/>
            <p:nvPr/>
          </p:nvCxnSpPr>
          <p:spPr bwMode="gray">
            <a:xfrm>
              <a:off x="6366272" y="1485712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btfpColumnHeaderBox879103">
            <a:extLst>
              <a:ext uri="{FF2B5EF4-FFF2-40B4-BE49-F238E27FC236}">
                <a16:creationId xmlns:a16="http://schemas.microsoft.com/office/drawing/2014/main" id="{F20A946B-CB15-4232-9BF9-CC211C0541B3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334963" y="1263791"/>
            <a:ext cx="5495528" cy="503663"/>
            <a:chOff x="330200" y="967765"/>
            <a:chExt cx="5495528" cy="503663"/>
          </a:xfrm>
        </p:grpSpPr>
        <p:sp>
          <p:nvSpPr>
            <p:cNvPr id="12" name="btfpColumnHeaderBoxText879103">
              <a:extLst>
                <a:ext uri="{FF2B5EF4-FFF2-40B4-BE49-F238E27FC236}">
                  <a16:creationId xmlns:a16="http://schemas.microsoft.com/office/drawing/2014/main" id="{64AE7BA4-C7DC-7AD7-8091-12E978C33F82}"/>
                </a:ext>
              </a:extLst>
            </p:cNvPr>
            <p:cNvSpPr txBox="1"/>
            <p:nvPr/>
          </p:nvSpPr>
          <p:spPr bwMode="gray">
            <a:xfrm>
              <a:off x="330200" y="967765"/>
              <a:ext cx="5495528" cy="49879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 dirty="0"/>
                <a:t>Difficulty: </a:t>
              </a:r>
              <a:r>
                <a:rPr lang="en-US" sz="1400" dirty="0"/>
                <a:t>Target customers find it most difficult to switch away; difficulty to switch generally moderate-to-high</a:t>
              </a:r>
              <a:endParaRPr lang="en-US" sz="1200" dirty="0">
                <a:solidFill>
                  <a:srgbClr val="000000"/>
                </a:solidFill>
              </a:endParaRPr>
            </a:p>
          </p:txBody>
        </p:sp>
        <p:cxnSp>
          <p:nvCxnSpPr>
            <p:cNvPr id="13" name="btfpColumnHeaderBoxLine879103">
              <a:extLst>
                <a:ext uri="{FF2B5EF4-FFF2-40B4-BE49-F238E27FC236}">
                  <a16:creationId xmlns:a16="http://schemas.microsoft.com/office/drawing/2014/main" id="{860A5B85-8A30-F143-FD3A-752D24F91F9A}"/>
                </a:ext>
              </a:extLst>
            </p:cNvPr>
            <p:cNvCxnSpPr/>
            <p:nvPr/>
          </p:nvCxnSpPr>
          <p:spPr bwMode="gray">
            <a:xfrm>
              <a:off x="330200" y="1471428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1D55CF2D-D51F-1B2C-5DDA-0D02990B7CC9}"/>
              </a:ext>
            </a:extLst>
          </p:cNvPr>
          <p:cNvCxnSpPr>
            <a:cxnSpLocks/>
          </p:cNvCxnSpPr>
          <p:nvPr/>
        </p:nvCxnSpPr>
        <p:spPr bwMode="gray">
          <a:xfrm>
            <a:off x="1828800" y="6140008"/>
            <a:ext cx="3996927" cy="0"/>
          </a:xfrm>
          <a:prstGeom prst="straightConnector1">
            <a:avLst/>
          </a:prstGeom>
          <a:ln w="9525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btfpBulletedList405604">
            <a:extLst>
              <a:ext uri="{FF2B5EF4-FFF2-40B4-BE49-F238E27FC236}">
                <a16:creationId xmlns:a16="http://schemas.microsoft.com/office/drawing/2014/main" id="{00A264A9-A0F8-6CAF-7D16-DCA2E90332F5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gray">
          <a:xfrm>
            <a:off x="2770560" y="6031219"/>
            <a:ext cx="1752601" cy="21120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900" b="1" i="1"/>
              <a:t>Decreasing difficulty to switch</a:t>
            </a: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FCC4E85D-A8B5-A2AF-52AD-FC348D6D190A}"/>
              </a:ext>
            </a:extLst>
          </p:cNvPr>
          <p:cNvCxnSpPr>
            <a:cxnSpLocks/>
          </p:cNvCxnSpPr>
          <p:nvPr/>
        </p:nvCxnSpPr>
        <p:spPr bwMode="gray">
          <a:xfrm flipV="1">
            <a:off x="7878417" y="6136821"/>
            <a:ext cx="3970461" cy="4565"/>
          </a:xfrm>
          <a:prstGeom prst="straightConnector1">
            <a:avLst/>
          </a:prstGeom>
          <a:ln w="9525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btfpBulletedList405604">
            <a:extLst>
              <a:ext uri="{FF2B5EF4-FFF2-40B4-BE49-F238E27FC236}">
                <a16:creationId xmlns:a16="http://schemas.microsoft.com/office/drawing/2014/main" id="{213E7F85-C322-70AB-2F23-306656D89280}"/>
              </a:ext>
            </a:extLst>
          </p:cNvPr>
          <p:cNvSpPr txBox="1"/>
          <p:nvPr>
            <p:custDataLst>
              <p:tags r:id="rId9"/>
            </p:custDataLst>
          </p:nvPr>
        </p:nvSpPr>
        <p:spPr bwMode="gray">
          <a:xfrm>
            <a:off x="8886478" y="6028032"/>
            <a:ext cx="1752601" cy="21120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900" b="1" i="1"/>
              <a:t>Increasing likelihood to switch</a:t>
            </a:r>
          </a:p>
        </p:txBody>
      </p:sp>
      <p:sp>
        <p:nvSpPr>
          <p:cNvPr id="89" name="btfpNotesBox491930">
            <a:extLst>
              <a:ext uri="{FF2B5EF4-FFF2-40B4-BE49-F238E27FC236}">
                <a16:creationId xmlns:a16="http://schemas.microsoft.com/office/drawing/2014/main" id="{79EC4FF6-A052-FA91-D2AB-4E6896A52A2D}"/>
              </a:ext>
            </a:extLst>
          </p:cNvPr>
          <p:cNvSpPr txBox="1"/>
          <p:nvPr>
            <p:custDataLst>
              <p:tags r:id="rId10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Note: Excluded bar for ‘Others’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</a:t>
            </a:r>
            <a:r>
              <a:rPr lang="fr-FR" sz="800" dirty="0">
                <a:solidFill>
                  <a:srgbClr val="000000"/>
                </a:solidFill>
              </a:rPr>
              <a:t>xxx questionnaire (N=425)</a:t>
            </a:r>
            <a:endParaRPr lang="en-US" sz="800" dirty="0">
              <a:solidFill>
                <a:srgbClr val="000000"/>
              </a:solidFill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889F9D58-F42A-13A2-ECFE-CD888849C350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1305" y="936034"/>
            <a:ext cx="281540" cy="280744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D69C11C1-5ACE-AB04-2E47-AAC175E4FF7F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2504" y="936033"/>
            <a:ext cx="281541" cy="280746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34AC7520-5733-FC2C-D245-A79D21997297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3468" y="936034"/>
            <a:ext cx="281540" cy="280744"/>
          </a:xfrm>
          <a:prstGeom prst="rect">
            <a:avLst/>
          </a:prstGeom>
        </p:spPr>
      </p:pic>
      <p:sp>
        <p:nvSpPr>
          <p:cNvPr id="26" name="btfpMGChart438928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uMJRV9/pvQLsiGzewXs/f758nq4c9ePJPnYvlaJVgKXAJq8Te9xTDII6uzkoZJKvwVinwMs4DkdiPWWheJFwsjhjMfB4dmbWPWkzFUxA9OLZlsDZcfB/0vWxNIAZfU+gUrHCnKk5xxrJnHtuusoNc48CMtWjnRKQ6+ZtkNU6nWCvr1GdMy43QcFsmBJmdf3u/k3Dld0moeC8kYD0FNt7lAADEfJCoBdEjBLxEytjeYsEy7iI9S20aaDGDMAwVo/4FJ1TtPMS/c2KJv0ZKm75PA5Vy7Zwrrvy3tPq58xodBXKxX/3JzplIHDbPUR1SGrt95bI2IpKJlQbReIuhLcx9EJy9wSacJMyJC6PcX5uRgjHmCXSp9KlSO+LZQ87lPpf3yQEuj7UNZy2KL8O6KderWl+BpG+NuZX97btAqPaf7LJuj++VZvTtaJu/qqpYxFIIAZa9nD+MezWqUbYni1S9ArqnDyBhd2Dr1ILgT/aAhxO7bQXI7lY774hlCA0SD5EUV7J9wgX+r8tCtZxHRHbTu7pTr7nZ5jcojDahQYurHILMZjvKuqp4ydgQoUFBjacIDoJU6X/ih7QIgLdKMEHQ3hdw0TbTPJwapuoQSPEgarDW9Zp7QRNF/PRwUFYfHqrx6UOSwPH5IrbAvkEbwD+QzfknlL/KFFMLcJBY+O7N7CzqL+vC5/6gyRY9Wp+T+ejQ+TNnxOKDjz6gtaOK15UQwpL7nWbHTWlU7Gvc43ch6wJrHWPlPz9OBdRPs4x2IRkQ2lQwASTQBvSeRXlBAVZTlh1GgoTl6q1MHepY/r5JgxPkUPyISlu+H19sJyT7G8SQH2J6doIuTyTK+JCWRfKFgjfRS9wKJ0XvlGyc8dBJZIa7FB/KPv19br1ykxqBcVjtDq5IHiIEXiz1rZsLDt3ZUyipb+1dgZfhb2AL6J5x0cBNOudA+zgYaRXryQB9odudupa9qOlpIlobMx/3Uo9YvjKY/a3SupxLDxB+E5en2pCcTkKYfP8BsYblP9J7Mn+ExsdridtjCYZno5Ss3rruPWRyw5QvUPv8TU7akIRbNgFr3ILvKUzV+idYCnXCqbVg2kUUL9IrnePMkNN92k6zptEGUJMThCi3K8BuMVme8vw1XMvImUaCg8Ea2ZdtQcHphax5mqOujkcfbKQjvdMICdcwyCXwy+KGUdTcj+yaxHZo6zWqIhBBDNvCQZuGrDv9y/NxT3utVcIsWzzHsIllrPkCJU8RO5uRWAFCX5R2tcfUZtGCvbYX4LB++X+1M3IkUWbt+y3nodWKVTbwtnvuJhKjbJkUSYoMY5jaMACo0nk59bnX706KRgX800/l7iVy7srQbb3YkqAf+YXBQW3PnAgfpqu5R0uK+PfrtiEd6qh9WkO3f4rvgGgFx2rCFRcZph/vb58th74OSNrUMsRKHOmk6sMAmPfMmz2PdxFj11F4v5Zn0N5dhLJ5a4uQX/CxIktqG/v7kbQsFuR6P67kOkzqoHsC8CUJB03nXhyumsopunSUO8xn5KWu1iD/VokQrFe/dBSWmiZUrCV1uTZijcibxxxLVTiWpChNPxugCIjXgBFrkH8mLNISl50FN9aHCybSRBaThjQpR8eUgauWI989DPhehuwW4ujGojR6d1tOn89/Nqorl5uEx1OIVZVaMEqeYkXg+rwKSP31fOo3pi/+pZbBeLLpD/eSa7iSTQOXrEZbnviAEavBAXXubsdgt4Cpw185/EllVCiy60lk0dFhV4v2pC6G5zKWwx+/rvPWTphG9ZJ8sc673I0aNVIst3nJd/lFlDJ8eApytI37ylV2h5yK+K2WuML3qzqNMPYoQyf/qIPHFxs10X3YhdzWfES7rsZl+SxUdZT7k51RXes4wuGkArNgddSZAwDR+lw+i+LYyuU1oGXtuyqUFi4GkVcrfYNL8bkVfotMgreiZSTMNJhWI1HC/Cnm2tsL1YTLayHHt13ddaC5uM25G57oENlW/IlDYz56QKgcKu9KIYzO8PuEeHFarEOXTOMF2hGCSlJsdsXyhDJxZBQNJTh/zLv5AvD/5VP/guQv0qqPeksTl32h9KFJT29zKUkjXePtorIbBGR4SHFaHXkYuQjwecmmCdeFar8dCc6eE2o7+4S/I9vCrxvTnKAtJwSkN8B1bULpHSjCLfT3rppbtjVog2ymdjY06ne2UfYzUHCVOLc+eiTnH2YEn0UAz4kc2dCasi9pE3QFZxvBfOI0MrrcLPgBSdu1LrvvnxtHqYRajKJ2UcI5Eo70bNZbmy90d33XlxEYLzUNSXq9gJpn0xS/nABU3sq+WcK8nqoXd/aP+a+BoCVQeSYcMCs8AhmdIqy8S6OKjpDxbzhUad/xwbN+vzS5y3tiMZagnHfP/s+pgq9H79fsvaqSxRseraxzjt0j7QNpAdihAmKCSfFaahK0LqFts/AOejKDXjvOJn4t7hy9ogpi5CoE/fqx6GB828sQXqKMnSfEOF1Bi9Ha/eHN+p+G9O8R0jT8E0HOWCLRTzIv4oKX7KZtnT5LUahk2xd5+GVFPU3jAJ0VLVkOBdHuRgKfXgxXztedp+N9L21eq/+9AEJ9KbmEJtd3Q9pMkAMNBVfw59orqZ9COmXAnHZpcu2we+EuzSIbRz8gMtzl0yJVlghQDq7ZgiZOWrGeuK4Mmwd7epLEzStJJjfiN3t+wwR/xszKnLHSezIGDHadgzGjA5NC6IaBowP1EDSIQDbL9VHzCGk6KHlI44+3BtXCbhHtkYwU3E8k74BzG0Al/1IocdJPr/Uu0jLafj3tgw5lsgdkciEu7a+UJDX3z7kTEaS5A1GTN3XzWFOZhmXb4mrMLSj4KUNeGXaOUGVriho+x8HPB5U3lM1zSyS6m4Rp2Fq/kZvc2oG/MhRRD5YO5oI/A6cyA1Y7Pp2zmhUPvhtkIqINSSfi1I3ukEaD3y3/eK/RRz8zeqvtSTQVDbjBkccAkBYIFIJmef6KGqvCyfgdt2ImhVV9Va8bI1OhIr+qW1eudZGQ5WD/UdQOXMY7Z4BphkVc69xBEUAwNwYyWEHGg9Qs9K6Jls7tZ3u6rNdS9+1i057zVgC8eueeUusw5STI7R3Lk758DChP8Zyf8lByVbQDzo1l4Ph97OQZeFMqsKsy0A7vjS/+q8G4HwVnS1MexN8prxH44Vb9jnrPjeYRKPi4IPdTgVUV89vrWeyumimeQh7qNiNXapPCezlVkFf9hIXFAwIzBaqowaYn1rA0nVKaq9GX5D3BjPkrNus4TRsHrmPhrg0xuRb5tIIs6PHHjdPbF+FkoT24tgHYqm4orRe6unZCOA4FTzOIvTv7VRRBzHEztlshWvmlULg7Fa+iow5w0FjYwQqiTL7hXtmiDMMRlJs/F1HA2Cm5ebDm5Sw7yArve0vBTejU6GK0aObl84Hdbclr4Uo2xDVyB1OsrjP4FN1O9c0so9Ps5CIlAOEn7We+pJTazBDvPwFSxv1aB0D1MjmolT8sc+U6Zfcv8DPQRqF8Yz8XE677yoCkocNKIqLG5Xv67x0Rov+ck5c7xqowCRHHodooNAXNA+CMWjcoD1AYWib6/65Wavz/OkNvqKK8jlycGRHo4xL4xMZwHv2hPif0S+e6jcwBG5KVk8FqHgHI071oQ/0MNuLUJShtT5rITlGdbyR0O5xnzLetmAx65MlJiH4RC20pbtOS9LSriy3Z4SANbNa4bN+Jbz71p/MTiqox417lEBb25MgE6EO2dmXpglh7P8ak2k/ARzmarPPcOzGgQE3iXAhKE8AnNlLbTBgQIsd4o6cdJ6Dyr0pCSX8zNoU9Nu15CFJ4MuMdqwv5W4ToVyVRghUYEddO9MA0qpfRUqmujBJR1T3YFTnf17AmMEqSPrU4C7M/g/E9o2FsuaJE86dZEABRw1meNoG3yDuMYkClweOUph3GJPrVHhRZ+R+w8ximV3HDEUKCDOd0tDRmqrujdlS6DjtnSl+Dmc5lGBGXg4swhpn0c7L5yyzYIrZo8HG5pe85durGux8/IJOu/IV5mQK2QMhBAWGUWAO/5bWa399mmj31p3qdpSY3lc8EZM5c0jyx8lDpvQlpGq9PhSGNFnzlU6Owf39L5YonYuIH1IqZFHqNXm4/Mys6OBJ/YCVsDK5SjdaTgAnJErzqDwFsUkzIFExDHcWw0PFo+lvhJ6zlkHBIwJjvx20/qQvA0Fm8E2YVrMr6fmgOjBi8x5nZvU7UsI6NM/dow9u8Ww9h+4oe2EyThlCxJCm7b4aOXu6YZXAqhAWXubTXO68Zsh39FVqtaPhQgl89VJit6WgPVKq8fs+vjVPXohdZtdaoBNzKY2tDaCpIlWH0axBzWZV3nGVismd7ZT8t5SNO0jeHDx4LAJs6lYlQXTBQUK6mPc9ThK++4EmSkfPPzpkJTHnCsMcqtEBuhEwZsHlTEdJAw7B+4v1Y8O0QGyOZawrLzW9EcpCb5wrp2a+xMvNK/yJslSOlKLL90ic1sZWZXtJIAzz1HOf7Ek37Ze1uioYgHVdV/qkL2/5z+G6gfd8AMy4JLFBglEjprBHCf0fTNn4MPC7bCF0AYD57N2OmeekNpQetL+N5P5EVqkQ2UuCbDx3eIulY4+yyXKVqWA6ZhA5WGnjXX67PhjPbDztkCJmDcX0iynFpoFta0PynR9C4zQjI5xegZa6x6R4DsnscJW6q/NzN//9vXGTqcVrgG2+ErslRyzkabk6LoO1eO+s0miRvkoCGx8Lx7A5tR+En55Qpn108So+kMJMZp4Po2hdaRUN7EC1Wlpbqp4kucCKeHsZYYPL9xbptosGXgmS8oSm7IkgxUsUbqBCEliLGs5jOI+27cgR3sIfcFphLTYMRq/2jBHqF06FMxP6eBuCaWNKe5M1Nay5AqWf/VY+z45PZaRBHCg2GegB9P7TRpt2M1b9nBNhc5dC7RglvRe6bKbA0+6rt5RbxKKFbRu39EVuVvpuUejEWqu+/P7/zRchy7PiBOKJKZIbxS6CmSAEs65y/Lz0MRgSE38+JbMVTBY58YmYQjPk/zFDZPNkkAIGQPWzUrY2/PVLuRtoadu/LqVJOC4YDPuLuoQ0hOYrOFRq+gp3vEqJcMQdEDgAKzwkHXcre4F6I0WaKus+lMAE/G301vBACRHbj30dk35ItLCFYZyOiVhnnxmreuVUB2/01USMdxlMZYZmC/wWMt2crnOP68L1+cI1a8mYq782XAMhEEGrjZmYYXBBVdvmzwKO5XbltWRURlR27PX+20MyUE78Dcik5IMF0xwTJIsQ/lSLKvOFQ5cIk2rHsvP1URGWD00h+H1+X+0EG6zn2Yww+qQt8BhFF1dwLwzPH/w1VqjLwAI3sU2Pa6sSG7LeS1s6Lo1eNRNSk5bCodabR3JyG+PXcxlnL4AxKpZ4UI/RBz6D79kDmfxnyiTbw87CoQD7uNwcyojouiwhiHBpNYgSn33d6n3ImJv+8nS1nkkWjszrwlIBU8D7rsEYL1U3ZEaAV7DdNrykG1gMNH8E9+mMZRitBl+eKiymaK8bV0N9XzThmOLjX0ALR7UE1NdZzAgkl/1o+JS5revpQHHNgK7k+RYp5ykLgeVahkg/9ioEC39vchho1u7744fQEeGKIsWrGW5gbDUQc6namBGBxSmTIyZB361dwQPeZiIkuVhRd/M/vmpnKrQiqoq1nIaDo2Xbxu2u0J1vOdllH+gxiAkg7YVrNadCp7r0VDMAuBBBWPKDo5SZo2NVEfcGB042Z4wBgZosBce3VNpFweRayt4lbKe7ElYqtoLAYg5FX01SfxqQ/XJWNbbl4xGhcTrVqSx+rTI4W42DGCfV5q9Ebclf2sXnSFuWuAdIwO6aRK4ct0fbxxahMNNo6cWjaxjYgnZ66PUPhPmXOYmmsQjI9Y/Md9TQRICCOVkFj9982jx6f+oqehphIYf/JZskQqKsQ20ojsroGp6A1fmscTCNI4WtZIiRMZcO0A97HRolQijgwjXT09YDsyqk9Oh5W7UKRGMemTu+sG3rgSkgehqG20dmRv6skrVRaOFPiqgKtKyvNhI4PdFOErlSzaMJ0fn/rwNOvtpqDDzNfM7oU1nPdZI9EYGlVXyeUHU/VgMyk+H3HfNc+Rl0cwspCojX8gsVRilSHDSZCMxI/ZNBGEVIWCazz93QF0IcfSHQrFv4ImmKbjSytZUDvGoxOAT+ghCUINdZs1fxARfPAis3U2N6eYyh8DePOh44zpYRny6YFScPLj4FIpyvggfPqaeBpj/aPDsoopf56IqXd9v7oZgQrCdXIlLOnHVTeLLgmQk8zSJTC0hj3XDRDicOL3XaLAA5mqhjeKlL9bdI8Ss19BqkAfeNbvtFa3wO7s+IrvVom4S09EIDL8yvSq6TKnvMuI4+U200/Q4TspLr/uKzlrG1r9hoyIQcBM//dCelZ4IFKg0hkhKilR45EpKBKmc292nCoWXP6GQ5/JcoK61Md7d/DkySKqO5mIhkaEqby6X8UMx+BfZ59yPXAKNeWyQqSERr3Bpj4XR1RnTEa2XH9CZJnzByM6n1oEuWVCsUCkEXgxWHBe5wY3uu8YRse/bCQzyvbBgUX6j7T+p2KRY5qDbk0jAIw3cBdxaWxRLNs7yyed5jXCXD9cMknKbvDON8bDDmNRdiytYg1KUfexxdzAL+SKaXkj5BjB3rmPjRQ5sVdu0XfVFIPQXe42mwu96sUozq/1qJfKEBPvzU6169CEIv5nl4yq13nhtZ099Jauz/WtbeFKAlZP5LetChq2KrleiG84epsJEh8/P1ano3LKI4a4lE6DWv0SV5dX9OKLkpHVjb9ltx2oHxEoi3OLl+JO0kG0Ogefb0KIYSz34fooUXHg/LS8AfzCTy2T+yMNmTNfyNvN8D2mOhTgP/TqHiARcvNE0HvypZFphXmA/j9g3umu97dKZHGr92GROCABm99DjyxowVUof7MOxP22VUEV8dCO0dDWIPz4f9I46BlidIx/29pVe5T3ZRJNqsNJBTkiT6lwDCgKHoZMl22Lnii7TzoBlVsio7+709zNlrzeJwvLSO4nUMoPpKPwgeK5Xj4GBWKPbt+L8nPnrqDdTi219E7nHzgIoNTR2AD4BUETGUf6vVhsyfalUomL1Ut/XzPPh/hxj75yF4OaeT1qfsgi8AIRtraA1KRdg0su9VpKzgdka3neqXN7sxBjYJRtzGkJ8svmYkXdbBKJEgkJq89KuKhnGUuGmKbpqFLo19RoMV+4A1mLr6MFCDEnxSGFvZuL/1hMrfDQd9nBfzD/KWp+oTTE1GimchHDPNQLqTZSTXedORWcJeeLkRKgCfzTq9KOllC6fhXYpsTHMYJ3ZQgrlkeTuAIGtsNN66kXO2Z2/glGxb2XpUvhzrDwAR+1r5AQ0fzbXgD7IwNTdtTfQM7u8vqTDel3vHONduWhX1OWJUO6SisHy0EjwRan4M1Ws/0TEyAofQ4qkvCx6CTTMiqGEaYqVkQQ0EO7v0NbUEKuMLEZcp6KlK0vijuq0gw7UAwvOGjOb7ZIvO/h1PxPlpJzenNQazQmlgVin6xqPFVX4uZbgAeSiXoTO+tnt8Vnv14RO7GB31L8cGKiz3AfpCqvw+f5SvI3NlK9ZEXHWVMI/VJr0n25g7G9gCUU+kR8CQMwQahHV34P+khEjOwjS49o+sZ96pvNf6fLjBDWrQRtE8ildkuyn+rx/1VkHJQqSk7K0pfPqAThYKLsZ3GWdE/Dg6oKH8MpNsihDtUhhoeL90wb/723oO5r6TD5gUIQAni6+Q3Qfj3PEwKLan190zajArlpLGpWWTt5CFOtS5ohVDA60bOYewS8wyUvE2V36KokDzDgBopLsUdNc4oIiYQEmTDd9kHfr5gpjPdGUhOT9lkZEYn+dvpBHF4Pe+wK9Im12OKaJl6RCVUQ5QZaAy4zmyVuVrjGW7z1Qgc5uG9NDzxoUq9/xbNSBXC80cyGKFUig8JtNyHS/JEBGGY+fmi5CFqttdOD6NoLVxUbUDmaGw1+unKkWG34D5vzMqYx63FNgwgzLk41bQpUFzxKTO7SOR0JFrw+pj2c0+9HnRm8l60AXylLJR+j4rENDWhZAHoL8/uRZalZ974oZNIFZ2xxUi+2zPx4Zh81kURIFpH6ZRMAEXTOqffJCG22mzePgLkU2ol6q/1qurNWoeRkLHmQvod4zJpH48Qirc1Fi9c7sB98TQW3IwtbKMS1Dp1PDsro6zNXhBFfappPXAos+GzT8zELiwytQXgFqBQNhoxAbopIldIgB+vPSKuUr3yctqWjrGUbgxX7psFZyepbWOXSSsWV3J9kgmwHqmNsFwwhxh3bUJdhWh38j6jBgAMQ1fcbpO58RnDKQkwh/5U/knmlZyAWGEnHhtWGXsKYpp3JO/PtHmn3o54GCsQ84jkOA1Wmao+McfL4yehfIzurxH4eByDCNsHDqUK2QwZPIXmX7z34yYTvOy2MXXhJ79kiPCLxVFk0oCmOFTjpf/JFpMEo7BIi1d0tHtDqaBk8G98SQwFnVvrdzso14Knbf4PQqjdDVgPSwmr/60XQAQ87coexhJ99aJQUS0y0sS1coUhYXBsCU0KCHtNpyqw7Ktqb3SbY9DGmsREaZ/6J4G2rt7cWRKHWqeD+NY2P3PbyG4lt7fKLZyqIl+EmBwpusIZREAtvr4VXtut/XZ8y6ANSxtsnqhnYN/oGPzfsLHQLOp9ZgcW8QIWvmkft5QuJG94br/bouSbSsm2OgF15+9HInNJKRubwxPZuDJx5y/fCQzK0H2nEhZkcynhCtqDbzxGsrZ5VD5KknDp7lm128Tvo2+GClVXLRiuJMBSATvJI4/6149asBg6ZQ2sdcCQ+Jx/8yz+XDfDUvqGkuwEdi2QvqLwwN1l1wLs2fOyh9rKkQQxRuSFo00aqDDExhKoP/inSMio5K/5XAPGoH95LLb7iAIfgrDdWQ9yvhJH6Pu8FhfPvYWiCSr3ZNeIr2yx8nbYufbQotK54LjVTM1CIzTxzTQk5vNnrXKnCNsfN0/bqs1sWA73meFExuBFqtDfqcil5ldw3fhO8caHGXT4WlkZR9/suuQVSBzwnQ7DhflLCOBAYeCE/C2kGc6h0E/soisGofDPzlszHaCzuo0T+oq5Bc6LaEmOEBtP14EP4mkIjoA8OYCQgxw8Qcn7Ew7Qi21nKgzZhucRNVyAN4JSqblPERB0kbhCs0540ewZvXCAbFS2isNuY+xaUu0rOSuYWBK/l77Ma8J29YHxruDP6W/5Nzb9JQUTOnfpVJHBsvE0uVav4MKt2CB0kfh+nKTFFaXGAvt0OWGirm/HXHtChmB44oSHeA6LIViTGQGRa0xVio/bypExbjQhVDPYfmmGpLMAAQVz7cHK2Z0pS2cikJdTPTmdVws5CVYJrA9cIjlS33HYAhm9s7n1Ywp6NLz8XEfJPMIzbzNbh+MB5SGSCaSZmX+7g7iEip/aXEHreqqYjAK/76Iq+KJ6APMkY3d0UCDspel8F2vjcQMw6eYwvK7C0tIuhqY2+WZxqBYUNdf9T4pObzpQmTHsj3ASkdUWF1eVsomLb0rE11GUbg5tPZ0V79WBmstyqsZG/CGaxqQkpZj+luMjWmoBzkaGnx3cSZ/qOcgUS9FYjyhOYtQA3bxsz5d8v6tT2MYv+cqRc4UB/RbRUxQBrpwBoyz1vY3zybVRrjv3dsz2LngDfQRQYW7pe8wGkcpUJWNVde8hRNO3J434pmcHSCpO31dNCadJ3y0+JkAFWXW557SQGEGREo9uAkqzAdXcooMHMym0yl4DPvpK06BcNMmn6fpCi4D+IkRrIE5tPPm9nO47bEhZhPF335GFwjNOQmUdKGyz8yEhup4L3568PCILfCd1g9JnMX6FMH4HvmNTIrMyqCsZVlacNu2dNUZ41IR46SnMLH0e4h2TKilf93q2Cp3vPIZz6bgFnnniTjPtU5xivjcJhW8U195/onbjTL8SfUIsFY5mTTL4h71RCKSC1fNenpHybKFOgnbmzb99Saa96NFM4T5COIpvMWX9rAwyJFVOXgqw9gx1y79/EtMORJgawspz/dEB0HjZQOlBUhiNqckvvvZ0yDyx/3BzB/movfGW2mTI4MxmPZjfaeWv0iYHfDPSu3h3nBfSxTLrdBnGWXCO5iRZxgHldQUxA9yQcAuPvlbVDLdfIsReKT/EIl7y/dJKl9nn6knKO53Rc5VbiEO58vW8NCb94F9hvKyrZQ9MWOYMMjHR4Xp1vmm9LRWmZxtVRqbPMAx4MtW9q687lPbCqV+OWk39tIq5XSS9Mzu7DLumrOX+guhxwEy9ZE5DCYfKna645b10sXdSXt4lM7OprE/XTU1BP1j8+WT428uekoMzASaW/03GDuhiRZ3ZEpdQ0vA6tTZ6btQCac+1KmDmFvHiTfrJOZc5wUoUNbPRfynfdyqwhiK1BiJV9YTXoG1W1iVja/H6vdkAzEKBV9XsnNW8WCLM3nH/AQAX9RZkSN1DPlkfte+i29UzJkf6hc3z5H7MS/RhWrATpxJ6Cw/xCYEABKGTh+BYp+gT2panEpTasuMYaTt7q94ad/rFXcr81CRTyoXUXD12x7h2tf6LeYc4sCUPUsfqQeouuZao7FAsOwkhrNTfqXHEBLxA7t3vg4mj16V0lEtQjLdHqey6yBPSTCGvIfoAsqynwUKhN0zoY5mzih92xVvBZjS/Gmqguqb39Rz3A1BPV5840gSSiEREZmMBH2PkWS7Pw4wypRKFLcqXdUZhKNb7/YPk77VufZUeSH3ZQOuE9OBhdUY3aMW2A2AMxj30AXms4A+2vqQNJ1uZWUUTLbMyo06H4mJFhkCCryS9XYXSg0/aOTXOpdVCc+Q4+RDaAzPToPKP8Om6zCFFQmITe5oT9vdo3H+i5pOvjavWGDSdElPE04z0qTSG9aIcJUyQGRKhO+Sf80KWWQdVaJRj3vbhFdbSVKjuxeJWsCLDMb6QMbFI62YrWNQLRlcAViwEZ1UdAaOIEYsq8u09or62le4JzENVGXSU7sBLSYYpO3TpmUqFXYczbClVmcxQhAq/+aUvVFRz9nSP5Fewmpc6yJywY8Ao1FRQ1s/h0CF5vv47Fkub86siGqhCjEfX1e7vdw+EH2MkAjnQEWUBiiUMltVNC3DH6DXQXvXXIvJWuSE34FuwSDKU2xyrfcqFgkZI7DL3BokhuUlau73aZdKJO237ZZ9td/y1dFRTp8kH2H90mGn/XxuvL5Wgny6NLVIhFionTAj4jKr4Aw17Hl5UpWNLoJZExIPprp/tWYx+Et5ysKC0rA/CLuvPakpLNBMvSZRQYcz/ulRlg2QD770CMency8aP+LWwlIbz18AyU/79SgMGLYubzzQWCIRedxOqAHFagrnwcM0KcsocpGTGHjKyGgxQO7ngTGRIrNnL71IgpBJclVkPJpgmpNdjTxIwHrlBeISf5sWEd/a+wI03d7sZ5LbrdFpWHqre5vvuKeF6+wcX4hH1yS1tWRXDRmc+DFQ9NoU9JceHUNXQlO31Dyb3wU54XXEt4asdv4zka1pTp9RTt2kiUlap04rJwo1dE+M6LQaW0v9NUcNZzuJYLxIqd0wJdCQkWGiAhBSTLXTa7SZ9qhUwEAY5EKRUvhJ0IMToyPdVVrS/FmOA8g0oGRkvSB+lNwhQ6/UUgnWSbpgbhVy2Op7w+jVOrvwV85ZSCqdywcdhez2kEbuXzYxb1BR/wu2nKOBEi/g+aF8kFeAGJDeN1B9OWKifK5sq6mQ18SQm6yznv4IfyEmqIjV3cmtKzqGgkZs09zwrGwUUUKTtZwpnh611pXw74joKCVXeFef373f3GD3f/GqqrzqcMJ0bOE+BkgZxKT5ZFqgyH9aZ3lriYumSTT0Xc1uk3tzI4ucmUJ3+k7C3dbWLYenLzADp0xEpaEBaCU66TWaMCT6emW1KaSZsynZ3v/efGqHJjQiQelarw9ZriNCwtEsL3fJmat96bl+zCR8UUlp4JK3QnE0la2t5j8VWC756BAiTSU1omnwfDNdErU+gucS12gkWyW1AYTenSqLIblO261+TmAuvW55AAPMBsXTU4tRaUSPYlZfkPRFMJkZpn1GezbqJmJJ9WhZqJYC2W65CD/YzEcH0bkBjpESwcFGEkEUw9mOO1v2wH9Ap1s23B7vae5eK46tsRWvC8geYkDgZeQAXLKaqD0VkDiStD+ktAtsGz50sPlZ/AqJt+S1A8hxXT616b6UrgYmMGbi491j5rLH3xYdhruGf8LZSxpLyE4tPzjNts1heHOeVaIwoQ4vHv/IS7y3j0RrhvnQX5p6Szlg4sBnJZ8a2QKk1QjFIqQsg1hoHKjdj1/00blDq+ULWvRCy1HSmYmhPdQBQBjfaI7S7RsRcVuMPHVKZci5UFlil9/9Mv4ib2AYCQYxLe6BCU3Yz4EB3FKqhiaOYsZfm7BiP9u3wx8NiyE3v1uXGX8eIKhGnhhO/EN899N9Srfq4e6cCtL/id2ETDaVx7m+0PIXurb43e90lWdxLQuZ5hDme317FOT654TuwtOrs+Zjf/o7n7eBYI0fzsqQ4INALyACAr2ARZiCOvNDTc5Aferh/ytBJD/fIVutiqLJ4jN0WBF4eyFoS6bRhCXdPeqNmXYV/6T2pV+AgTKKqlynmeEyPmAguw/VBnCvrxn0mBZXYgtVT2UxIZ3nIgmSaT+C5mE96LGGoSdpyAF2hTgUXBCunWfXWDOayU+9bVaX0GlYo9xS64bsi9cLD36rxB1qlDKV5pwwfSyuDIzlAobHzrhU8g2gN/NzZI5Dh6M8T2tCEtuoabjg0LLAWwNL5Q+QQPNEepcKN2it+pv+3KwF2tLjmzCpv6/klqj2PViIgYKMsSJZOkAQVm7EOJoNQgewRmpEafGJy8MXJbpZ3pGrj9T4F6G+AeTSuCUEIyOebt/vHv89Bc8j5bs9SX8vtaRf+hwCcLW+ihkhc2+uX8w9pvSlEUMU+W2c34vVru2RNgZ8/jjb+vJYmTt2xSGzJrz4h2PgBExQfPsHJUwSFn6Dsh24iNvJ0+CeAQ+Lid0jAfCqL5uWMqxDVWcoBcMfdfQJr9Jaj4FjKZFVKLCDywMhCT/7DFRqKlOz4f8OSGv7Qbociop8qHZwNR6674XzYRrpdIRcaFsovYNcDTIKd1E0/qtLcBgU83o7UyK5LqNAjaUSrHJZDeUIIj4x/iwz0XrtgIJkyAXZbhzt/iKmFDgsu20ZsgHCFSG073NK1vnc9umhBSFMssn0OSIEyDL4yAO73Jn+a27J2UB1cI1bH4GeKgRCs4eNnsxTZJIztmUVwlZgbriUSWRMN1ctTaKgCwzHhSrnLBLA1RZBfa+cieMe816XzRybMKC6uBAgGYspSxPNvy5+d5dwLHkAqMpNN7/WraEN50r9YV8ROR/gYXPk9Y6Sym/X6Z7TiVhqwjAICvlnjGquIopT6euhUM5Zb7fQiHXM8ZlRqIP51N3LbW8JxEUrpSiPfaXw34XC/W046C77ZXZ5hi44V32hynWHdrui6K92KH98RkqxUzJ76x6/4bmAW0p0dpHjoIo3uY/uwXzO/x41g70/OJFNFoyaP3/fKbdZoeC5z+fVXLNmIa9QQCTjdAWb1MAUqovvPFZe/OBzqU5gYhS91o2Avd1DAdYlty6hYtMEG+OIuVTQDraRqCphjdS2Y/sse3EMtPjeXSmsy9uqIkWsDnk0GOlXQeJ9aZpQa0l3ZoM/I5LOYkdGpXL67xMw+hZHTaBHtZET4yjPYNqU6cQ9zr4rlc6aMXuVfBlhqGjai065sSEFADt5S1rUn9bSDj0Gc4OLBsGb+jfVQB2fogvuf4QlfYPcu/uSMo0X/TntcuUZRTopTyMoc65258m2ADeeLf1qKZqQIxEBedYijWX8odNeZY4VeVNVRDOE3BFxhf/8XtRreHQaqoxhaJf6178dnOl+jCzN+gZoX3bbBUDyb1bxzOoHGS8uk79XCqVByycZBb7yRqK3l/blqZZKcr5z0ndGAGKYTf8hGRHJYIEQdPQJ6jeiQ1NasC8Pw1NOfEBoWrLAYBFLpX9qAzFpu9oW7mx0O/3foIfBlRWoGJ/H07Y3y8G4VaSRX1FNEhaCPeGkv+mnSJUqid4tr+biilVxgz1ubn0moU82zl6XgvBubpprQw3K5lv23XPGmrr4VK9+f29y5cMSSzNFJrQYo1D/UdB77gW1CK9pvfwS0HYZnVBmmHLPnG/+EJoRqB9kp33zooscg6z7kFIKd+4vADtM072brexx5EEwaPmjn2c2eagip23C3COR4YIOMTQ/91sI158LdXuKnAAyq/vpSRaqZKJcY3OsQOekcybwPjbYRkLvqWEU3tQvNatwNpE52BLX9yXBsiW7lkBHV80vkQcyw+tu3OWX0I7LkjKEyrLggXXXdXKEBQYOwR+FfjZR4fW2c4nU+p76+Mvn5LdWdK4RuPGs42ww6DC5fDrH4spLvdCzFUDgi0hRS2cHh1yauroh8hyy7eSm0RoQTVqYfOiNN8nFNlbIWJSAlC4EK6RDWiWR9/chWt2JZQU9wrsIz8YwHkaNgsuS06hygc3h/rdEZH0jJVacu78c/dzpydYPrSdgBME8dywfZJNLHoybTV+KHqSpxXvA0VUF0Mfa6h+uhiGG5/KErxetGyoAK2UjEwy7Us3hY5acMB8+843JUnnNxSN1HA5uGT7upXCeg7EYBl7N2nci7qO2+PbT9AfYQ1qIWYJTPmJttZrJBetPfhiz1nT4BttX/MKwq0gisgp9I+1ogYTxGCPR2Xk4NF2Z0KaHtfN86PeAthnvHeJoT3G31nfjBH8czynKg/Lcec/vh8LsFv6TXbb7OR7mOHFjYmFaBdbmad9eI94p7PHViLySP7qDQnewvASs7zZmMTloadSfClk7lXQnWdsXBWEGk6ras6K40Plg3QAZzvGL4PQAEehW7g1BOkzd7kLS8X2P+pqaHCC1tJgm+teqT/3FzZntnDsifMFHMSbQ6DtzOzEF66Dh3qB1rMmDJ52Nvxn4oP1XWwNIfNjIc7Qg8X0cKbUlH9/vVZ294nORIaOFQUx16q+CmWYjLqdIoQmr/AJ33uo17dnpjNG++4IFPXA8rweoKWPdVIJAq0N1GcYiw00UnkvrmB/COlFkQi1vTfRwNx0v0m6wu/djZM593wP63s9Dtwg2qFe11/WFOC/PaM7+asdQvV8MJzcLAWePfnykt92daWh4cTSOrSrXyP48IOQIQtl2NlydySSJFl7+Soo1pBMp9ZxgwtwVTdfkE4ab3CK2a5p/WNCXaauhF2s1npOyUl6Z8KjyNzmlbWBqQUvlXCJZs9sQqkodCHJPMIUUR/74+WWoMuJXtsL7h0mEU3+sGnVkAY70G/1+I8gjlP0xPPo4fTpU3AykyX5XJk7Yu6L0LETIF1qvBYAA0KIxyr900I4FTgHbJKbjiW3EclhuxN6FVPqhm01igSB2LnetqFtGE+GQGHsai9tsmnpLs+rBNXBuQRoEuvJhyJrcahGCctQO6IkPBxFGgtU6faONCxrY1ttHo/IuWXp87wH7x8lz3qjGKc+4SRAXRkghB6yeKuUc+NN4yN+9EkiXwmvJX5wFbOJLU4nQsnfyIYWNP3HXwuFBpKb6r39KzjuWyONIrvLuVlNlbWJwVvvI5+OT4Qz/l+LUD7wIqv6S4Chz1MxDYPZ0wBPoBFYwLkOyyMkGUvvar78oVRu8BRRKI/1t9AN+ssj60jwGuh5a6Dt6C6NlQBpJceK/Qs3d1JTA2B99Uoxj6yMUJkOpywoggC/nxWnnacbKQLaSH0i6fiwg9IdvKdv95uYuMbGrKMe9ACr2NoEw3678tUyLTxoKv0GkpJBbwQW9kfg13pyck72c0LbcKI08t3KLVn7IxWyvkKA5Kt6Kem5qX4srhwWjDeuKHz5ccWJRzgHSQgKctpFl1rggDdeiiJ0bOr77SAA0jcwTmrH2+FiQodCHtJk7XDBhxEKiYhnbUMlL3LVBXRHzIFf1SRs4CE7wCLRfAo3bY9tfQzWxiOxoGoHNWuI4hBu8SczIOzzzX4Y7TI3tWC2l8gMVnMpcdc2Kj6bu8p+jxrp7iU+5q6oe/Js/Ct0NC3kh0u3FBNu5LwlTnd/Skw+2hhFbc7+subQGIEOUyEf6A0t1Uo3hFudA6sdSM5pc9ZPWlVz5t1dYfaERu1C1kVSD5RrswQssQOjTfr26cPxk8tnIoqxq133GvIVC+ggATVSctH+Q/Cy6MYS/dhHPUjRXBZChyjHLIOyMhTb7TWQjF9XDroaNU1MMcbns/fTxFdVo0cT5oOx+KBweZGGpHXfBpOuiryoeMe502lJH4P8eqooTKBIV0Bp1wlaf/AOAQr7My/kNPXCV3s5Sf0gUIdLaLd6xXhRnGuXjO2hztTCq32IZCTNQChOuddST4EAcIiQTukKggHt8WNzhXsv1GyF07lDqaB217fuUjR9S/vbHsi0nfY0PisT1LY5O2fKFQDsua5Et/Sqex6/Z0ftsZdIh0iYOvd6YVFF3t58AJp5vQHtvjlW2wLadmKX2XUOeGLJBYV1C3aWMOtZ2aiuUqyroJcRuXEXl8ZI/UyrfWq/qKgEnUNVZiWQf/hmYyjLs5LxScSsiu2xQ7xt0fUg47nDx+s67zKo4msOIrz77MN+YYCNzDlbkf4DmfIPRsS2Hv3Ze4vjaclfLUROB3pfeigot39kUor/mvlVnvStu2W8X1OaPpIMOpeCMP31opt0q6+xQCFt7Cnk/uht8PABuY+oDExKR6UQxc/CGu9pLQ2j33ou5L8kFuFa0dh5C4uNgF/wPZj6s68KU4GRLGZh37S8T1qnTH/6dC9KBam1iFxkrPdK9Zatlul1AGMQtor9OsA927vMkO+5i17Ava5wB+r5kaX4/4ZoSR4aDoA/1/KirokwjzDqm2N7Vnktw0yLRq+EQe+e8ZtPcKJ3K3C2OiwY20XODhnRkH3fsfm5RAtiXXtq5szhd7VGJLDBetSHeXs3yteSA/xjLlUwUs3xt9m5OSpyFd4JHN8rXe9fGBV2mUpcW5vkgS0yOLiyOgAGLfcBCXXZTNJC4rUoWetzbxX1CtjsMzvQg5KEc9aYO5xLfOpdBpbGQ621YRo1aOsLzjbCwbj620yIvQpqmDh/h0P0gntiFCurT7lZzOEHcPstBn+tp+oMsWaRGpaHetlWN2GX99jkYEPeaOTDZIbN6MTidmNK00L6SuIaymZEWyoM9+yMVftZ6hD7bDd0TCBAavzDbji3u8becp8Zxs9pNsecWPHkQGPA6+HsHr0q6YAF51e27o4R0pIfBcFRDJYVLL+78pttaJwPsB/EiQIgt/T/vt5PGl2r6VRh8SeLmM22edt+H9NzIjy+rgr5CFiFHwWcc5GJsZgCtLv4IkC8EJwL5SYhKc7iut9sQkXAfhOh/OHerI02J/D1lXtGd7cNZo58V9916j0Y5CVnsr56LPVeU+Tt7sB95So/XMgp3paZ28BGPJ4tbVexCBFZGIofip+wKdDRBL6/LC4aIXwl/+SMg4bk0D5Lmvi0gVIw77aV8gDQzCF+yCTfdn6VDqqbt2+Zw131Y5dbV9JtomnN2KheY3aekH0nsiz0OK3CPA5QI9fp7y6YOT+GLiZDeZ5wFgyu/kXek7qiQ852P2HCO1hnq93X2jblxBxgjb2vL/0XFxyIC5+ngEHixAZcfvM/bSaGdDckMHTBVNYLZhkxurlHY1t+NCZzBbOfsRM0wGqJVoxzYw8VrvvZA1oWEeBus46vCpnfbpKhPcW1m8p6YDoSfzmH09swervvur3oyJ2uOiXis3zJgFdgz/Qk63hzlsX9z4pbtYL4V+5zOZme5ZaW2w25Fv29hzVyOCRu+U5xvFmlpasPWTmfvFtMDZKYTc0ygg+oj/2mfK5DOZUdadIKxYxKg/kFU146oxxPA8ZQP8pGw8e5F4Fwh7gXZwS8g7/hQCAVFmn8Egxbp1RI+7ryZCppCmCg2/c9j6gPFNw9+3Q7NP/Xr/aRdL3p3wAFVMfuM/jExUkHPzoJGmhpYuGR4IWcBX7JNzOqOTbd9UGOWZKqgCHjoObNa0qH7R2iyIVPLWVUzXWPmY9j0rPC5aN3ELTUPNHmusOjC6m1HQ9xdng1CC9AsI/YF981jvkVC7pPL6LVur3aJIyQTCeal0sgWX3YSTtVWDEzUiYUj2lD+N/JW1BVE66f80B8Wj+2gygb15arwOpvisfTDHnvAolNNJURRoBhl1Nha9920u0DZUMp1ODO9f8s3CoGyAJw+uVyM58NKIZ5pkLv0ILLKideb8cOekcYKoUJPjXcZ4cM2L/HvJbRh2FQz4HGnueAPXEI3yqxWht79UyvIH/y1Z6L90wNn784JyQ+dzCbEB/NXslm8caVjaPJJeqIxCQ2wfdZV9aGG+XMwS+lNl9ZNp9spmtSunCUNJom9ZCUOSWqBkT6RGklF5x5ZZxVIftraPhC94ryOxLS4A1AhAuWfrlATqTcbSKG7YkVzQBEsWwLie6F1iNoLWD4VqzU8i1LJn0YrfJNlgCpG90bBVSTVjybaIFXvNKQwF3jUOTslZdn8BLJ4hYPKwfJJ5oRIpOvhFfHggzlbRm4vIyJ7PqsWB6xQpO8iGOe4ajqBBtqrDLvbe+pAjJyCCH4qJ6wtdLHR8XqUy17GLQRVHEUVnbQHCCqvRcJ2zA8Qyw91PfgWcCcPrNUwYo9HSUdxaMqHRvDQLhEOW/tlwFAF5DZhWLQ2VQwxPcKW9d8zq3PArEkkmXWx+DRHRRnbEhPTN8FZyxcnNK0N/skiV40miz+P0BwmmIuIKgghElAqL8zUuGgXRBKoLnHS2p8HkK3GbhWiiHQkafyR6iX/pJlvMZJjfNsStkvsKk5kPuN+lZylaCI/d0IsJd9MzpZyu/yMnfXmhzXNHj7wHfdQMsU92GMXir26tbgPU5iR5WQKENfimfwyIqG+wMulF84szOvwDatMG/2QzOgDTtmZMvtk6OOB+8tJZ7slG8PXVMm79F870I8Wy8B8BLZJH13FWANETSE/0MhBvdqKctsAldi0cgF0WabszsUtMqPC8DL+vzWvT2UvhF+hTGHX21L/SJPYArolMF5cdh8aV/4eN76AFSPrzvQdK6JL1l9Wd7YvQRXjQbJZp6gOkB92NHTDRHh6weFEWDGP2ax8AObF4XkMXD+J9vk03pkJd3UAiITYOP/6E0zqQAT4/7zP61G6/tvymMEp44asb3vNuvauhzW3Nfx5xr4+MK77SvbIlwMCqL8oEzOU6+BLILVN1mvNDJH6dDkrhcpdCJ85yRMjfJw9w8q0JHx8PTF/SbhLaPVZnQXQrfVs6QYB5hTRZtAhZ2I8TYAaz61WAzSIIJgHfAYNWVwoDS9rFcc69A3Es+nFmwMFq7p0wY3ftCrGzdLfcDf5ZsuuSxx+kFyrvtpxDP8o/HrLdjFnn7bFutNoeJA16CTk4H/P5tQLqpN95LstuBUzHEe5VlExQk+cyOhBT3JROc8WGLHylz+oMy4alLcoEWBKzPQHCT6kbtzOGZq3iEnBnwEzAppLSJmcc8FOsjtLQGt+e8b1Jh5GALf73t7lwNbRnf8gCHOE3oreT9v/E5k6NMJVDnMXDq+j5QprrwrjpPlCuRVmtcQKb0W3YP3sKGjLmZ0o1GmzVUskT0jaq6Yy22XL+RPhPlT4ZpbkFbRoB6X2pwpcSis/xXlqLN6kUBBmU2WcWzGXQ+Ij3Cf98C0puwf5wLntoNlgSprE8SH19no3iByDmCgA20EKOpaSBt3XddUtYNFhEQz5QncYEfxeRwA5r34MR4jORkb00u4A+rfBkNnw27+VVZjhkhgfYLvTQXRR28SUxJ9uWqcV4HnXXMeage6+o7xSH/Ts5zg70+lpZRLFRGKS9YoVw1RbGStgxOMQFQvLI8xD/bDo3lvTImLh6/OfWQdFBponnfUeWghwte0YnmKnxV6Pf3xbK+fycYwLVFHspGff0eSX9PSPY9eqZ0aN1spRJxooPZ1SN9ev2kiIdEBkpexHOMx+lJXk9JmOqCFPnuDUqjSoH+GCkOz3c5YnXioABa4AP8QmqE9gj3mM4IuY4IV8dA7Qu046U2kyryir95cdWZK3JAzvH3+3NJ5PKXHqnxgTcNKkMIrION2e1LOmkQwHpxDJav8AMX1V54KH3My91Br/NaWZXtN4FcUo9BC6h6N71SOt0NwYUICjpJHQeoUTFH3l5roLSPpDinyCNRiCe2IyjOAZtmTQK9U4eLp3suDXiKGVoSYg2i794SCCzP2Mgm8dZIj7RL8i1RKXn8O0KFJG8FpsfEFs/nZ8w9HQCItAhD78P8fqXHrYJId1OF2vJHUbvUKpSKm03woe9cCz0lpRJmorZ8f5c44X8HMukn+uWH2QoWMIRD3fiQ1U4TtEc6Xb1gynfCxpVEk4w+6te4vgjnhCYHFJ0/22muGSKKfHdCeJ3l/cDOkcnU/UtFvkj8oGROjXdRjrIwTVbYTfKAqIkYGiPUYslx7FGWDx9gqhrjG7qgSQbcTGojDe30pmH/DZ7YBLp9dMxFCguuIWwpJNhD5iH4xn3cnnUd4yQiKaFf+++FpwoTJR5oJk0X4K7yjH+ca4L/MIzhFup0snVqbiqYM6f7dW2KzTyJ/TP1QjjmcrmlD/T738nOBSBIXzIMEcsMOSnmG43/WegSlic20P0weIw/t9cPCmhtKePvS95T5ff8OpdpztFyuPz9rVYzlaC0DEKBpHmtwMHGW7oI5j/jG2EEKgrJf+yZhEJILYnAE+B9xNp4lOpkuXbu/3I0aWJ2cTbGHJhla2Nk2OjDJnS/SY0uLydgz6QZvO5fmih0WxD91PG8rHQXfRXiK9/ooJ87soJk24wH/SK9sGjbNg9/DjEBYSzz/4MRxnjC5njpn0ht31iCT7vQkgsTH6sxzCt2G/AOr+itu3NvTN+KOyrrgvXAsQ49Ue8cDtyDXBfGgRidpkSJRjyIZJyYWNkwWFLCTWskrHhDP7ZWB4YVHsD3Ad7wWRC5/u5J0cACZtiT+X+yFSsyJ7/DhJOaLGQ+21iei9Px4RnY1ouy71PF8LDW7dngLsZbb6NVdSDM9M1H/lH/sRPZqgTzLw5b0QkivvnW/8Ma9i086dKziZ1f5BCNvzjIZ5uGzCx9NSv3BGv3rq9czjTNPzT+YhIFKHfc5gKL8aJpo12e6uEDi8boIcTafJA8wfqL3YB8gRhYWXe0uw3vqJ6yn8eNXbzKJztsPM577NtOsMyNMXwr2kONIne62q8jv8ttUfsTlSO4v/K5mY1oj3Qb+ShygfTLvbkD8I3H/6NsSg/mHAx3dZb371FhJJo7sSCK8buNVWR+5j5oMlMTRjDLp7Q6Dgl2fEOvNPmbrlwnh31YqeGWWLoaMa9JSRaqCYItB36kGjGckGHCrDHYBHI1M8Gun5Qd5lYdyjfOnfU7X4DEkqDV4cdOTyMhpj/AFWxSAasH7YkoeY3nQCAEesqFRbUB5bJ0tlCXI2Y72HcvQV2USUAOO/vwB+fB4eo79yzBcIzSOnWXCzgTzNuxF87WNPryF7DjyrhjaEZahgtHgljiBn8Cv2nEe6A18ilZCQKH+ImGJ94inotq7YvYVAAEXXOyXHtj0Aa6Ywtdy9QsmTMFLZqwDHKbue1w7Hk2VwZ5V65roye0LvxcxSRqI2ifygs+xNJat5F4Q5469g9ETknP4U32gWBI463k8do45lrvVTRT0in6ycbVdnN8e31ZmRYLysDkOsYxAemDRWb4dLkE/NAHlM9AfWBQlhIAgBgObNUyaWexlnEk5g2Sb2rBouMRVNV39DcAnPcgciHe/kwdvz893+zqI0D8IEMtV9izYpSE92J9LT1S3JTbFS8h+Te/QGRxzHVFW/04w37UvhekJSLNRKGeHjVK1xmnhAaMV+nH2KsWVdWsg/GL1X7phqG1e09Z4lqBHUBbipWr6o5/BhbvS6QJn4qCu9+l2CZ1yN4GftbJu6jTyNa/WfZp2LqkOljvP0iM6RlITkYO4LEQkbmmqg6cCfm+jQXfZFMWyQYiJkVYrC/wBkm3e7SWY+BJu0W4Sd/GROwRvNkaHPr1JYfeYYiTt6trsKJ1ZhPuAeSArz/8LokY4+yweOewxEx7qJ01s1VjZDJR2yLj+hJJXWNtdDNj8aDHDEU6n4AWLkANxIj0eNGhZvAVQ7VLUNlmQxXfHt++e57BPVSnszjAy6FSY4JAcHAf0dcZOTIBCpSut+YYQetUVI+3dR7eRnGafjQWiryxWbFFfL+05xNW+ofyACEtjyHqv8galMBcrL63Eyy3EjhzBbz+vE+kyernK9992iLhlYNdPXE91oSkTgjOvckC5Jch91Umiarrj32mV+oZXi5NXSOdiIjJBOJdfCFPsOX/e6cD6XbWuR6ldOdio1VTtQDVSoDA30qWLvP4h1lQHOFu64bh2uGRbf4PUVxC6YlGMXgYb9mrl18K8je/pIrKNkK1haZnWF7FjN+X5/F71XDo+ZraGKmlJDPEQqCnSX0Mybz78lxNjN+rli+iqTgLPxnkkpNBGcbtEsIlSCr1ds6/76sHF+fV6ZrTpx/IS/FCW3/E+hOqVc7p8WRaQVQM/pd2cx7jXAKcxScoOwV14BGOqy5TsvE8wWszZgXU+PSn/fTh23HEAgzaSa/iu4cS1I46cFQKa2QSIePJGI0dSiGtxZ3DUgdxfuN/IBGm4JmaQHOA4wdU83iH/8lvaMVXL4m3/v1OHL2dP04Phf7Tui4Wo28NzPaB8x9RtBLNHu1OT7xmGZyWP92DRdPVsHwYC8cfFKmAyfbyuRetKchk4f56SM7KJMIWUkiP3wmZ1pDbzD3eYRleLMGiqhvpAcB7hHiBADX3MkiehyvRLaxj0F8VR/u9vkAg4u+GgJ+gmjzDEgQflJAC4zu9iBV1vy7bHPfuSjKHVIYdn89usNzlSHcKsliKAIh7kx8Mvfb6ZunkKZVzkWixjl+PbBdAw9GCbF0CuqUpCB0Lvhv+33a4KX1dtXz4ovTHhzFh4BOmep+TFGNqEF7SVvhVme24YK0RFqSxlTkH3yN5RQZMf9N0F91GNft6bXCbznF/UR7oSlhaDm/G1HEH9T41BJ9LEMaEpJVTUEL5IqEUt3/+hj/EbtDiFLQp5gidSoX/MoflUL5L3InkOyE5KqUJYhFyNYXAaTt+/ooBpSDk0iBjfc8e7ShT/D8CbbU5e1haF8vzlvRbso8wMZOg8Pm47NPJuO/+s7FEjeAsFAN37x7k1JobubWBMKCVC2Ej/VACEBsafPT1I4bVjELsZ4WIFqUhcMv8g+0eEmWAGxn+JEwFQYqbBNpbz9pSUNIm3SmdllibuZfnnOxcRYNRQHmi3hzUEBNy5DheZq447rcl+IiYfUgWNq0PHXNEFyVNEV9vD1n9Q0P8LslMl7rT1SYdwxKSyup5Dk2T1fUOPhqJACw95D6RovNoFsjAvk/aC4gtWRuE4zpmz7YnXO0P+TNHPcFVnRt+9vSHqD2tUOtzeQMu3J0Pi2E3JcliS8JbSn4L+/KOXZmtQZ6tmUbtpKwN42cwLb0DMcJTvtF41yvm2AdCR4Kv2joZszk3NcBrvYc8XKjKcYN6qHlCE703Yh4iRKT0AYGc/onuGDL/0zURsh8sB0w+gApyzrVzp3yOnqbSwx3S7pmb0rPoysle1LWBeAstSFWQsvtJMg9yDqzpT/bA0tXQoO6wtzRR7sSqUsq/KbTvR5lseYebmo8F3STLdIXyjqQh3MIBeXQJKonO9nU52D5bOK0bbR3Yh6EQqs6SV3KuPQvG7ScJ0tyJZmiKJeieVF8w2fayTkqtwr41kW5S/UnjSDp/OaG3k0k/MRXpOTv4PuKbe4dlfUgPqYkatRzpc3QgJLu5Vxmg3X7BlsTDnu1e/6BC+7/M2/R/CojAX6EMXdtx4dEY325KJogdypZM/wVRq2YsVyX+Ib+N1t7qr6cRRhKkiI3m5KdY1H66DuxQOSqQlxPCk60dRwxS3A93aowFT/6Xq08Wv34DS4rVgX2mDy/Nj0B4j9CYnAuIGuwe/j+14QK3BK/zTwkQ5yLew5nY9SNAC+3/AYDs+B1KnWJm02aUnBopHALbctrx29ZX8RqS7IGOrbOJxlbsDVc7WcOlppy6CyzHSKIMfuGQm2fjAysg02bmjhMl3qyQiFZK/7KTPB9ydpWCG44sv8vyncrZcMtwyKVFA6cEVriDfO8159AyqWkzekMk8Z+6Q6wJEog17/bMjdVkyZWS1M2pqdNH7jITyVPResa/t7qnjsTFHvJw0d2U6jYB81tzvtmAu2qjKvHldyimkK6Ehj6quuGQxEBC8pZ/PLIhBy1jDvpm9L0NG8/esA6yXXONnx7+Bv90t2HBXFObMXzzZyvjU1XL/psYkvEG4aIou3xPIWha6RDTMjVSxekJw4XttVnb3lUz2yWLMeRIVRj59bBeb6La07G9kH0sXe4uo3ZkiGWr4Ptw7AXp1WHtMNdNyQl9hiW2kxUnQe+uM2cXO3uJnuwvY5MDfU5xWoHXkyI2exRwVrWJGd8RAHEwx+M+qkULWE3YcseCs1dzHH580E2p0LeZFUbADgISWov0/5cv9TLTB4YcmpM/36+H2EU4u5jXq0cbsX3mf9Zw0mWmhVKDto8ortR1WNmUflSTQZ28cZtHyM8NFL3XZ+pJ2eYfT8Ozz0lBtuLTE/HqRpw34coa1N44JQnK+r9CYC0MOnzRDYhhlCsOjDSfoxNhBAw3dS6PsQsOtGQwlKDwJ9uPWgDvGR7HME1yeCmNuSMyn5aONGtkF5zC9yTDVAhUM8c1ajGuXyxbpjJJJIfvzY88jcAPpeqJWrX0bsvb8cXVOJqqAmUrfaYjL8RGExO81bhLy6Bx+GW43tstSFkB8UiqJpL1OB3XzFun5nN28iU63CkSqmdWM24PlqvdZrHhnm/tDiv3BBUDHQuViDyRBZ6619o15Ri+MvGaf20/6bbp5MDO2/Hg2nWf1h+9ZJhAEPanyFgBxmVJutd4zljuI4Pbj9HiMVjfAVq/hJu/uoU819Vbe19DvaebOGcsUS7TsyelIgTeFZtHaJ3vyca8fRxtrcM8o+4/bu+znFmYLkH0lAFqqxlYsNeYBfI3CA0kY0+fH3FJv5o9bL3suF3RP6VcNU7AyTFUXJbErVib20WUv4cwnIJzpaBY81fQPHv22wWiwna4DCjYud18HJWgAq0+WFehqz3kdC0/asQNX8sygsKfCqhjw4HAqKrLYtoLRUyKjRJ7zNgMXmV4Qt5AF23o3MPTtma/VvNpj9+bqmBaZd702T6GEEhAXLUYwxHfmd+Z925B0mRe/pG7sGT5NIO172Wj3yrEm1qTLfKO2VC+0eavk6aUTXRicG701sOG7juYLg72KWFP5HonwLXoOPOs+BPLEioDcQHnlJOZDHVZQ2IWLVuhGlm2LpDYXNmAKS2UuBZMf8XcpjgBYT4BwibYihvVNkUDXPc8ccQnqMNWxe9xoQ1FkXnmJo11q6nbq/KrEGJ33q2viXP28imILcp5J6t63mk5bBtME6xMZo8nneP97DDtVAlfISQGoHrZNYjrNQkyHafik4i+6HUeSvdte9Kf4ccJ1yHLwpW0WS6nxCWxV/Tw+nyfwYCiGuM/5eeW37AXj10We7xw/s/TwYnFCzfKBBEM16Sz0yRk9IOPVT5JRyygbxA9MYMM7WwqYEjgha+LehGCSyyscwN4VwB80sbeYpVebwkhU7M/0kgfvQdSN4QG2oOKFMo7eCy1HAuiKQJhai8QCUR8GAOh0XhicaHKmu+pGyq9zGiquEhXCBuZh0UF27Xmst7boLNZY2NO7NRoqDhROl8ShK6ucR1bofYMyZ1umZzYKY63MFn6lz/Hjn2bFnm/XcvwkJZJbARuD8e850QxVZJk5OhLECyjVUkuOSiCLJoqt3tY2C4jg8RRqQmIvmBOgPVchRt6t0ujmSEgmLxNgkWbfmTUyLPYCybUrJw7q/lbrt690Rwl1AY3eFr6fntas+vAdAexd6ZXHWlpN52tpQQl2TDjmhfgvUPQgv9ubjRxoIvAirhMsqKr1Ox3Pbx79khAhQU8VqEZqIiME9YHaZxb28+uUBs/6GlcEYNmmFgE77KUxcWZ9weJfkzRwA7ct36Y2e0a//hHcQLHggspZ/MkcbyeFU8CuTsp1S2uVNfz3T2qmKLZmu/q97THXy/bxfdb4uH4erwnWgh5cOGWvmQm0jeqrZ4mUT24B/csiogTqF6XBFwjGl6EA36IFV1ZPC1fPDD1S9fNfR6z7WqJGGVUMk2g3T4O1vgG9HIBhv78S+EKGix3jGy/YbwzBpuDV9QQ9sP4fOxVlsBC5cAWfxCieUJS3ei27To+UA+RVxhvE2BC4R4rIDAfVsGaH3o/BDQKe/vKI4pgU5RDf1crdrCTY//zP52Fu8fbMC1oAEvmcHEBSQjZRiwgmhtM5p79XLb91AUWV6AlZql+X/AB6vWdL2z2KisnFY/cP9s3QKVTrmnpa/QZgmFe3Xq6YKiTdIAsRtKXsl/OzkFARnMl6/nK+pQj/izaOeS4NdDnUkXSiClgXJ0eJzF+40EQSsYuJz89NpValVzUA+DVJttlBG6u7mbc9BpDvgpYzdivKU9zNEtYVxCu9cNWx4goM5eWJzp1zNK5eQhX1bgrKo9auMJWXDlnj/KGxG64Bcuv57XGrMuyrIbfyAw0VUK3pdobJABTIIYsLSMuFDoJfuxMyb/Wm//vGvY9Fkr306T7sUD0krz4jSpeCv0owhONKgWSt7Hy09n4LPe9zIuTibkdVykib9kxXJwJxLC2cnUlrN8ix78F6lEIQ2v7SVzqebv2l4JC2PxxB2t5EjprrfYCr7TCY3oNj7obKAO2NANxcteOoY2+PtZaCGRDZjhaoAZg7UsUpjv4/wsLpM8cp7x/IeEldMFEnkHmCEgpo00abY5SY0TrR2m3Xa/2RrjHKzWffiSjYeZLyqewcyolm1cKqoalNSngmj5E56gmNV/UjvnDtUpGdGnPPY2G7QFrNWirmYN1ka7a2G2635B/3jrwpJa7ZTcyw1G/wHIU+K3GG4zgcAgctzPeQ+VRhov7LGiDBuzJSi5th19Cir8jlcCqqh+lDPlkFLJ8vnFVaoqzDiV0ogo15W6L4zlO5EVPPCHfUfTOz0PodY7kkYNWnhw8jP22XB/ozkRVN1KN2y3EKNmnra9H3VhaDPRZK0WZE/uBc76MvoyviOdH8GZ8yR1s/tmifpVq6CP5EihUopdb/hOcaJ6Gfo9TkTKFMTTw3n7RElt0Sl9mltWik4Ooh+DxmabdwLc6kSc7JXStA859yFLzd6cBHAEcMp2rMl3xwh2+IIpT3MRblN6a6Y52c4p3Y4UGbNWuXoyvyZiwnnoQcsuRgh1NZwqBQSQIC+rzzu7qsfLuhCLdmBptAtt5j9YxJk+MWrjZsvu2Ri2MUYT5qAd5/ueYZ4QNlPcUjokLqevlHiVXZ3Acb7fA+a+622EpuXTpBETxFwcYjpvTukZSxqmIxlGTrWFi2ssWp3Oipm6DbFHjUN5vh4lEfkx0LtuiCPB3xllpFwwOs5Sl+wa1sH7aZRGLuWHKFXoepJiIzfg3VPoByL/XT7rkGhIH9BsjeRCJHsg7CLq9FxpRkV31FL0zT95SiOjzxR21FUQoM/ZO972Jo6zA2/YZC3Yjxa1PL+Q+TFYyXp4jG6csVF07kg8OMxpDg+c94NhYSqbaJrnImRqgzyRa3lOVcpDlFRCFoCdopHM0YZq6A8LG3ULd9ceDUZrjn3/f09QDfBfpLk79gYkbMbQCCAtfONwrMLufOElQzIaNai4fwVyOLUZAxsR1cqax0DD5ugm5zKx9CM8p4/DxjeqpXiL9aALt+Wxtla+JHzaN3YZSe1uy0YGEk2wlbXPWN3VCifhL/ll2VN2xAHXPFIg+3EgEfe1UquNotFZjtp3sfAoxamjfKoizO3SfwdVfnVl4gUtSsBKmM0/RrAH/25PuJ5u5xB0OWAWW29pRhRmqhJvyPRZSgk8+Yk1/vcmPExGnjTVXL2bd3XZs6XRf7nGr0NvyyCttwORVy9gtQuh3aurqnFy82+aSFttt3LFyi/AEEAzarNkA6pescieKk+VJFIDiiTj/SWz+2yASDhpNAbaribLryeYi58ccPELhmuDOjiQ3gIBgl1jG0f9fCvuavTOO+7rPcEuAgdxRokxep0chcEd6BbeVqbdiygfS4STHBqWLj64Fxco/z6iMV2oBXApP81++bgjL//Zq2UQMLvk+cZ5skOA5erPZ8EX/7XN+eB5SxltuYZlCCckFWPlo+WkfpExo5+Mwu+ENNb9zH95sE+VpyB9oCAub7skamSec1dyu9Pk3p048cdEu+bHDdXvdrLJutsvLWZWobKPT0n4JvkvOIebofBF0ecU6AgJNMlOmdUmLf5VZt6EyL7+JKUVyJyO+xkYA/0fBHEugHD5hZuouuccJdagoWR0BuISvr6pcS8pBpPSPVXIm2pG5qg/aOfmIBCIUHMlrBR0CxxM6kBpFW5OpZLHLfk+HUJo2Uj0wromqAGB9w9GbX8taqF0F4XATdeCRPxrA1CrEDvtswYIVOr2nYc7hB63OaIip2B6xBfbm0nG8NvUkGU4umPyeD/CbJxlmqGquF9836roL97fw6UAga7E9YdMw6FClLfQcGQ0YQnqUWtPiK+XkWhm3gGY1dhBY8xeJelTbm0a6P8OCAMBpKZOMEt/+ImICMNaxoG5+ska8TpxBtNEfa39PauILpn+lglF9fW86R4GVypo9hvNjw1aaiRiZbDUXo88JNcYGJV0P0nYRs4J2KBNiSt4CdVO7lmUFru0T7L2Gt1BVtbsp34hnqxUp0Mjdv15d+0p6A4lC42V7e6mI84uqgozreAGFHtSeYjuDumjG5xV2JCub/kyZ5TWA8Yh1WGSnZhl/l4IMpJbF3ahEF9KKosmuHb+1SDrPxDX9ugQl1CBikEk72hhiNWorbzeCrqR+/pVN+JPJrxB4zlLFhH6Vs+tpJbwETXHi2uVMra94fJ8mxRYwiEd+/+V1poaHYs94GVTrw1cPlg70a0YI2beJNM6P01C6nK3P4Z5kZXO3Ehsuwi2bjuaJ+lfEPudrAE038/A+5WT7GauSbTtexl2YNAgko+iARj/Ub93w86WoKWjiadBIi2NFU2w9aamuJwrk+wzt5yAWyjFFdZlEh662/gsqWCHTzfhPHo5OmjLa1PGgunvT6vpSZ07oXfuTjrtgbb/pCfIiHcpAoz0DBBSbOSCRB6qLygsJe09zq+jXd84H037/8tJJlZzccfWZoUBCTRr43FmH+4yDP4O7LE0BrIn8FfCN5aPkZR7HpLeIkjnMQWgMweYga839fM8ghL8VGLKkfIV17uDV8Sv81W7lLFemxdBlO50wQ99R2N5fd6btHdUyuqLdego13v/1uegSmapv2LZCznVr5zUVXLW3B+WtqBz/gTlRS0sQcRKaoR38qpF/X9jCaSH0PhPqPjv1cskLek83DfNq9b0Zozax/Ib9t+Cdba8FEItHMFJ1mHMYmYQVuwhSnEnaHzJUZBVtuL4boY5M8Ux8RxOpLPr3wA5OAkGSBUnXSLxrO234pHiqce1D8opU3JQ2RxqM4vunYuqFDo5R48U/6ryPTcsvLPAXd6MAhxdq4k13OWr+s6H9MRmCiZNRWmxKBsb7yGwZdIhdUAimg0jWmhdY13pRYlBfTIpOq1FNxSX9gON7hsjMkuFNNarTgxNnZVAhpYi3MHsEaNF4ALKll2iZJdYDFzCv4b9mi9zV2OElsnWU/Xn8W9y7wP2PuvvjghZjjbfehAcbqNirGqUKRaOeS+8bz8v8+wiv2wnDFyKdgWXkGIDy6zL7LJ4BaKmy0qjTI4CJZUn6teI9hUH6Fw7ugDZ8UcVN4RcJ9bmaIqKm/Wn3EK/ohgXyQRm4tO7gBiFJHAc0/oAJzY+UXe9mbXRF1vGT4bzdi6gDGDb9PpKXxTar/nxU8rG2kZJBhxyGPwqPo0TaIY62w0G7NDkfvABOYly4LHuhrOqg59os0/cehV2HkqWIXJFskwkxlvHcyhef5iKCTMAqvYHwvBHiTMpgS1PD7j7RN5tvf13NxnnUs4Dn75BOCdzpp1cOnE21IkQjtC6DmkeK6aPNk7Q2bbacNrkqGRxSvBLgnDwwawc+qSV213PPv6XPdJtjNS7qIGSBDSQBVkZQ4ax8n1/f1dXdUkugsgK/MydK6tZGysnVsXnGDCKClL5jpGSNX+Cr0lnCEyPlMNH9fIfwq87PqKED+Mk4YIEwCMW+2LuBFmBrZTVty9z81G6GkpP7TnI3LOwup0l2A86e1qqmwCXtz6pW4Ietlm11nl/D6sGX8XThosOFPIPZUu9pbiEOhZ42cNaPJQmWnr08Emjrl3axshSm8TfzOLDkrDZzpIP4ySAl3cC/3TmRklXhFw16d2D1/cMgXYfLp9ju8CffU2Fjwlzgm2XNOwml3A/Sc3zjlWFi/f9tbzWr0I/NjMaszrs2wEHVWvcYJQiU8dc+TS3HLeY3NPuT6lix0iYgBKATEj2BY+zir+Kkn2ZdlJzXWK+tAdv7AltCD0plA0sjqlo8MlNJn46BBobYTq41FPN3Ez5cMQ3lVNYJ7fBzPKBAqK2G6hLm4i8qOw6bLkCQ1VG3MzzLtrnBT5LB5EvcOgk//7+NkZuhUtB3KthBSwvqHeFiDP6HPH3EGOnsU9ySSc+qYcHZqRHiMomDbDbvoC2nTmZJrjXzT6xUbc+CQFUUF0NEiILH0h/mW6+seahoPodyZBcp2gU6BiU4H/cTk8eAgQwkxOCn0gmlciAKcaU/GDH1Sa/MppoVLjSqp3lyhg6PsC0gwDO749If6ZgXfG92cTcyXk94K82C71Id0lcQrA/8gRPTI7OV9YayzlXBYomeG2COn+7hgPwU2QGRLfrsLTDWxqt07tcLy8wTi2X9LRj63dvl1NKWf3r0NU9EIV0Qx0bT9YLqImXcRlQso6fY7HKvqKpIq8sgy7mQD+CfwQKNUgZDlbRWHhabMYi9Z4YFKSVI1kcJeXg86zIMOoOYf4qlTQ249v1IXKkSddzLg6ozwTVRwJIH7RXeBMSL48LuW/319oNqR4v8uVavQHdwdLt4oHDFkvUJioa3hrt/eRJU3JChDjwyCYueq+QiR4umeOGMVR1SOa+aPOprgY2jKZ86Pr8xeNY0e/NfMEpJMlsfh9YXpCcgSeCG3LN0LQGe9yXKtNmbwipiuO+liorkKbHdKRCCq0ZdG+U0eoLj1TNhWeQKWB5V2KKA9h2OnqaGp4VTnFcY9kx7u55h7xxgoztrr0WKny5x18BeyZ74FJMD8OrTc/Lj6O4D7erG7gKNRiBWlzO8AD9w83D53fPEkJyuNlPwy1XnP5Xyb0Wv9ppa5gyfgpCiiEk4/oEjuDIITJQQDKSzA0lKS5xwKZ7IpqnaX+Hra+JP6zufJSNlfAQmGZVQw5MYQ0qVOBCUthYDreTIDO+LnTxLAAKx7YL7ZJhR+FTu2RIabql7srSkavwn16P3nMopLlptYmW96MXosvYzwD5ybP3LqEvHl8/q83cWIYCV7hlIxY/4kGBCuLdVuBTbaid0scaOwraeg93Uqg1kr7guwk1od1s9iTFtBLPv0Qz/aRbLTQORnZJ2h4+KIIVuZGpmYaXVbslhrTRsmUs/DDxyzBtnTE8+LHm/lJyA1Uc+2LTX5v+UNJvQyzfyh8Dqu83w1ntLdc827IYYBY9OHpCYEf7aP5q/+H+i5hL8khaPvMTtrIVO11qzPm7Cq4liyx5l5gPuxLzBPCxSioKnIkE02LrMwehu0noCDZqWL0bqnbn7Htwece38N/tUpd8dpNAJTJ2Qsuj7kgT3fHitOCqDz549/C+MrBK4V8N7vCq1qX/2e9IEvZIfatJjyjdiCykPQwQsxlydyFljk1KEdWCHeaSnonFOdgU1y/zmpj2er1IBN6kpnSCUG8UPphaiqCerRAkIPaJFQsopZL9BS6ZdxZ0lW0MgBQsONs3Rt85IW5Ha8VkJJcoDBhK2XgXU0Uw8GmObgJ8wI8j2Vv0bHCx2uOJq1LBkLrOco2KxLqAPGjPr6YXCY5vo+nVf5XEuwHw/y4Gi2wy1F31q47tg2bkvr+k0gK66PvaibCy6yFGYYqm2i5EpZ+BML0pgKOJoE8vdB1Vz7dwrg61OZb6RukzBLTLMSFu2QhE1emqBqQXtMncjEUQgfu7VSWtHWShex1OX0iX5fVXvmEjziJAW8Hpon2kMGp8k7KHQjCQzpOhDmlu2A2s0zf0f83l2zPQvJsnQ1rC6ZCBrTNSJS06EMvmGN5m7dIrplFvugXIB84Q7puBK7gou2bhj6zrBGrblz5YmNyyvRkt5VZY0sJbcM9Db0ghCohivut4qGfm9t6/XWsb4fBZb7BitmqPhpwHuEFCrgBVhQdEV+1JxnOHIYETKh1l5SmlTgDe/KHSP8913SJe49sFgi/KY7k8T8s7RHanXIhoetVl1tCtsGwKk32wpWxjTtjiZfnwBnSo1MORu3q879Jem0bkzOH7qs7io6YMVFXeRFa3uabyW00B2Qp7rBpI4iYLRzx6hzQ5sLkgehFvcT8Ila2csotbx+PJg5O9ETY70d8bTBnSL4y8W7cRexoEpgI2CZAYmAaQ5cLowhNMfmKzH0Ffw98yGs3tMYH8nZ+UoAc8EuYhIlRwCjFMzIn33DGjYFN/nT3dTqmFwUsOMMId27kCLxr9qG99ANWKUWV0VlgQo644rfPJeqohAcNJ/b8/Ij02yM6nP097JypaaCgoFgB9BJcQtO3NuC7rzHO5mr7UfeiX0GCQamFyszz587A2ktlzgpeElWVG0KKtmWLy4aFsDtg+CAmba+mUC8aLva/CagnUVCr+smAtMP9KNFXFy0qzm11ZUOa+eS4XSAOBxKfTWf5iiD8qZeLhe+50lvjna2iLUldyKjiAfTtBmr72q/ZSEMcR4aNAB2xyKpT+UmbTz1qrjcVdLjSbZzJSGzA1pHM8fYp7+hPhpKIOTuRI4If67eCEIe+Uzg34RkmfqqrIP8QEb1zF6psJb+xZiFK6J3pM+jbEN3SRnpsXKy/jZ3P9obq2ERP8umZUDENAESrILQhnE0khOqbFJVI6qI8MjQoKojGYyAw4RumEDCi8s8Z0On9h88HEvZhbj5zqh1t/f5zNHCqGNcSNQJlPmBRex+XHMyn2hoSPqJnNbvIYY49T3BzccKUJVj7e8CtsAf0pdz5JJiLAzrbTu6h9sitavuoVJxDQ4rUL17uX120GFiXmiDc3fK2omm/W320MaK4fpSJdYXU4fR8bfAeHoFTV003LYmezs4DYdjrJGw0dU0xq4Q07whv0UQ4BbJngxQXITuAaWZp1nUe8fhNS5TVfrHXK63NpJEKm9KWl8n5Dk9+/E794hNFcHPvOQOCIeasSlIGZmfGVajTpRTT7xIu3IcWTfQ4UjVGsSq1PnbHiTAt53h4dq6YAEKSvvdmocfzuO/gg+vzWJJJfIiaPgkhEHt8E+93rKyX9lSsEYntFjwKCoD3UUojq4F5MO9e+JQtLeIkasp6jRuW1w1iQPryP5Ld7Pr45617OOnYoT2wvdEOU43NfFX548YDZNWWbFZnZtqJkf7dX/MUPX/mYMd2RX82nfgUf5bUL9oDX9A5DLTei4gc69SMgU8VcHGELPapAQAkAj8O+VQZBRcjdHvEhirnCmEfVETMEEEZxnXW+hC6eNxVd0FdeZVIo3PbxWlAFz6GTYK/rc2V0oZBgcuegd72/YaaP59JjFIgPQaWYt2ei/D43aIk9S/pSIGsx66CW459qsDDLW5mrk83cJfg8eHJhN+hpMesHW8GiJELfIcZ6tjpxcfiCfCcxmICSmz6os6bZzcEc0ZMOjiHBzyNGFVhHaE/G2+gbvq4OZrpfoStkxg12MXkrwCS8AQQgX1a2DVeFT6HzUyKf3UYrt38Q1qZWF3C/l/akhCmb1h+Q9+ajURzvWHtF88EnJsDc1JfSgNaJ7RxrlBZIkst5oRfC+e5aaD0wSNWe8D5IEyzn+aDV49EKYzl/uYh6i4IveymSoySwQJq7K4Dzd/0/3NhgDbnM4c/pG00yq5HhcCQkkmLUBL3OW5f7n2q/DpclY0ieeYfYmltfuM2UBHwuWw5dCdYoBTBOA+tYyXpevxuXrHIfskwFN9zRJJ0QfCqRpotbvrdOqRyf3kk6Zg78/ZeJTeqN5xmqj/Z9YtZVKrsd4zAXhSHrkd3zclNCzZj7M9OTUTGJ3vPbqAIfSr0GCKwPs2NrysATpZsQroFSXfh855nVMaZdcKAGGapk36GqAIu3X3klVx6R6ZgEhcy1LDLxD8Iv/NcZnOo+7JFv9Zi6CaaoDIEf8dhXnyBfCPKEKQtZTM1OEMfRIxJasP2WWB7nNaFC4bd1UzZlFxDpTmOg6QRXUhaKUJuOC5nG+R9Zo6+s8xa4Etm4hmLX2FOTMBGx0W0BrDHnq8uawxtLt1fEsHDscN9Hf2WH03cURQA8FZBudkidp8aYt+g8Q4JDz5v9bCI3Hj5rI5iW6RsFyLXgnTT8+CWABGOvDDuQDBUm648Bl57TrqauG426VKAPRPWF+J7ScfbElhKFmkOJxdaBbLxSL1t23mpwGy9QCFcqugTvvn4WyrO+xS8fSgjXtUaUNhk6SoDqHfqULO6GOSXe9B8qHmSVHA6RMSc+dMO6GIXuLTAMHq3QabH/NvRlbRRTMcXo6Qn/uRWlsISAoxcfAFkqD2soRSxXEguanc9zIDuXzUTALlS1eWNjLeZUR3sn22NAsP+0yQxOUGycfwHYZLHZLPXZ6BNP1OsnN4agXwVp764k6uH+6A6E9f/Dxih9Tz/+JEHzhlLgXLxBfPcp/6NR8DIvIbBIB2mMojusxu/ImedqD9bK6dJi656CPNy/ka5/J6KqTtITfHjjeEo+/T9z7AgKYpgV1lv1GgH/78SCRgP8DJnG2HkwEXNbnhFFMVvQ/rLNO09tyEhZJUjS2y4q7zpPw5jdx6z0vh2rCG+st0F6M40nFEBXV99MUNXDTyojO2KGihTuRadM4DnJXG7jb/0BFOvlLSHDGsLNrsS0ntAMHACKrrnR9Z7KX9bxW7l5WVBnh0ed3jbT+R45OK9CkMCuZHJVYx1GizRJY4rQy2rpg2sZwS0TheuCyn/6uKIci+2/ORNPLHELI7qqMd846kwgCjentSwDJdg5CuVHFPJIgi3AjbdaBFPk9mn2YkNxecISWBp9B7Gg2YGH/B+Dt6tGN+jHbcRHDXsTrddY81ZVlS3xSsxHgbpgEEx0ro2If+TxVI9VPumodSVW5FoElWB/chP7y1kBzRVePDYKYHreC03SbFr/OcHESM51iY34U8lBUnK3DH9C6A1etHweuv79VoMFEMCSd3bnzfF0PCmGp9KGy7d1OGwln9Xs402WhjjwecuBWKhjc7N9qBRETrzcZTF9VlaNCH+32DM7YDFirnlMXRc/+JHKbV2lctu/zReB/QOpX0fkgzcCNN7WYoHYsgBBwDiWr1ncSUROucy6Yf8zM5Y4yRUw4BGxFa48IRKPWJryyUwk6v7Yjcp9uN+g01wZcsFltIBPseC1pEMbqnQGRrwp05qutsZfdPEuxVsCxw5kR+wMrHmhwawdjnLBNY029+v3pMyImAMrERqnJGOO9alrgCMz035Mez+4qO3l5jCKsAWfXQRoD8u38SWLdQwjfWZnd1M2h6B8o2eV1jo2KERe5qCnPYzh/XGE/Q4kujz3BXIT5YefpUdN0I5+3gjwUnPTnIaAXf9m31Qi0GiVHVHdMsAEj3erDi/5jfjHCCHodJTPaELT9vI8d4PrWDmNSs4EOoEygVp3qlkhj4+XCNon4n25BN/O8QStJaJOrbW7c3Z/I8Ryu2hv19mYqhpTGLlqzyqNlIqci325AaQZlP7jwltYtHGUXwNYMuocKHc3ALSG1GJwHQwlv7mHzJFZkeEBQgXDaQXkxuROHuVLuQYBhB4ji/ixxpD/AGy6uM3kynto2ycD6bQ/GvPMDRwtDeCAW6BW7garSQyWWvjSUgRFofTMx28c3crx/oi2ro8YkS3cosng549UmQl3kTEHtvvpo7hWRfrv/e60HeCgnqqYcswkOBnqtYG3LV8iZpqGKQtbRd3ZZDds0vQO93GRWDN6AxaUshxJUWFNH7X1gu5ZbFzIqWWGMxgzHJMqpYNtkkWD/pcT8r01KGWhWBbCka2XgNdyjkbgxdpmKIjot+R8PkGNorSzoXqtXBZkU4xF3hONwU/qohegLEJkccFPpFDFkhTe7avAkgte2cPvrYma9SrrBXoWBKWiXhYBjnsGpT0ItIILWLYv9yWeJn/rMdkOcX78JK66dGZcNLuwGBkl1eNNgD29S0Z6TvxQ7qGzcyoI4pKZlQ0idCm+4AVei3zNAcJz5iCdcEUz1RXfPIaVA1Tb7v6whAY7LqHgE+nrWr1m7UDUVFYpVJzt17Rv8mYE0AhEV7BvaioQySCOQEM8CMN1O2rYRjqNUn8gcXNy7Ccaj50N23drs+9HwVgXOMIKr4I0J1lMpzqPvb4+UzWx0V5JYuC4pDARFA2z5kmrkSZW6ZXbPB2CIdGxxh6MxgnxAxoKBCNFRD/btqkLvrvIM2c+YLm+26NzDwMjHlNNRgHluhJ4h4BXOsfg0TyWlGz7zWUyZg7oHsbbWsnBOkFffrKWQnbNIVcS2MkvnRieH6iW0iuLvcxv+OUAmptuMSQHLDnsdxKEZr5puXru1t813ZuCoQp9M6nvt/J5de535iBcL5T7DX5IW3H5a62xRxn24hey/McDToeuw+0btGlvYDk/afgQJTkcwYgyyw7QwC8eDt4wcdo7Q5UrCYo/zAzEE9dgWF6JQs0TwoHgzIDEDgU4TGVM7g75/2GX/0QBQRcDa/n9NzEv5xH2BnlG5ls0dLcztguEUkm5FLaZNU1bvA25H+9TTyNyB2tBzbcYliu05zB6aPipIX17fL+Xvv2MgG8Gq77pWL3w8kd2WDTsrukvr9nRt0anzdnRT1FAlBmm6zQAkoZhV4vmzewjvYuuTc/7RL7GTzxLxHNvJZ5ZIq9q7h7MO0uz4KIi2S4dN80iStpIuxmRjnER6dzEl5BT0CaW3ZlXsxAjuEuzJ+lO7VfH9cApc5/ut8ovHSzwWToreh/M1T5/yfIdAeikQdxDjJhne0eOvneQh6UuQL7yUvCJmrqVrxrF5dbNNykIndnaoeA1Ls5koRb8TcDPQzB9KRgL1JEIKgd6NEjQ0Iz2OTRS3KSZm8yVtNybomaRx1iwYeCHvqOaWusVac8cAHj1v6vAZkElQnO58pYCo1chHHBT2pCSt+RqbqKt7sKM54yFyOTlrnEH25ofwvDiub+n98oU2Zcf29KU664p4Ng+e4QYLjftLeJ4RyUlLeVkLXZNBi4f0gRxGf5A6Awc1WfuRIsNZkdqAT61Ib4677mDKiq3eDVSdEVJCsWlk5WrxY5eO1b1MVg9v8+TK9bgkK2BJw4t5jWbdYVbgNpfcDEuw+zZU/0zaqm+xoHVMkPtllGJ7P0WhGEsBAyHACQVm+7f9lVixsks7ptaeSwwrJz1BL4ksaO0jHjGvmQs0Yuf0fR/VScbxG48QiHyB1INW2cCnGItE78SV8haU3VjcwIhMtqR9EgvQIRWTTFNdDB8Jh+uTd+wzazanSaQzUkxxwBRfbDGdb1GibUiF89ar5HEZR+EZAOZtjMGqPBry2jYNvI8ipeclQe7abimCwkuFXMLWk/sMFhOr37t0oB467MR34do/rMymfcoDlJvWqolSOJTl0c0PUGHsxa9cuc0KC9kBzcyghhg48pNpGXt/YTKE3SUxKNOkWjn3B1tocDtI7i6I/r1/xr0i/sube/o/ZAScz612RhJD8x4KING+vbko0hPBwU7q+R1u3OJ1888be7FYO+KTx9gp9LwNz2LJyYAqDzfaCODykzXOQPvWOYqQ+Sg99IpN3MUV+hbSEwyuakcowcwQZy5mbP4j5OUyYm8XRrMWdPGvGMatkt771Fcx2ObP19jBRqxbyous26maeVKHuLsOjBeTrw+ifow6zi3zDM6bimWCPtxIYiWV91BHc1QNqtQy4Zav3cR9vezSa2QtIoyfwiVLoRiNV0DDmVqwK3VIb792Bneo/REuf+YV8t+KwPqRtuUm9WXJZYB4LMOUmFfDrM1x2+4gmfeyg7tF6kZK3BpepsxLMzxNESh+IOEeaPSwmHUUCe/x/NcqCXCWZeWPKNyD/nfujYwdS+y/1gEQaqCL93zvY0nTbP0OCfqKGyrrT5wS3pdLBBjRlzo/vQFtf47rCxac1VcRoIpsF4WuV2cAXIFhFwE4LwjbrTbdEiaNd21QT6OlC2b2zT8WZizBRnz/2qPFICSjPBt9Quw4Izk0DNcM8Qi+SWxnFh5cbe7KizfmgbeopZ/u3YYYlo/gQeKuZZgRLQ+0n3S6vwrMwXHFK6raT2UBLpRpKma37rqo45jNefgJct7MOd7ibRYNTk63W2YoJST2jX2I6dPjzZ+K5g6lfSiiCaVvKmHOXTVKblcbp63b+iEaF6t7OIaTolrn7+G/7J7EeUpAz5j94dzIvdxfvBscTwBNOXPFbcCunhFMyN9UUBHIcKc7uDFPhY0wUVieH7lVvGmQIfLt/00MdO51JXbLM/ko/3/oFjb6kWXpn9KEbov2Jhgea53FZSnPhp+uTNeMOh72/Bp5X9q8Hk3nWY/jV7+iebRBmTxBoGFYJHMY2jrb8qZJnU0dLDuatF5ww/CF60oEsP8FbwXsvejtsO7V3nWOySqAPeowFmez6S7DReYpQxFgMm7Fi0XFwb7DzVFTOJIqgKjuexpkZcFdz2bjXQbILXPWHEUv4OGSnpFDtHXR3yJxYLp7pjwzr8Za2utSKWlydqBY64mr+1lM+gomISpZZxhWYw34kguBHks+5MN1hFvX3rV9nG+kSLKcIhaVovl7PeGoUBk0ZOZqfAolZCR0JHs5LQuUy4P6ESlJYYcRUvORsw+fNsWlUY13DEVlq5GKRDclSPpBSFtHQiIl/H6eDbWLw/yAAHHDHsDylVvEzLMVFpv7RtgztU08ZR2ykXfsa6O/EEYmKWM5jVODFbrW7PD0BVaj8yO6knGdvzyR2vs8JKAP3uonXrjBa8h0yd755mzia6FUjnJICHxKhSkqpEj8ieHKlLzr8t79jkgzA98v5Z8HSgN9IPpt8txnmJJaP7BMY6D8wjoTQ/hS0cFZo0SooAlplsnWfP+50v2FGdqzeEc7H9fLpBvCsDpFGK3jbuOCb79QHpMjP5MT8VVHXKvpDWrHeKI20CEh+clNdZa9OhfoDEIpMk1pXnOqzqdGhbROP0p5OjMIYiPiXSiRIvInrvfqFDsJOkQqQ7IiC2Aay2gNxoBpv5jCpDH/jQ9eHsJ8xSpK8Gag3Ff/+fYALMuAyz7pBY3/5eHI0eaBWzyyiC9E3NXRruzH6SOYajNmYFY71ML6RIbNak38s0I0HbPWmNX0KddsJmwEwVJVpVZGdpvkw9QX4irSnoAK7CgOJQYYrJ6DU52eIkeArs6UVNb1jeTzwMwurOnTXiRtp7kKrnuWNsoVbR5BOwF7swKU5HrmmxuL1Q/aYHvoX22wsFyn8z0lZVbZXm8TILMqFLhT/b2pYxqIr741UM/ycUTg9+P2In2O9VbIe9aUVewbGaeJpGteAS424uCP6Q0+js89z9zowniWXKQOBsRHfdNObq3REXnYKliGavL/8f3Ae5zwt3CoYg6BDw6+z+n5gv8ZcFTcHF/zDAUlOPV5VZbB6lQ8QTQj0E74QW5JphrzZVb2FhGwxmrPww0nr7hdPStXZp2lXmpkCyyeroixMsDzDunV6RBWzgo6zTXmbu1jrNqsr5O7mhcf3K92OCieB2vkwtvexgXhYAaWXQqs1HIfBxFR4kOdc0pwkAbtTH23kkBaJnJhhjrONar6VDOx2jhMaodPrl1ZThyG5tAOpEplYQ5KpPEvmVWNAAQP0edvWHAFdXRHUVxChbS6jk7/++gaVRFNBPf3kHFJin2aLi5P+y003mmoAozqvWtlldZGfUSnAFSngVfiaUoAt3ccZjxURFYt++bcd01m3WhlCzzan1jBeCSFbXRMWAojF8kRwQ/kTBYohnkwmQlqG8cUooCa5GNFZVERKzFJzixHmw+DiHbzH4GVKGnAEWGKl6yxk0tnHA8mStBEecEnMBI7QErVjZit1jTe6L+RtmNSKkG9Kjs7BU0VKfSVvXtfOHrs1Tvprg3G0A/VXxeSZU/xEFIIIemugRCvp99t4WEV4vtK0RO/l+LqEqJZoB0TQM1q311+vLEk/9n6ceqpcBUhDSV/+5g2XfOGrakViZ3IWCI1je9D08ALrbJjz4rFnd6uALq77pr7udcegJi+qp8RzRwz5mbDdixs2EUUzScSIMoUkTh8I+k5yjd1gW0LIQof8NfZAs1cFzUDfyw8HFerI9A1VLdmbbCZKdSBHYmFEt6XKTZd9p/MTuFfp8q3YkbVYIaStp4AQ/9SAlGjaj97Yr/4Xw4r2z0BKuswBhgcET5iM1OeD5ETEVXhaE3tzCNFuk7LfQbEYxKj3aeozZWRZU4hxOT4ondS3jSP9SfF7du20CF+GNRKaKCbfhD0QqbkIvx30v3+kelNaGZ0psKvfqok1YuEXWzEEC+ObmtjAeP28oZkW5e0YDxfG21EBURiIw3udns5Y88ZOvT+Exi7v5XA+BR4fvIaeR97Pnf3i96XQP6ipCnQgj8XXOuslnxQh3PdJD6KtUCcNeKwWsIMsfcLdxVvHu0+CfYN4Ak0UKmmSBNACauSrmxXeyaH2PKOywpD7zUl6dwjd4EFrbJW4wq/ALl+zXCoVM91YAxHN61n6h0g1zv5qjDcr3WSgmI34Rmc6i7N3yGYWkLznWX1ZXSm3/XY5o/w6bb5jom1iqXyaR38PmDCwLM2X2CIqs+D4FlKW2+oBQ1i78989vPHf1fJKelJ+DxArxoBP4iF1irNh+XAWo06iuTKXrXzPi5av9DbAj32U86mGA6cuWl4A3U/0lrtEM/SU5LO0afwSlRwFdJlsoi3fZPufWYPeRNJSPOSoyj5gYpcVI9aE1b3ii6OR6bB0sml4w2lWqLqGc13UGfUhmrMT6INb2hHeP1mSA4vpV/pKNYsRk6P2h9tg0YTdDfzBmBeU3ps6N1XctBI0VQ1yY0L9+EMM21cotF9e0/QotRui4iTM3xB+VkrlnB7dkIvSvMlD38VGphTb0MuV4s7iWAviRBkw/aRNdVP4DhORuwLZrJ+KxUt1wmpvyoeC/HmNKH8Xir0RwMEnHOL2ZDwW6ThbZsDl59h5RHwXc9eocFth7KfDSS6ytA9NfkL3KvIChzmvrWQtkhOaoKSSVxA2FvWxSmA0Fubv85dvnLhoabRVa1oZnCi2Gdr38ZJ7MOBmBgcDxnok4lYUuh53oylbZkrQjDCR/ZpQXA8pB0AGKVNCRJOq+nAmHvgNt3AfM/L+qxUCVHAwKAIUxJfQf6qHGG3XffkjksWtFFDS9242jZDHUumPpgLyzgJq3p8Wffs+9Y/scaUUT7vKAQxUWN1QplMwg5xXXvDDsXS/y7BcKW77tAA5CKbVJeb4A0aas0Dz44zExZG0QB7uvhY1VIpDjrPeH/eoyZMU85EPEzV6h0g8dXBAalA337crDmNHVZOhYjMnu6jC09n9001MHwr6zaIieYQnWuEcyg3e4OgGP+GlXc0zu0Nxc1aejdFQ6EYRVkhteXoEHTY1+tmA3R+ii6MeIrvNCwnqpT18DJpB8wnwMdPofH4w8QUx9eWynwPd0HnWWyfCo3hbIfeq5GIxM5dQ5YfcgtWWmZM9HCOgwxYkBX/hE8rXBRd/tAer6NMXCH/wsCqRTIp3FL3Pb+xFPZLGj7XoANdHp0k3u84zJfAiHGwdsp11PC4/CMtTCefkC6hBKFr1U1xaUgR+riveR9MHYRaEu9bvdz6yeCsL1qaa++Ox54r10vfPvgi7jyd2FZc7NnlC6w7UALXGbqDfLY37qYULDapV3ME9GZJ8BPv+Czz6SZO4ytp8sAWMQZx2CtQsH78op/6IwcxJpANS7mLsDnJxJjFOr9s6IwyIwcgi599DuBER+qRablDF+dsTGCwPQ+q02U4xhNeGLUK8/g9i5nhn8ij4P8Ni8PnCtbFvYLrIVOSlwraHrHUyPTWhViRPg8T9zWl7u/+l+tIe5YaIjEPfe/xnrLoa7SZp5XlDCu7yH2eJA6C4o7rBhvctKHprdy9kNM0IrvL/xZfOcvyD5+sMuP7D54tudwyuFGZLLB9h4jbpTGx37Z1ml3MTSV9OhKNIaoarcd+Ty+mA0EroIDTLlE3UnjfuS+6Ax4GOEiYrvw7sPIVqO+I17vHelHAay0xdtpNwcY78iw6BIEASk7o0dCNrEjq2vshbljuSKOXqPiNbReJMKS0KD85U4AYTZ3lJxDKiS4Q6msNGpbpjF/eGbS1lf3pwNBxYxS6Ube6gDey7J26FP5CUbPIPRSIEzidq+Hucmr/YLkMfM6uTMPlStugYr8VBynKypSXz4JpKrxD+M1Cf02RxFbRLsGe4sr8CEgawn3sePMBzRRTlRjPVW/0lhNHbiWukOtvbk4rXwDaIcc0P4bbmFj09FrtrMqF/D0OZS+UCpw7+m+BF3/QhOOfSiBr1k7fLiofV66Zj0AxnCUKhIYezImzXKWwxc/MU6/2ccAqqHoYPxKJtpnHlrGtStDrUs4OWjjisS8iIqsgHoAP7kCGe+cuaP1SKogzsdff4zBStyaWlePZheDe/43OSnlU1v8sWlNbZZuygPR1qfGvAgDWYP9E98qRgMLwPH3GqBwKSzIhYyMan0Qtum9MhUlgcKu7yOo3MfgJxKBzV4hbmoKg0P2FH8uYKOToWjsfODMO0t5lk74A9TukkAr7nMXgWXHuhAas3cIgU1DTuNFdpS1M6LUJ5XOFaPVin5uNpdmH4yECKWd4PzGCN7KZcLX9E5nK1MdjQ+VgmRxGASWV8CKTAIyeOR64H4wknY9/2T6ZOpT3xVNZXuGZ51+MO6U4csT3dR8s3SUTrebEL7MrWJXHD8cm/3meGW1Gy6ML9OwKiFe/WA1JJUwsYxhqUKshxjFSCI9agPKO7lV8+ej+XRDv7sHkDP3rJ91yKFyAt/8h3I7G5HozZwTpD7BeoVSU5w5dtLJ8kX3li2eKxlVQEmssLRtCRgpGp90hCShhiXqOTcgOip2P/CdvOiNaijgNVasYgLMI77JUe4U89dj7B+sADumMTy4qAvsyV43IZ+9QF9ycTz2MeGG+L9LV5/skzhvKAs9qfmXEReM3biHnjOjs2pHA67lGKx5Tf/ElTr4s1+bMSDWYODkqF9Pbl2n1YsUdPBIhI+1x5gZCtYum0WopN2ZLAcuMEGrK+WwnCJxe0U27c/DXaKK2rBHU/N40amlrP/zOoIJpIhkTjoIgt2tgQKmvnKUXNu/uFUFymqk6Ur/+zThx55ELMwQC2Rktuj18J8s2s9PAdP/U7yin3WrjTz80fKv4WRfgDcgobjao/Kp1CZEE1Fd17LYPEtqYkwzi+1zNY6bQ+7XJhwb77Lvffnb6ugeuw2mrlot1WkqAmD5u/L/Qa2WF/u5kQ1LNthBVM+RepyvGnXxzI49rWD9KdfDWayV9ijxkWsYeRC+nnOmyPR6sHauGU5y1HKSLAHCNcJa94ZRtP5jKvQ8Oe3ROamnMVHdcARACsIEU/675mn1/GqJq5RyN2yuAVeLVW2NwVcYB5ABi02MYidrPrWVq21NolIUD7HjzoMKSumTnbelivT0eVPbDsqwIfF5cHDYGeplXQwrUk0FQyKw/e4C45KIGG0FhSQyrxSS6cBv6h/HmmMyBJEJlkGh3M18fc6+H8ZHx17CrkhDKptu2zzzw9tCEocMpEj3tUcrAkKSd+eaf3SV3aqx0hn+pTbvXkCknvKcICOaRxNisLDdJ14rty9SmJSFY7oa4aSDb13F06zOvbPDxtNaU1gVrDpuNm8Mf1IoFCqs1xoUGOVtemBrvIeMbT2Wh7Sr4Us9BmIFnmWIS/dZKHuLLKtn6FrYdS4ybOxb5LXXM3LO9sk23YOaHruvejSg47UAUsdxjcl/aa7hVwhpA5rrtDpCC3SOxORmk1/4O4TmVIgCmarzb3ucymTbqnoLE5ZK3rEobSo2waVZKoTu74WxQxueni+zffjarOqfdCkl4vWv8g/crR+uwLoXaD5pQFRZeV/Z5aryEyuhID1opeoHI6341LP35yfwUsjDJqA7AEvBqie/Gah2mTc+pqiNcfheiESN1gR8jxXeo6LIx9mvzsTY9P8dU9pquD4qlnhKyXEdoPhkdIpvOa21pBj7luqZRQsVjvLHQaPq/cX20Dx2etndq7lE166SNI/+/FhF8JDbkCj9uhWu1kiSY1NeTvlBile0Euf5oAo8eK1Z3dhOCkbUylCL1EB2e6AjkvQpaAHx130iHaLsPOh9VsGo2V581XtlZGdImTXgLt3ARIPg9wxu0Md1BEKW0j3okmIwZlh0ZjoEB54MnsmO7JfFzKlx/Jjcqz860DjE6dQr6BOPRVa3rNUok3bF2A/6fgZgFZkya9tbDZNmkjKXOISdgr2Oa+/LpMZTyZgC6OtBLlNrKshBfMxZm0PASF2aZc+CirMHzjcA0Yc7mAS4uyWhnblCwqTHjpHZ+oe6uOriiUEE/M5Yci1myT8yUIUK2dr/xrpAg+u8Rvo5FgFa4BSVRTspEakQ9PCTN2CqA8PFaM1SvHc1Fmjr4RxABN4Y8J0rZoFN51EihDLyS6YPEPUGXo94vjxU14SQC5lpe5q/dMEkyUL6V0gxyrIP4ilPoPDqcRb1KXnipAkYlP0vOEf8kvgIqHFSrwClnM922gKKGvzhMtLs69r01478zX6zcU6g/KDJ2O46PWDGoYoPrjjJ5fodQoGjf7PK//5qPdgWcrhRWUcJpiUwx7OGdmmlU7u1scBL4ejE48kKPhzpMtlWXJ8m0APGTxS+ocb2W1mCN+rSc2/SsO0jnMY6GufQTdED7Lz96vRofKfu/lZmosy4p+zo3e3nx8ZMpyUf0rMFc62PVponzwpnfkEeL6+6ffxRPW98XErn4qO4UDYEuWdLrrNZn/mEsBovmuXgETA5Pl+L++77NSY81Dndz0eUyJVevtbpUt+aJN1vr3AnR1xyW2R1twCpRinMbIzgiVJRBqhOwji4TAv+v/mNiM9O7jzDs7YUOBER54W1691wi9qDJRU+UbgrvhhFYWuqLXwhE1GCbyGAzUbLgh18jVOh+L30ENqy9luaG2ccgweDiYx/CKN+dSjew1gXzCsk5QxAgPcQWLDGwNuup4RndlXouFlD266LoKwcdVgEIndirujLl7m119M08SBer98YoXe4SkXCPGt9+QEI9xERnsRQh6svZ3BRP5LqQBqK1A5WbU6ReyMfUT3fxZRoP1xTda89z+fGYzkzE5EpGXv+uzjDMA73hlQPu3IozHH43XCVfiTGli11zst5wWU997/FYotlrOVX0hNFWe20plIP0NhCQTHp/5cx1ra53fGNbYMI4DVkVFkZmJBXAsoP/6DmzIKzd88YhLrsmIYQEebXvy6vrmORxQZIpMMS1CywdAto4KHWK5MiNFfxgAFVVVaPJ8LvuQUy2bAFAh1OHHodqd8cdjjxtJe09ATt9+z9/c3Nq/CkLCgOaZ/3Y1ku2BfQ6GdEB7G6+VxtgxXnc8MaThCw4E85om1iVXZAlAlvENoYAkgsYDVNnd2k+dzxn/w63cVyJhv7qbhEmSxYbKZAPm0bxP04iG3ByaHQZ4z+MM+YgyYOankYVrl4YXNwmGUKQFnyKeYVcmYQ7hl6pAjBf8M3GLhOcVlT+2SEkfH4C62ODqUlU7LOrG++xxZYXqmw3idjQvYSzk0lEz6abtcBP4qssSVu6V7j5Cjc+LtoR+DsYHf0oty4QhWXuw9KEJ+N17ieMPua5HacvJ9YmcAkY3jEtH6ZqOvm9V28rLTqBMJVfvQWXbVK9z6hU9HmihBxZO5Gges3sOvO5+outdVRpGRN1XJfTMSRZS56tJPyLNu+OT6xI/f4Jkl7vu1OYDED4qlmTKg+Fj6HfeswR8mjQeaFuxeftrTl1UDEYbPCrm38PptXNTolW9aNgAOm/UdzdJ0MkD+ZuWvuNdh2RnbH0iBue7XOObLZrbCq5jlwCYxVByIJo8AamFOF8CDII5jLBNIuwM8MgE+bdxf0RJmVl9sZoi8O0Yhor5aOV8WwjxebtsoeCnEXsWJR0J0IVNGiDORaL82VZds96TZmFeFaLRz8DQgv20DGFbXoCqj/0zPnwU63EXV6MDXYSPPuq6O8u9cccNMhY6nGDc/OnMwuywNpbCK+o0rl8qX4uqgybxJUleBMa3N37u6gMzxFI4XOjxOy71dtdN4wQw/C/HRS+4GHR03vyFjNMdJ75FfNbJX21vaA3biao+ko8dkFz43I67a1rAkCz/AdAhB0fJy9QORsV0MQnjjdzXhlGZ64derSafz11V900VjT/qLZC39aJgWPxGd7KjNKwgGtPcrgbvareHdQR6IPeuwzKP/NVbC8whsE30SBt3meEYl5UdzG/xZGhJOrKsEJqtHKMM9MHKds4jrYLyHp1ee+NdJT0IDkbk5mmJ5H0sS2EzgpnEn29cSSQ5MQtK/bFgba/EUQDptovhjt2ehkK1rGhoSaOU0L7mLi+wfkw7MAs9xp8+ntAELhP237LV9CguZ45ZwCa8WbwD+zoHCYfI9M7kl0jE/fKcEfhVLGisL3hlXQSXkZe92ML7pK5vfmpl1l6NwX2NfVOh+LWJ7ikGcipxis44Hgez+2NJCNzTn6wvD+skLwnzetVVflzmzGMlAuHghSKxg0uV9bxrWIhkoISlMpPelcJrw1IaZiYDFvpNEpKu5A1qonx/lMzSQhoIejXwegmZBYIhrjFWR/pL0i4pYcnmVW+aL8iHrD3TxKPwO6qXtaRaz5NrcTvKz/usD1B3O18K07hTigUyEpYgthJJqo3OyYQzOsTGnby5elTUpWjrc8cxWeik2qHnjtiB+Y7CXzOVwg6QNfAx63xlFG/EAxwWpzH7QUGirUAhTEWGnWifPPhurjz7i4nazNAusEX9KfMby00rsooF6Uyh079kCyb3QPfkByYa5xgfyGP8G0WHdZs3hP8qM1cksBeyPIIo7D9OQk5y+wklJ0ZMDzgKcESkMyHKfx7E3cnrEA1s0eHWv5tsaPIfWpGHtLIK8IFlCRQc8iAdjmK1GVgX6RVoSfQB0MaxY7uZQW2drhYvnxLRx7+dCT6rVQhhoOg/3LcYRaB+9bBoMMCsgmOeVcA+9vN86A19fMwR67KDHtuELj9Vuam+DJ/vjDWk8OfSBvf/2Yp30VODZI625Op/iFGoYThFaqh5qAbsy8ZAhTN8S0HkzkFVFynsGauAljxCC5Anhx7lLBctcTc9O64JrKvfg8UIy4oaYtwVcH+X0ccvAhU/yzf0xod5AlLn0tHrXmB0l7AeAL3pMBB3xCJu/6Bv+kA0G9SpUz4QDhB5jqm9XmQUsYIyyJMVIGQe1aXE/+OtZ6XWstPSF4eQJ++GgzGRgTyCWsBammXpM5y5q9cvmoAYtGTRVw7yV3xGC9B+359UfNQsaBZiWyK2BHmtmWmKomIEamg5ovktQfrPjsXn6ZI5GKTCStwqBbbAiEZbu7FJrKcuKDfRsk/a4Lm2WxZFea8RwuDhI2TgRMsnwFtbZvZZpnieVi6Cw66Hp/u9lfFZbMcheZV9I8AI21co2JL74XBUV0P/qAe5DuyPwzopy6Yl2aUi6hIiVcljdL+nf+AUlbcDTjqU7YY6qT1ilqk9WWv4bouRvJv8323+2gmeAdD/jQ14ofy47HHmttXhXiW4JEmOed0EhgsF3/IqM6Qk2VCKSNlPyV/GS4pYx/5iOtrMg77xxPqlLCKfbY7PHgoQHkpGFP8i41UdFM2ThF02q68j9iqkMyEXoedsavbeQn8mUxCOuXMUEfVE34/b7k5FfjmEkHp9Vi4Rwcuvg2dC/39duiJ+L8CaO3CnEtfGhPl/nw0VjDbc6roDTxKPVJ5KNyG0eECWBos7hIbnjGhoZfg7VQaCq+j7iiKGpyGZTXJdSkGdPmrCT4LbsrDi/JVRJexkq+OkPr6CMUQ2KSTCd5hIpSz/vxzK7V9sBpkkz09fVNcZbZFQrE6jsPHAXs2fLb8BEQMyaKdqAc3bSEysUKJmzUOR91X7w1FSUqdiBUjRjnTRgmuvgGbK2aJ375iNAbNj8m5XClO1KOpMWBn5rXBVdFUhC5V4ao/RsneJTFPwZk1VAyKuC0TKUDHXwM4dkbHSn7oWjyUC1iEEpXkS35xmGTyfZT0EbOh9ggdEWH4FRBmHmiATXmqu6uxEXaw8v5UKy3Nro7/DAzMh9tWgnjsEMZYRAaebgHHWX0aqs4/oy5QYdtHtWk+BHB5/O95MC75X83cKcGSBPYh2KEPBvzacxwammNm7jL74yOg+c0Yn1sCQWCdhWpmbRAV5d0DJb0sa1eiLR/nZ5hU7NDjRQ/RqA4Jv5E7q8K2JxnAgoHHqZf3svtt+1DE6mwxD8oIlZ92Tqpc4vwRqOu9z3KPINvhs6b99bhq0waaqz81REZgyQr+PpVSUv7olnC31/uxvbtDhBEV3CVtwyMbdBSZ1xShMYoVBxbgaBXuHYmMqLKG6VumXAPsfXuLiwmwThK/u9zmKR9/eFPoYthA8GpOqn2qYY0KKFgETdGsvuW0Xm5thnO6T4SGnaFM/gSHpd9BufirHAzI6ASC5W1PewMmQ3xBuff0EvxENL9J5vQ0YeI4LyGt56GAl5cUlva+JLFeaoLgTdnXb7RVOja35TH/dJ8xa+G2uDUbCz6yqfEQxjq7mQwkzyTv38xsDhoU5QbWUjrehbeMtzsjdXwBSr4KHLNEiae6WhtKvkoGDqN7gNS1KL3Oy7lwE54buMe49cyMUFVuBbOvJjoqQaIHDQK51IE/Zz8uPN8A4xiKhdoa8V2P/RJJOHnr8Q9B1evLudfh3yBzuzWmL7xlRPoYPmP2f0sNBSXYdndqhllfMVu9uv2wb3UBjdDphFzMnOGJaEhSjFUh3h4eLss5QfcZiDNiaqTNPDCPHWCSVZPLssGT9+VGk4MpxA8GdLweN/H+ckNMPgx8Bi5srTkiLdzrGg79jIPSnMqqk9c4CCKEkFckscBxpLHiVTvXgkk3KcGJrfr7GvXLqAqHbdmmaKyPKhMIqyXVX/IABp+cKrb8ON53z66rpyd/KfUSJD5lPf2OLd4yxn0CMapCUm/SmxOpEBJ3LEMtGrfrMo2eh8Pqw/IPoIjkhLoYMFhWeSBOH8fugEhn7vxska2SGtpa6fgXSwnplreMvPJHR2oEuMBugAW8mpKZrvSAYIv6hKFW5/TdNJpuo3xWWWRbMph1lmd0eG5EB6FdNj9hApFpFyTeCqm/UlqF1rUESCilmOu0rtCX5ueho6bo3QkYmyqu9oVSnwadEp93H4sLvkc/ZMlKAQk8uDPpBBtslBtwmxQqRiMK8/HXeUMOfZC6v4MEohxDmq3i3nzhvd+WXZR9FErauDPzSz3P4vzKtBI6cXzzQWq0N24ZG9uECO4sq5jUXvO6CP8Wm04w0WfxZvrTRNICvbBeKqEi9iqbhSUVALAPnuI6L90ukZnrtygLe0Rk/bmDKGuvAuE4zJw1S6+8rdmos77JmxY/6Zt3wXDs34QMmKxCLTXdtmWCb+3h7OSdTgeYMIwgi9ja56mpnGCKgwh6DSisOv+sdgjpT/purYKZBe67s20k5DQqhQGk6Gm5sEtGA0tVy4KA1rNlk0Ig9r7YquVrVZi0foODXmcIPftoDj+mBNiHn/PyoyosIKYwEngvitb+OTH3hqFhQHmupv4BZvUxtEgvTF1rXtA7weY4z/XpXkFFimw+WHmxBrTRbc5NqWM5lRxKwoDK0o48l8tPo+FxxhOk87rShvGgAJs/5SmKGu9Er/LrN8QAggVhlPpOkDjljTbHEBk9v1EaLHSuIdi512pahV8mTpHDTJ+VaNjgXZ6yDieGoB4HLV1vzo+q7nZAoL9ZNYY7/fVD6Lsgle6ACaap8Tn6jX24Fhg2HCyq3vOr+CbhgGL5nHdLTKJP5Sn1N2P0V3Aftpek6CWsyRfM/qUJStxFBpYi5JQdXqjykq1x0yVEZDppOPK4LyPNyTFxlUwYtYvvh9xI2ywQjJxuYSyQlaRCT8xtXfQnBiPpY9FSmDrUT9d8ACdgIfFWe9u76ZTn7ac6CZ2XslD0gFtOExiiC8n2zXGRwGWaJUq5Fc9Zx59wmd/7fqhlh8YlSPoqhPFxB8JeDgfaPgf7gHK+KooirkNv+Q2rWIgDWsFcp/4FXcadK/tQy5lb1vy0LUYCKmxIriFNysPb4oY5fgSju4o8kN6Qxu3tLj3h7/Xal8E9VE6qquLwFmGEGm8VBrKjWbV6wX4rl9grxR+kMruSfKnwxCFklVS2YO5/+bG4Ek++y2DXGpmqv4yQxZMl47m75xg1EJBxXHCYINXgChzQyCteyia4eJRhemXU9aGBiJt63FO77O2d35zsLgEA5c4vS6esJ3Oi31EN/VWRSO8PkqJoOTVA+m437y7JlCruiqKjXY7+e2L03vE98OFuUAD+SmezPg0cx73+ykVt2xet6jVnsPlYRyGYB+OjQ6QGQAY6KnhqBA2Fq+IaaY5oQV3GBoqdCq+PmlF6gitmP7e2Ihn62cvTG4O1siqXUO32q33Qs1ROlJG1Oz8QX4wx25VBn4JBIfmW1TGg0UuEtYbROF28E2RXzVYF4s4icVepaXE1Bc0GdNHkaD0mhsJNxoJh/GRQqOH9FS2JUJTb+Aqc7/62knDm1hSSdLXtlZylHTLV9NDvBE+R12u270qFpvJxCtsvmz/bm42dtLCUm5Pmz7ITNv6pCRdPpXRbFAAFhH9GgjoHbsvkwYUaSBvx7ByWmrIQI/2pDsr1UPsmitJYBcskVbs+90Srwm8kKHdP/kKSD8M22EyfZw/zgRWJdIhgBAQcSMbhF/8A3fVayu0sYLJ260kKHNuFVdbctZHQLvpD7bqcZTq2trhU5J9wvf3jwMEo03qogVIe3XcsTDDC1DA05OoHg30cD0dSS63Om9sUtWGyfSaPNsTFknYCIsKl3KnafoEmBRiKdaSOLF1GsIJiL4Q+E10l/pSm9KmHdfI1+PF3J+CycRFcMfSKh6p1PTSuoSH0pfKGlIG/dNJThfOZit/+fpOzKpqRpFA9jfoatWvth72qRCivujLg3xIPxWVruom7Km/OofF4ex8t1g4nqd6rNEIeoiE85jlsoq8bbhyOt38FTQK53zd7QIEdogtQiv1AHatgOEO45gzoQoZbiOw+W72xoFL2HvnXRkr+nWtG++OJUv3HNuZkpoo60HJZ1VuRysFubPGlGBqZgkWDFXnMVtolwu2ZfIc3p1ZgRSWq03mSn+sKsvPpuJxvDKByVq0469GCYdtddAeS+wAww6yHNT6hNt0qqTeL7FuSJoJDSSD3lrRJfpVZRAqwTBftqP6SXzK+hvdCx7LsVFvF4sPKxG0QiK6Ybg05LSf7S2+HCAjyweaQWkczyJTri6E2yNF82u26//GAlY0WONl+bI3Or3L2oJS6h1ONQweFwGhFbS9QQHSTbuTZvRl0Wzt1sUDQMeySyG9KQ8ZkVIpUgFrDkGMclS9f2aNCp3Y0Iil0RzjO1njmSz9BeT+5HTG4caVJrBF7kZxWKvgEnNPduxtI1BOo5NKL57KJ1bhmd5TtrSxmEJsqweHi8vBuCX6aOOdSi6Dm+z8bcg375/zabisVs8sZI/p9jr4v6M9JBSatcLKeY+PVBVXKZGAsp5a5oBIJLwfSPb2B+15Q+4vXbxEzsHErPNPov19GbphrTp6TewfUo71F+OEGGr6vx1TP4QTgC8WIUpIX0Z1KtfyIX1Ssrkjx57mk4rsRocpoCa+ho9F5s7zkfZXen39KsBnvyH352D1z02zT4Xx7JqxY84oGKKykfpQUj0VzFVNcu6I87dujHfUQjK2W3ieOjx31crM75VNxuSmKv43xJyb240mC7msWtTdlxTzLhjdEhLPmBj7uv1FsJLuoLQfdbYtxDfOMjTGduJg+EHfWC0OUTWDKvUGkJ57HSyrFazviMhwCoiY5mIC36ILqpTc2pO9wmgE6Mow1AYYZtCWnMPhiHZHrEuzWR3CstPF2Y/jouj8hf0cKqpnvSDqXqssB7+4lkpwV35A510P9ewIaZnu8CAxtJjA933fdzHKefdQ0/1XWCwSkPy5EjDcNisGsc8v+YU9BBHZjiu/q13QXatNPC3omE419CrCOkJ1bU42wuUTPpI6AZsRMj7uYJygTCOAtcIc0Wl8or4PchoBxlmUQJPKf1yc8fSKOFDlM4jGBHJueVepyfjK2pxYjnZ8TjysjVXHPOkJvVT3wbtZEj4JbbDQzAlxWRvX8EVTvIqOxw7kA/NKUMJXRcnqs6CKIDQYc0vXnX/LfghO5jF31x9X0KTG1XZpkmTNPGm4p7bwK5PvO6YdYUJqBJIWIvxCJ7fugn1Kr2IbkC0oQr092oZigevlyE0XwbMrbkyyhOKqhy00K1BoOdl1B3Oy2ZKWzoiaduBamDZXMttO0kxY3TExNgUo9Jv4foruPIkM54/lAvlLFJSy2l1wb0ZKrxSOvxWC0YgzfIi3dOpg17K98kT/ZXGpbEPIXYzCPu2ZwXVFfJ/6GwQB72v8e+5OBgS2YKmq2vi3hX6Rvh2GcqWG5iubwwGsYD+K9VmLOAKfcYvU7lPRzQLY6oY09SdiPnzxB9gq/e/oPCu95lINXV/orxA14e/T3Qquu1izr9Xount94o7jzEW6alIOndIkS+q3i1V4GVr9J9zSvlajb/pIXJRWRtGfNi5VKzApu74roEJ8emuugjDasUemaXjzpjqihguO8vb2hCQCfmJgvlN7TVcz+B8TaNQrCc/EyqpkWxt6r/Epy0H/2dbJDvRKqrt+a5U0U1atutR1PReiXqI6d1x60F+wQG9GyQdigjdPg0sC0+oEXmoBdunmjuUT0r9pUiYx6J9gZlmIVujzH920xBirNdEBDdQNKeIFatfnzsomgtUXGP7XK445yKzF2iqHOtDsKNvqAY21pGMbIZFzLF7U5IEh+vIpoOsnLFm5h3+8XyJgCuQg+IvEdHgS/bz1iZAzwuZfkbA5p+rPXtNwo1FLEXTyenRJfCqMI7mGCmrGnaLGMlH7bb+2XinlsWeGuSW7APW6HhEk63YBG44vJc2Y3A4aWBVy7/vQDM03bbW6rCGZs6Treu2XC5cM7rDa4RPegRUUC5rzTIbEGQZon/PzW3lsVHXcCwvjCjM4l9YS7sH1WrgD4gaWYFrfE13ZfWs1erMXnrBSvYEaSVcCYD5N9SvBu9BqncliFSG8iOGGoTNmpdrhzcsIkKbN1VCjcDAmHQ99vEv8BsHjG16KLkwlfQdoacxbjUCTHDXB708OpXrPdvPf/Q44ienMtdP0M6Q47VhiaZJRpAM53g+gTW2GicNsbnxqNDUEn/l0gTAqOgXsDgo93wIT+0luM1JBImScsaNkTN13waTOuJ0LkYb5LADONQFooksuJe5BaHCxDiwqSyFKa6LsYsHgvy2BXmSf47+/WwziYgjCRpXAcA3GaUp3gw1/uLOfAO4CrF5RNXtFUZLvolVDx8xjDpeZo7buTWkyuys95ChNvsmAJEHNzQuk+fi3azZsRKP2zsOU92ny6d0zVuu//rf6dM/JiHk4q86cZpWKPcIdAMDDZNWvCPdmWLl+NImwK07zLH8osqnxrURH6QoZ2eFQbk1+ihKerlG7L2OMzKfRf/Sa1jzLeSotD/hUU4ivJaL6QoiJhv2DXaANRPuCO1IR4Urn0c0xKufd9WW8YHHx/9Yl3f+Z/aJ2SKErsNig77zEQjF37P9piQZTrAguLb+TiaHDeuLhBOFAGqzzl60IonfgZe03POeMhMnmbg3HKZUpbSdeyxnWv/Ascp+ZNTPR6e3PU0/kzW1q0U9rKTBpj+xArw1/i0wcv23fFGXj9EAsL61M2Q9p8VEiMHK8CiDWc7Jl+MNde6KmqyRoiGd98jfi3DD+XrDd7VKkshV1kbV1AVPAsj60W1QVtVlvbeHj6ZckWP3xGZnwzysMlCpe78QOPxO+zdcdzhcvi4A6lPo2EMc9+aje8fKAEyEcgVX5xr2EDpSOGpXwHpxqVwhd2+QNKli2ebAL7AP1J6Jj6nh7Ux7J8SznvH1KvtdSAJAI3LSZ0yLdZgxnlHQ8CZDZOCuZX/ijGAD29JKxisRmObvH+tMYvMDOJ22rdSKloDcdmoaVcNmoils9lS5OfJcwS6w6yfktKEnptchmQWISW7Fnwf13IxrT6tgAvm67hkaOpGekju2eipUqLbu39TJHWQMQT/pDrlcKfHEcOW5aTJoDzmbZ5Muhak1CMfwyYgIcPVMb4QWeIRyr7fhdQ+l37K2dy7yFO0S+XBlnKEsplDtXgfF0IHK7c8wfoN//vcAGvc+5QgZyyajSa+Qrx8AE+WiGRJgxTHaMfE3x/j7SQPgSS6qbWaou35rLPbzO9pV47EG1iKcc9H/g8gAzha3E9i37v/cGnykIdHUpVSMhG9qTSTPhG356Y9l0u0NQUgVr482TU4v9uEjlwlK1FLbdizMPWuWAcMO0Cxc7LQzqIIfeImxdV6HlU725pogjqaFFMQxLAE85390ImGJwymfywJvcIEdyg8g/4snXksEbF/7VOe0mQ1rKXSIC0SwJRjxXLasmys7CP91TMgnQgBvakCxW626HAy5Vn6ILfirQaPDunrbC2xcbs+UXD79r+3krmMVOXYEg6PdBHrueHJOEdp66uyZKNYxlzJOTDqgjKRpexpthe5nRiW9cu+ktiIN1LJ2lOybybTaMxcXn+I35/91sPWTjHqV4ham2r8dKDoH/UjqagiE21ToLqTJBoOuY85vh538CyjYHL0IgLhJf+Yl7qf1ZKcX1FKJzEloGviDkDkp2uqh/724g9dqsk270lh2HT9myIo8x+uoqbbHPdhGEQ2fYgUHADtuhp4eHMLxN7VduJICgf9uDaYpyWm9JO5eJ0irPgVzyrQqXBaQ2CFU8a5SDxctjrjBo3ltI0/QQ6E30A/obS2OMYLh4M/SBc9qzkGFfRY+br9icgwD+20A+987opeiCKqv2HsciPhN7QJ/wzD7yB8hdi2kBq1PX9iZYsDozRl49PenjTMfquHnx7Kd/iMtaQaUETcSS/C3KaaettTPit8bCQQv35TAnBXLV915pPSmTOh7d3hXcNu8S2iZSZVHmw3J5IyIaPkS8gnrWkVa70EW/1gCFMX4Jmzmed61aO1RFH5Vj4C12esYmRodCnY7qz0NTKGSWwzqHd66mi+Lw070c8tdtWylOPblsyDUxPaqvE80+mLvvj2ofXIr81YsDWJdUX7DalYApIWVFLx8W3FmBw3/3K3sRmfhh/2AHNh1DydHsNomQmwLMqdOFedlBMQQlpg1zVB57ZdVPTT2eA11fnRfJxu9javGTXsCCNEjeJWzuJWFB3GLhkHzANW3a5rkvJyJwdQV34bEfjQNLpgXKN+mGQQA2iuAyoRnFXSjBxYt7K1QCPZ9zWt6M2Oj4b1c/+J/klQ1Rzajh/BvbtekleHpVE9Jc0rn8zQjxUiPw8YA4d5I/kr5W2VFAhYIicvizvgVr80+YfiLciWeWraKMu1nBeHi+fWL3nT/M8QMMNMJhb0EZH7VlFeVzgc9th1AhaO8rTgJynVjuplCgzfCeqk839ZYGmNe4tCSNJ2F2qdyx8QVWCX6aVyNEWjL+72AnsyNVTTiaI5N2k9GlJUTiY9p1rKYRv62UC2Dziw+pgS8axLie1TEOmt7SNKaUcXldj6PqdShZRbVgMpN+X8QZ0jSkGe31Rr16/QYEVZv7yzGcdjJCNLQF9tymPoS8oU504oP2u6yHYVZSn79Z7BTZ9NdrpVETJmNELXWPCRsdFEfbq6LL66VYVsXf3+wmZjf6OyIq9SDp2nr3ptI1HQcRGW27kKHDjZGqcA5mq5OcqDWJpdO2wxXVDhMfFE1aL/qMK4BtxOATQvYU0S1mE8QQezLR6h5t9UCT/vyZQ8huGstm3/wUgJ/4r2/HvrrKzpslLjrL8fLRsZhdSkTorhDWFP2C9sr3DXSoMAXaXXT301hqhVTwdiXkzmuxbKPAOkn7H3uSQvJaRTyA9Hk+28H/+oFxc1S9ttNRLVsjYPdzGHTYsWkAJJmu810YMOpDmHtypgSCrv5RukNJc2knUnCRqaeT+LV3l92NHJOA7azhuFefw1FDN5F4dQyRSVKpII/v+WOYUDoZIg8bg1fdFZiZF3hMsJmK7WieS5J7eGu30eJ5kg6YncKiBYmqZu2nY7pCd8Ap4br+YbyB+KymlOkK/iDIxGSLSezZweDv3tcqQEUlKudg5Katc0apI0m+/noyR5ZZWH8z0bHJF3T15z3PTo+6k2Fuood4TuG4WB7p5lTKvq3MPnVj+xBSS3HZaNAzwqhjsKm9+d73MTwhKZL5Yu5uSRw3QA+/k0/ogi3XvBq80O94EL+WfZIAXvZQ/riQ0sc9em59ciOvRBiFeLtp7e9EtE2Ku3MMmoeRp9qqdWZ2Zwc8BeDEWcYjar7yhY9jdyKkZwKuozpOLzO4ZZmOMpw2sK0/pJYXCtiu83IdKium6P9uYf3idEp8n7x8oXhj+W9fDC3uLpiVHrm+j7q5U7b+0bVDbgfvLcOIb/bgkBuf0DrkWLT0yfLj+D/iqIEoybBnw6mjKcr4mJ19M6Ao+xcfuR6iCVb1U4JXQ5mAARSor+8JRM9VOImPWiUnoUsJrSA9mBSjwdX3toWNXbCfbuNzQKn7QET6aZCP6nBMbTaArBowxvwVPeODK/QBI761yksDc1i+aQYRE32vaKMeHaqLPf6LHQNgXway3vXcfsbYc35gSjnEY+UEZqP7vFtucBe/iKBpra8FA1G+9Ltcw8imctRDJ9BVXt3P5aapmNziijuZUmuNnUWTbgKD08Q65EmR1jEWde9ETKp/ZnsX77YFqvz/+xuLA/Olam+ajPr6ZCrAyHIo8J+auRIZnGU0J7m7PrG86G8HG+/bqWHZXOhUrzXLCp6mmWDj5Hi9GfD5L5aorO90XGNb43gfTOLHp5eCFHGstAGTvhBs9W6eDiNR+x/ck5QtE4zJqpOVBASPUJXC7A0tbK0Fa+dAcIOU/ntdxGqBiDYKYKHZVyq98g+EUp0vNTlx/xKQikYKO80M4nERsKOPEWbkITBnYrbiybCnB8d7BLcvIEs8AZ/x3bG1avJ/G4p73JnJruLxqlflXZhIgEO185qfRvwnIy/33h8dzCALGNciosnisqW/f1IoZlCqiU13s0PKm56rXOAfhuaw0N4hXXePSisJvb+LxuooLynYncchv4iQljIXKGnBD+5I9b9CspRyM4ZwDXBTi/rtEg95GhS5l8vhEkF1fNYiNlI+iL8nOAPrkwRjpOAqqoiCPrj26fcPQvhxahHXF0AZxVBz+i6RNBQK/Z5OIfOJQZTagVuV7nxs/0OL+le7Iqd0+DqwM931Qk8ZnTLqs5aW+eDD1dziQJ5KmXFOOVrEUExqw9qo/u6094VPA0kErnklToN1laBh7hvUXg44B9yMdnEouIIOX96tmqr+q5gIiBk8P5bEO9/YOWh7/C5o23IA/Wr0+iTcx+VDUc2852NtQKELjd3epttWJ7Fdi8crmwJcSniJUx0cLX9Wh+Fbk3PG7WooX7pWmh2fSsM+KAyUNaGT9qF5TI9dUEMgNKyFBS+td7NciJeIL9lsJpmuLwZDmDo3UC0h5iJ426AuDm+MKTl9/pCu15H/RsGi8be3DEz211vba1GwfxmrX/3RMRo0K+Zt94s3av5FALMTRyiY0DWnh98RgbBaBQ90S61QrkjjDO189weDKyZOTF15ULH37OJEPOEqQawMKuY0XoHxXksSW4HQ3tkVEzMQU93o0iCZq1AzhEsEZZ2dalPCKHm4nAFRLjtw31FrJFauMbkBXdr6Aefjk3wylvJyArUKosTImZUxRBfNtyyqfgclHKkyyc8I5FoLwTsm7PbkpNKAc/8Jcy4qNX5CBsnZTTKN/qKZfxzPm+/AEDYyPcarE2ZxTGBAtcfo2H1RnYBZg3xt8ba6Cjd6OVA08vGs4yiiPhS7XmIcwvOa1QQ7IX1MpiKz/gAhUYzcqUcOdvwvA/4lusMYO4HN5ezTwYJ1aItat2eopQbwomq1CVbVHmLKQpyiUbpeSKWEK4LBJ5q2C5PrZDF+bX/0EleSBgALhPfSMMsqbf8Peb82HLmnwaoc1aNb72D3u9/pV8mCpInf1P1J6kwSrXcWebc+HvHaC9R8UbdrNu0EYpyYybtW3UBk0z5D7yFMG8T65Gg5xs5IQ3FdX1uhIvQRgfv0X33RRbnkCs5rSXl8q9h8KX/1B7RA3TO9UEcgP0A3B+Ymy/8sKwMytAQl4AL1gvt2RdNjwhuWmc8R68o7QERDBrmHzunWO+j3sn5QZfTWHaWAQr41sdgVrPkmhlMKDe/+G7k4GO4Wk+gBInqCwqgYygk5ZxmV96MTaP0pqYt46Be9cSdqtALNLfghQKIkt6ptdX+nCAYWrowN6lQ7zDt004pgFEriVIaDluT5nKTXwzsdQ2TTGZY5Jv5Zz7D+eHQFVToBgBXfMsBkg2+fF2Ac7xtfnLkf8OqkgOZ8Y+w+p2YCdd+0HPyZEEL4e09/ODZbOh8L47VmNdGdvCarATBBEB8Rhzy4VpJEs6BeLRv/JL0sLALcOE47NXST6yC4WpBibHFIuAQ3khMwCGHrLLCm0FGFbqgn13/60FV5hBk3aHag6O0ng4tADjKxNsVs4d0eb1Ozpxx0QxGalD8Vmhita4pNAMeBwBgArsovb/PpsjsAzAVupcVV8UOmf99UkzCkLcDsuf3Hb96z+sVTnoqlLsfUWjG+6mPRgLXxJZP1yAtm8xjtdP7DOgOrhMDNevN3S/pGbQ/QBeJ2g3F+ICeL19dc4/J5nokgaoC2A11e1Jy+8ikhettlNCF6okNukiiF6A9b5IgNlz/fA4n+9tvXjLUfAuReVzfHoviILNZ+mGy0Y0BNWg7NKtRqXy3rL47G8TMtcqdxB6N4+Y7zKnCPKwRbR12tXOtjzbHfFJD+TfqV37ca4gMSxSn5cZaCqXzPzevpl/PD7zb2iU9YwzW1W0mHcII9JkUzfMDCeKFDRVM1HeQetu9J8xB4Mc3mRy5JtcRpP9AePOGxOZS23ii6IEzrt/nap9Y6A4iA4aw6k/xU9VKNUwC/pEM6k0kjO1DxCqYZxBc0AAG0XGEHHf4AInYfpp8pgQWfTl+byA7gLbSMcCCRrhJ1KUqdmixATc9tuu1i2cygPFdRkPU3x54uhvqXiPIO62ZSTUEc6w9lC0wFp0/6FLsgLDnltM1J//p7TGcMbio7VTsmRzCH0orvyjq5bp58xMi+j7srKZC9WLOLGwK9Rem2qDQggb5POH3OxG4Z7lL8CUiK7PIcGp4vyqLwvhLpfz9d/1YeFt6o6BwyF8qWexvsHC4khq14zRn3SBGJ3r0GMPs5QYZ7mZB/pTjHqwMW6ovT9uY8aJyIe0EG5WExsKlclV1IYfgq0UU6qHdLXK9EOzu+uNo7uMb4zOJMtVjaG00WAUDhKu8OA9LPd/VRsxc4REAzTDw7J46Eg+w02zOowRnZqOk5a/h1QX3STagk8grT2ek6LC8NyyS58aL+0c/txpK2JIxhtXQR+3UMIl/rrfQxvgIEdmS1lGTNSSpurcSuqw1VSbWxROHZcwGECeDTpYCI+qwdsCy8QQRfblmrVpPygDoNS0LGKVsCS7u+uAKUMCds6sihiVtnWIAScrqllLnpNVY5D0F9WKvj0Ydzxudbv1ot5GnQxxs3K/Yhv8l6vD93T0iak7CAfutbV8lQrTKO01e7DZuu/iQ5a1cqYlMmLc+cfU7xl22Ol/oFV9yNcCjyr7L++lD3A70equW/zGy6kmLdipSLP0f3yL0gbd7YpWw1XKQey5Yw/Ecfb6CrqIKDFnrSIHJpulWIcg5A7nj7e4bqKSnwOpfqAmLOsXda6xd4LQNRCLX3dY4hnP90ZkxQPk9lFyfqmEFVTHnt2W4Kh1ZN6Tt9PlkRYr3cXpPdQkOgQHvu4hzHOr5AQ/kIRR0mrPe4tGQn8YndU91sSQBvLqdKTNgH67jFsZEm6tz8+J9wVO4flRCQHJPnykEpty8/7gtdCMilPcnLcmXxzAss5/2Cl4PBNA8FDdSsEcIRbgeHPLW7uAoI+YTAISEXo4Uf5qvSxjr7imBg6nZyz7JC1+micrhXNiHZz4wu1DrK8KJinQ3qGXY3T+R/VciDrcKBbrxbAiwCs6X6ZBTX4GTLXxLDP2xrkqWh/hn14HOf7XN4h+F6ver9kNqoeoZ7hP24Yu/HA28A75E7xLFNx1sPvvqYqOqm0h8AKZA1wPv1aWb+olXxmSbFrSIaubUT2vBj10X6GMQpeGQ4R11sixxGPJ6qH/0m/sjtm8zRD2GyFkLbQviH/MhSNIMPi0ghxK2eRgHMyC0qPG3zXkfcdPB0rWk9NjldbJ3ZIHM2F/YxdvgdTUPdHtFDFjiuEQwYU4ZYwT+wAFB62H75NtLEMe3fOSbufZ8MhunFxOWI9J4U8Id/fMT4h8r3fHnejzMkvrxrhAgi5WA4H9Q4lTfbbA1FPIRQbMLNmayjWsYoiEVsiSTsz67KRD8I1zMIYQcHGc1oIoQ7RRrDD6es9P4e1ds/AL1MSjo+LO0WOV900mfvDSHU+OYwROyYUkzTLXC2dgrPY2uhEklBERYP3n3VHVxw5kDqRGuc1r+SI7JtjpU7yp+uUQBeP79OhRaXwPkwjt9txfrfVFOYkYbgEwXSDCFjCEGxWhEedTFFPtlv4sVJlAjFrUjeEX7yyKSwrPCJPhQMqhwqu9o0HvKDOeOAZV7IgxgNJwZbfGixMG3PdCYJa2OjOrrz5EKgJE21GeKfPhnmFANlDI0HmS1jxN2Fnl9ioeEXot06ZgZma58j5EyCZYGQhHFeoifOL3uIFBG1G9U97iUvw0Z7TkMaFaK4prSieKTsK6IuMs9+JJRNC4Evd/4iPODCYgidH5YYQQ6VzrhuWqJCYPe8+HVHopEPu4X/F+mKe9RoPraKAK04ENSIVe39r2FvGhyc5XWqOYQcmdzhqX/8vxcQfvhHdme+LkSKDxZV6PWPci6DKMfHfI6aOOmLjIxzvK03ayaTRsg/Xvpz1+cafmW5sEBorchZipZfDCjJHHmT2wCtT+wez1eXFOyFZPZchvtIjAf2Jch4Dx0kp0sfTWkP+R7P2maEcR0TwFagTroYnwe1mX1wWt9Sv7Mdg37QpvvUpZbmHXC6XA8uLDG39ZudicdpWlN+q+Z+3u+9kSztcjOApAbOaK4HVOdNDvvELVybtfHS/bRMnN1wGoeOnijgwGtGwFzdBLICTzTXeUmHkBpO4uRcMlKFPBpH4j2Nv0MVStzY4hGHN0p1dZTyi/Mcha+LFvONV/ljBTUblEGBRdycgEVeJlqxGXQPvGLTmLszVKzyyzdG1gsLR1Z/A2APrehv7gr3xKQhKmC7YCoztKNerO8hi+Yj+hGZYUSdBHDoRyCHKJXOGsO2/grMmFbf0OlCRTnu9ki18n9TypVNhiN9Hj2REaIJO+ahxexHx/dA==">
            <a:extLst>
              <a:ext uri="{FF2B5EF4-FFF2-40B4-BE49-F238E27FC236}">
                <a16:creationId xmlns:a16="http://schemas.microsoft.com/office/drawing/2014/main" id="{2F623EAA-3BEB-5D51-92B6-C2F295F30221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 bwMode="gray">
          <a:xfrm>
            <a:off x="323857" y="2190119"/>
            <a:ext cx="5501870" cy="4223017"/>
          </a:xfrm>
          <a:prstGeom prst="rect">
            <a:avLst/>
          </a:prstGeom>
          <a:blipFill>
            <a:blip r:embed="rId19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390617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think-cell data - do not delete" hidden="1">
            <a:extLst>
              <a:ext uri="{FF2B5EF4-FFF2-40B4-BE49-F238E27FC236}">
                <a16:creationId xmlns:a16="http://schemas.microsoft.com/office/drawing/2014/main" id="{39CEE349-7AE7-8C8C-1C24-3B49773AA6A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6626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606" imgH="608" progId="TCLayout.ActiveDocument.1">
                  <p:embed/>
                </p:oleObj>
              </mc:Choice>
              <mc:Fallback>
                <p:oleObj name="think-cell Slide" r:id="rId12" imgW="606" imgH="608" progId="TCLayout.ActiveDocument.1">
                  <p:embed/>
                  <p:pic>
                    <p:nvPicPr>
                      <p:cNvPr id="3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CEE349-7AE7-8C8C-1C24-3B49773AA6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3" name="btfpColumnIndicatorGroup2">
            <a:extLst>
              <a:ext uri="{FF2B5EF4-FFF2-40B4-BE49-F238E27FC236}">
                <a16:creationId xmlns:a16="http://schemas.microsoft.com/office/drawing/2014/main" id="{644E17FA-B138-99BD-CD6C-005B3BEBAC2E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31" name="btfpColumnGapBlocker681974">
              <a:extLst>
                <a:ext uri="{FF2B5EF4-FFF2-40B4-BE49-F238E27FC236}">
                  <a16:creationId xmlns:a16="http://schemas.microsoft.com/office/drawing/2014/main" id="{03DE904E-98C5-B563-2E2D-B7A24CA912C5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9" name="btfpColumnGapBlocker126567">
              <a:extLst>
                <a:ext uri="{FF2B5EF4-FFF2-40B4-BE49-F238E27FC236}">
                  <a16:creationId xmlns:a16="http://schemas.microsoft.com/office/drawing/2014/main" id="{88EE21CD-D5E5-14C7-4A5C-1998673CD10B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7" name="btfpColumnIndicator691515">
              <a:extLst>
                <a:ext uri="{FF2B5EF4-FFF2-40B4-BE49-F238E27FC236}">
                  <a16:creationId xmlns:a16="http://schemas.microsoft.com/office/drawing/2014/main" id="{B3E40C61-D72B-A26E-F901-7DF0DCB02161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btfpColumnIndicator668729">
              <a:extLst>
                <a:ext uri="{FF2B5EF4-FFF2-40B4-BE49-F238E27FC236}">
                  <a16:creationId xmlns:a16="http://schemas.microsoft.com/office/drawing/2014/main" id="{5D64B29D-2661-2811-196A-A0D31FE8328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btfpColumnIndicatorGroup1">
            <a:extLst>
              <a:ext uri="{FF2B5EF4-FFF2-40B4-BE49-F238E27FC236}">
                <a16:creationId xmlns:a16="http://schemas.microsoft.com/office/drawing/2014/main" id="{D7B3C2AB-1CE5-E836-B763-6B4BB2CC16F5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0" name="btfpColumnGapBlocker788571">
              <a:extLst>
                <a:ext uri="{FF2B5EF4-FFF2-40B4-BE49-F238E27FC236}">
                  <a16:creationId xmlns:a16="http://schemas.microsoft.com/office/drawing/2014/main" id="{F06CC607-D092-9CED-B140-527441CA877F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8" name="btfpColumnGapBlocker753874">
              <a:extLst>
                <a:ext uri="{FF2B5EF4-FFF2-40B4-BE49-F238E27FC236}">
                  <a16:creationId xmlns:a16="http://schemas.microsoft.com/office/drawing/2014/main" id="{4CC1BBC6-1445-FDE6-E070-624745F6C4DE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6" name="btfpColumnIndicator451542">
              <a:extLst>
                <a:ext uri="{FF2B5EF4-FFF2-40B4-BE49-F238E27FC236}">
                  <a16:creationId xmlns:a16="http://schemas.microsoft.com/office/drawing/2014/main" id="{C39A93A6-EB69-75CC-523E-C7CD572A9EBA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btfpColumnIndicator975706">
              <a:extLst>
                <a:ext uri="{FF2B5EF4-FFF2-40B4-BE49-F238E27FC236}">
                  <a16:creationId xmlns:a16="http://schemas.microsoft.com/office/drawing/2014/main" id="{E2A0E03C-3130-2111-3425-0F4062B7573B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B9DD7981-F534-20AD-E583-B5DE854378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 dirty="0">
                <a:solidFill>
                  <a:srgbClr val="000000"/>
                </a:solidFill>
              </a:rPr>
              <a:t>KPCs | </a:t>
            </a:r>
            <a:r>
              <a:rPr lang="en-US" dirty="0">
                <a:solidFill>
                  <a:srgbClr val="000000"/>
                </a:solidFill>
              </a:rPr>
              <a:t>xxx software customers place highest importance on ease of use and cost; ease of booking and an intuitive interface are also high priority</a:t>
            </a:r>
          </a:p>
        </p:txBody>
      </p:sp>
      <p:graphicFrame>
        <p:nvGraphicFramePr>
          <p:cNvPr id="13" name="Table 7">
            <a:extLst>
              <a:ext uri="{FF2B5EF4-FFF2-40B4-BE49-F238E27FC236}">
                <a16:creationId xmlns:a16="http://schemas.microsoft.com/office/drawing/2014/main" id="{49EE7857-BF2E-35AA-DF49-1E19C93A4C00}"/>
              </a:ext>
            </a:extLst>
          </p:cNvPr>
          <p:cNvGraphicFramePr>
            <a:graphicFrameLocks noGrp="1"/>
          </p:cNvGraphicFramePr>
          <p:nvPr/>
        </p:nvGraphicFramePr>
        <p:xfrm>
          <a:off x="4396058" y="922606"/>
          <a:ext cx="2633117" cy="2743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11919">
                  <a:extLst>
                    <a:ext uri="{9D8B030D-6E8A-4147-A177-3AD203B41FA5}">
                      <a16:colId xmlns:a16="http://schemas.microsoft.com/office/drawing/2014/main" val="291626281"/>
                    </a:ext>
                  </a:extLst>
                </a:gridCol>
                <a:gridCol w="249078">
                  <a:extLst>
                    <a:ext uri="{9D8B030D-6E8A-4147-A177-3AD203B41FA5}">
                      <a16:colId xmlns:a16="http://schemas.microsoft.com/office/drawing/2014/main" val="895854864"/>
                    </a:ext>
                  </a:extLst>
                </a:gridCol>
                <a:gridCol w="249078">
                  <a:extLst>
                    <a:ext uri="{9D8B030D-6E8A-4147-A177-3AD203B41FA5}">
                      <a16:colId xmlns:a16="http://schemas.microsoft.com/office/drawing/2014/main" val="485452462"/>
                    </a:ext>
                  </a:extLst>
                </a:gridCol>
                <a:gridCol w="249078">
                  <a:extLst>
                    <a:ext uri="{9D8B030D-6E8A-4147-A177-3AD203B41FA5}">
                      <a16:colId xmlns:a16="http://schemas.microsoft.com/office/drawing/2014/main" val="374519989"/>
                    </a:ext>
                  </a:extLst>
                </a:gridCol>
                <a:gridCol w="249078">
                  <a:extLst>
                    <a:ext uri="{9D8B030D-6E8A-4147-A177-3AD203B41FA5}">
                      <a16:colId xmlns:a16="http://schemas.microsoft.com/office/drawing/2014/main" val="4234188327"/>
                    </a:ext>
                  </a:extLst>
                </a:gridCol>
                <a:gridCol w="249078">
                  <a:extLst>
                    <a:ext uri="{9D8B030D-6E8A-4147-A177-3AD203B41FA5}">
                      <a16:colId xmlns:a16="http://schemas.microsoft.com/office/drawing/2014/main" val="3479015104"/>
                    </a:ext>
                  </a:extLst>
                </a:gridCol>
                <a:gridCol w="675808">
                  <a:extLst>
                    <a:ext uri="{9D8B030D-6E8A-4147-A177-3AD203B41FA5}">
                      <a16:colId xmlns:a16="http://schemas.microsoft.com/office/drawing/2014/main" val="3049339242"/>
                    </a:ext>
                  </a:extLst>
                </a:gridCol>
              </a:tblGrid>
              <a:tr h="257442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900"/>
                        <a:t>Least important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900"/>
                        <a:t>1</a:t>
                      </a:r>
                    </a:p>
                  </a:txBody>
                  <a:tcPr marT="0" marB="0" anchor="ctr">
                    <a:solidFill>
                      <a:srgbClr val="EED6E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900"/>
                        <a:t>2</a:t>
                      </a:r>
                    </a:p>
                  </a:txBody>
                  <a:tcPr marT="0" marB="0" anchor="ctr">
                    <a:solidFill>
                      <a:srgbClr val="D9ABC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900">
                          <a:solidFill>
                            <a:srgbClr val="FFFFFF"/>
                          </a:solidFill>
                        </a:rPr>
                        <a:t>3</a:t>
                      </a:r>
                    </a:p>
                  </a:txBody>
                  <a:tcPr marT="0" marB="0" anchor="ctr">
                    <a:solidFill>
                      <a:srgbClr val="BA749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900">
                          <a:solidFill>
                            <a:srgbClr val="FFFFFF"/>
                          </a:solidFill>
                        </a:rPr>
                        <a:t>4</a:t>
                      </a:r>
                    </a:p>
                  </a:txBody>
                  <a:tcPr marT="0" marB="0" anchor="ctr">
                    <a:solidFill>
                      <a:srgbClr val="973B7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900">
                          <a:solidFill>
                            <a:srgbClr val="FFFFFF"/>
                          </a:solidFill>
                        </a:rPr>
                        <a:t>5</a:t>
                      </a:r>
                    </a:p>
                  </a:txBody>
                  <a:tcPr marT="0" marB="0" anchor="ctr">
                    <a:solidFill>
                      <a:srgbClr val="640A4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900"/>
                        <a:t>Most </a:t>
                      </a:r>
                      <a:br>
                        <a:rPr lang="en-US" sz="900"/>
                      </a:br>
                      <a:r>
                        <a:rPr lang="en-US" sz="900"/>
                        <a:t>important</a:t>
                      </a:r>
                    </a:p>
                  </a:txBody>
                  <a:tcPr marT="0" marB="0" anchor="ctr"/>
                </a:tc>
                <a:extLst>
                  <a:ext uri="{0D108BD9-81ED-4DB2-BD59-A6C34878D82A}">
                    <a16:rowId xmlns:a16="http://schemas.microsoft.com/office/drawing/2014/main" val="4006533998"/>
                  </a:ext>
                </a:extLst>
              </a:tr>
            </a:tbl>
          </a:graphicData>
        </a:graphic>
      </p:graphicFrame>
      <p:graphicFrame>
        <p:nvGraphicFramePr>
          <p:cNvPr id="15" name="btfpTable498735">
            <a:extLst>
              <a:ext uri="{FF2B5EF4-FFF2-40B4-BE49-F238E27FC236}">
                <a16:creationId xmlns:a16="http://schemas.microsoft.com/office/drawing/2014/main" id="{1B91B9FC-5ADA-2C58-09C4-3061C118A1E9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444031" y="1275856"/>
          <a:ext cx="11442536" cy="5058161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756020">
                  <a:extLst>
                    <a:ext uri="{9D8B030D-6E8A-4147-A177-3AD203B41FA5}">
                      <a16:colId xmlns:a16="http://schemas.microsoft.com/office/drawing/2014/main" val="3329812976"/>
                    </a:ext>
                  </a:extLst>
                </a:gridCol>
                <a:gridCol w="776708">
                  <a:extLst>
                    <a:ext uri="{9D8B030D-6E8A-4147-A177-3AD203B41FA5}">
                      <a16:colId xmlns:a16="http://schemas.microsoft.com/office/drawing/2014/main" val="1634711547"/>
                    </a:ext>
                  </a:extLst>
                </a:gridCol>
                <a:gridCol w="776708">
                  <a:extLst>
                    <a:ext uri="{9D8B030D-6E8A-4147-A177-3AD203B41FA5}">
                      <a16:colId xmlns:a16="http://schemas.microsoft.com/office/drawing/2014/main" val="1896888595"/>
                    </a:ext>
                  </a:extLst>
                </a:gridCol>
                <a:gridCol w="776708">
                  <a:extLst>
                    <a:ext uri="{9D8B030D-6E8A-4147-A177-3AD203B41FA5}">
                      <a16:colId xmlns:a16="http://schemas.microsoft.com/office/drawing/2014/main" val="4154924809"/>
                    </a:ext>
                  </a:extLst>
                </a:gridCol>
                <a:gridCol w="2180057">
                  <a:extLst>
                    <a:ext uri="{9D8B030D-6E8A-4147-A177-3AD203B41FA5}">
                      <a16:colId xmlns:a16="http://schemas.microsoft.com/office/drawing/2014/main" val="2899915537"/>
                    </a:ext>
                  </a:extLst>
                </a:gridCol>
                <a:gridCol w="5176335">
                  <a:extLst>
                    <a:ext uri="{9D8B030D-6E8A-4147-A177-3AD203B41FA5}">
                      <a16:colId xmlns:a16="http://schemas.microsoft.com/office/drawing/2014/main" val="1756310141"/>
                    </a:ext>
                  </a:extLst>
                </a:gridCol>
              </a:tblGrid>
              <a:tr h="333113"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900"/>
                        <a:t>KPC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>
                          <a:solidFill>
                            <a:srgbClr val="C00000"/>
                          </a:solidFill>
                        </a:rPr>
                        <a:t>SMB</a:t>
                      </a:r>
                    </a:p>
                  </a:txBody>
                  <a:tcPr marT="34350" marB="34350" anchor="b"/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>
                          <a:solidFill>
                            <a:srgbClr val="C00000"/>
                          </a:solidFill>
                        </a:rPr>
                        <a:t>MM</a:t>
                      </a:r>
                    </a:p>
                  </a:txBody>
                  <a:tcPr marT="34350" marB="34350" anchor="b"/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>
                          <a:solidFill>
                            <a:srgbClr val="C00000"/>
                          </a:solidFill>
                        </a:rPr>
                        <a:t>ENT</a:t>
                      </a:r>
                    </a:p>
                  </a:txBody>
                  <a:tcPr marT="34350" marB="34350"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900" i="0"/>
                        <a:t>Details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900" i="0"/>
                        <a:t>Commentary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868444462"/>
                  </a:ext>
                </a:extLst>
              </a:tr>
              <a:tr h="519592">
                <a:tc>
                  <a:txBody>
                    <a:bodyPr/>
                    <a:lstStyle/>
                    <a:p>
                      <a:pPr marL="0" indent="0" algn="l" rtl="0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tegrated payments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000" i="1" kern="100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able stakes</a:t>
                      </a: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1000" kern="100">
                        <a:solidFill>
                          <a:srgbClr val="000000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D6D6D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1000" kern="100">
                        <a:solidFill>
                          <a:srgbClr val="000000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Times New Roman" panose="02020603050405020304" pitchFamily="18" charset="0"/>
                        </a:rPr>
                        <a:t>Customers view integrated payments as table stakes functionality in their business mgmt. system</a:t>
                      </a:r>
                    </a:p>
                  </a:txBody>
                  <a:tcPr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Times New Roman" panose="02020603050405020304" pitchFamily="18" charset="0"/>
                        </a:rPr>
                        <a:t>“Any solution we choose needs to be integrated – payments and booking all in one place”</a:t>
                      </a:r>
                    </a:p>
                  </a:txBody>
                  <a:tcPr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4673430"/>
                  </a:ext>
                </a:extLst>
              </a:tr>
              <a:tr h="519592">
                <a:tc>
                  <a:txBody>
                    <a:bodyPr/>
                    <a:lstStyle/>
                    <a:p>
                      <a:pPr marL="0" indent="0" algn="l" rtl="0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ase of use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1000" kern="10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640A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1000" kern="10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640A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1000" kern="10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640A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</a:rPr>
                        <a:t>Ease of navigating the software on a day-to-day basis key for customers of all sizes</a:t>
                      </a:r>
                    </a:p>
                  </a:txBody>
                  <a:tcPr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“Our #1 purchase criteria has to be ease of use – you want to have a great experience – you don’t want to have a question of where to find something”</a:t>
                      </a:r>
                    </a:p>
                  </a:txBody>
                  <a:tcPr marL="68580" marR="68580" marT="18288" marB="18288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8681435"/>
                  </a:ext>
                </a:extLst>
              </a:tr>
              <a:tr h="519592">
                <a:tc>
                  <a:txBody>
                    <a:bodyPr/>
                    <a:lstStyle/>
                    <a:p>
                      <a:pPr marL="0" indent="0" algn="l" rtl="0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Cost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1000" kern="10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640A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1000" kern="10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640A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1000" kern="10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973B7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latin typeface="Arial (body)"/>
                        </a:rPr>
                        <a:t>Cost is most important for SMB &amp; MM customers, but generally important for all size segments </a:t>
                      </a:r>
                    </a:p>
                  </a:txBody>
                  <a:tcPr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“For us, cost is the most important – our choices often come down to cost”</a:t>
                      </a:r>
                    </a:p>
                  </a:txBody>
                  <a:tcPr marL="68580" marR="68580" marT="18288" marB="18288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4748061"/>
                  </a:ext>
                </a:extLst>
              </a:tr>
              <a:tr h="519592">
                <a:tc>
                  <a:txBody>
                    <a:bodyPr/>
                    <a:lstStyle/>
                    <a:p>
                      <a:pPr marL="0" indent="0" algn="l" rtl="0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nd customer user interface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1000" kern="10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973B7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1000" kern="10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973B7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1000" kern="10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640A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</a:rPr>
                        <a:t>Frictionless booking process for end customers important for customer retention and revenue maximization</a:t>
                      </a:r>
                    </a:p>
                  </a:txBody>
                  <a:tcPr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“</a:t>
                      </a:r>
                      <a:r>
                        <a:rPr kumimoji="0" lang="en-US" sz="900" b="0" i="1" u="none" strike="noStrike" kern="1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“User [interface] for the end customer is so important – it’s an individual experiencing your brand for the first time”</a:t>
                      </a:r>
                    </a:p>
                  </a:txBody>
                  <a:tcPr marL="68580" marR="68580" marT="18288" marB="18288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6150672"/>
                  </a:ext>
                </a:extLst>
              </a:tr>
              <a:tr h="519592">
                <a:tc>
                  <a:txBody>
                    <a:bodyPr/>
                    <a:lstStyle/>
                    <a:p>
                      <a:pPr marL="0" indent="0" algn="l" fontAlgn="b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mployee user interface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1000" kern="10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973B7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1000" kern="10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BA749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1000" kern="10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973B7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FontTx/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asy to learn and use interface for employees important in high-turnover industry like studio fitness</a:t>
                      </a:r>
                    </a:p>
                  </a:txBody>
                  <a:tcPr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“One of our key criteria is the employee interface – the front desk is high turnover, so if it’s too complicated it becomes a training nightmare”</a:t>
                      </a:r>
                    </a:p>
                  </a:txBody>
                  <a:tcPr marL="68580" marR="68580" marT="18288" marB="18288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6605951"/>
                  </a:ext>
                </a:extLst>
              </a:tr>
              <a:tr h="568312">
                <a:tc>
                  <a:txBody>
                    <a:bodyPr/>
                    <a:lstStyle/>
                    <a:p>
                      <a:pPr marL="0" indent="0" algn="l" fontAlgn="b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Reporting and analytics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1000" kern="10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D9ABC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1000" kern="10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D9ABC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1000" kern="10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ED6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Arial (body)"/>
                        </a:rPr>
                        <a:t>Built-in reporting capabilities more imp. for smaller customers; Ent. frequently have dedicated systems</a:t>
                      </a:r>
                    </a:p>
                  </a:txBody>
                  <a:tcPr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“Reporting is a huge pain point for us when we think about a solution  - we need to be able to figure out when to add classes, which instructors to assign to what slots, where to remove classes – we need good reporting”</a:t>
                      </a:r>
                    </a:p>
                  </a:txBody>
                  <a:tcPr marL="68580" marR="68580" marT="18288" marB="18288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42525651"/>
                  </a:ext>
                </a:extLst>
              </a:tr>
              <a:tr h="519592">
                <a:tc>
                  <a:txBody>
                    <a:bodyPr/>
                    <a:lstStyle/>
                    <a:p>
                      <a:pPr marL="0" indent="0" algn="l" fontAlgn="b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Lead generation / marketplace functionality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1000" kern="10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D9ABC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1000" kern="10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D9ABC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1000" kern="10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D9ABC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</a:rPr>
                        <a:t>Marketplace functionality of lesser importance in studio fitness</a:t>
                      </a:r>
                    </a:p>
                  </a:txBody>
                  <a:tcPr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“It’s nice when a software offers lead generation functionality – we want customers to be able to find us somewhere other than the [studio franchise] website”</a:t>
                      </a:r>
                    </a:p>
                  </a:txBody>
                  <a:tcPr marL="68580" marR="68580" marT="18288" marB="18288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5559155"/>
                  </a:ext>
                </a:extLst>
              </a:tr>
              <a:tr h="519592">
                <a:tc>
                  <a:txBody>
                    <a:bodyPr/>
                    <a:lstStyle/>
                    <a:p>
                      <a:pPr marL="0" indent="0" algn="l" fontAlgn="b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Multi-location support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1000" kern="10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ED6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1000" kern="10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ED6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1000" kern="100">
                        <a:solidFill>
                          <a:srgbClr val="FFFFFF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973B7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FontTx/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articularly important for enterprise customers; less important for smaller customers</a:t>
                      </a:r>
                    </a:p>
                  </a:txBody>
                  <a:tcPr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“We needed a solution that was integrated across all of our locations – we didn’t want to have separate logins or have to transfer data between locations”</a:t>
                      </a:r>
                    </a:p>
                  </a:txBody>
                  <a:tcPr marL="68580" marR="68580" marT="18288" marB="18288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926611"/>
                  </a:ext>
                </a:extLst>
              </a:tr>
              <a:tr h="519592">
                <a:tc>
                  <a:txBody>
                    <a:bodyPr/>
                    <a:lstStyle/>
                    <a:p>
                      <a:pPr marL="0" indent="0" algn="l" fontAlgn="b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tegration with other business tools and software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1000" kern="10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ED6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1000" kern="10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ED6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1000" kern="10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ED6E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FontTx/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Less important for all customer size buckets, but still appreciated</a:t>
                      </a:r>
                    </a:p>
                  </a:txBody>
                  <a:tcPr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“Direct integration is great – not having to do digital downloads to get your data into another software”</a:t>
                      </a:r>
                    </a:p>
                  </a:txBody>
                  <a:tcPr marL="68580" marR="68580" marT="18288" marB="18288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5696013"/>
                  </a:ext>
                </a:extLst>
              </a:tr>
            </a:tbl>
          </a:graphicData>
        </a:graphic>
      </p:graphicFrame>
      <p:grpSp>
        <p:nvGrpSpPr>
          <p:cNvPr id="36" name="Group 35">
            <a:extLst>
              <a:ext uri="{FF2B5EF4-FFF2-40B4-BE49-F238E27FC236}">
                <a16:creationId xmlns:a16="http://schemas.microsoft.com/office/drawing/2014/main" id="{D1F70FA6-58A8-9801-192C-33BC8130A68B}"/>
              </a:ext>
            </a:extLst>
          </p:cNvPr>
          <p:cNvGrpSpPr/>
          <p:nvPr/>
        </p:nvGrpSpPr>
        <p:grpSpPr>
          <a:xfrm>
            <a:off x="8254" y="1777178"/>
            <a:ext cx="297175" cy="4558967"/>
            <a:chOff x="35962" y="1790939"/>
            <a:chExt cx="297175" cy="4772426"/>
          </a:xfrm>
        </p:grpSpPr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5912A00B-551D-C9AF-019A-8FE046805128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333137" y="1790939"/>
              <a:ext cx="0" cy="4770199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8218A970-3AB2-C8C0-7585-9F2D7DC251FB}"/>
                </a:ext>
              </a:extLst>
            </p:cNvPr>
            <p:cNvSpPr txBox="1"/>
            <p:nvPr>
              <p:custDataLst>
                <p:tags r:id="rId7"/>
              </p:custDataLst>
            </p:nvPr>
          </p:nvSpPr>
          <p:spPr bwMode="gray">
            <a:xfrm rot="16200000">
              <a:off x="-43910" y="1998063"/>
              <a:ext cx="449409" cy="226591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1000" i="1"/>
                <a:t>Higher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1D249BC-B26C-76DC-DFAF-3FAB83878C60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 bwMode="gray">
            <a:xfrm rot="16200000">
              <a:off x="-700976" y="4100997"/>
              <a:ext cx="1700468" cy="226591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1000" b="1" i="1" dirty="0"/>
                <a:t>Overall importance in xxx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C847539C-8D3D-7ECF-1043-AC0B98717A85}"/>
                </a:ext>
              </a:extLst>
            </p:cNvPr>
            <p:cNvSpPr txBox="1"/>
            <p:nvPr>
              <p:custDataLst>
                <p:tags r:id="rId9"/>
              </p:custDataLst>
            </p:nvPr>
          </p:nvSpPr>
          <p:spPr bwMode="gray">
            <a:xfrm rot="16200000">
              <a:off x="-29485" y="6239792"/>
              <a:ext cx="420555" cy="226591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1000" i="1"/>
                <a:t>Lower</a:t>
              </a:r>
            </a:p>
          </p:txBody>
        </p:sp>
      </p:grpSp>
      <p:grpSp>
        <p:nvGrpSpPr>
          <p:cNvPr id="20" name="btfpStatusSticker492699">
            <a:extLst>
              <a:ext uri="{FF2B5EF4-FFF2-40B4-BE49-F238E27FC236}">
                <a16:creationId xmlns:a16="http://schemas.microsoft.com/office/drawing/2014/main" id="{14C8597D-6FC8-C44B-C1DB-F6CA87AF7A8B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100356" y="955344"/>
            <a:ext cx="1761444" cy="235611"/>
            <a:chOff x="-1630959" y="876300"/>
            <a:chExt cx="1761444" cy="235611"/>
          </a:xfrm>
        </p:grpSpPr>
        <p:sp>
          <p:nvSpPr>
            <p:cNvPr id="21" name="btfpStatusStickerText492699">
              <a:extLst>
                <a:ext uri="{FF2B5EF4-FFF2-40B4-BE49-F238E27FC236}">
                  <a16:creationId xmlns:a16="http://schemas.microsoft.com/office/drawing/2014/main" id="{B1D54061-ED18-0558-091C-A7D3EA14DDAE}"/>
                </a:ext>
              </a:extLst>
            </p:cNvPr>
            <p:cNvSpPr txBox="1"/>
            <p:nvPr/>
          </p:nvSpPr>
          <p:spPr bwMode="gray">
            <a:xfrm>
              <a:off x="-1630959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Preliminary</a:t>
              </a:r>
            </a:p>
          </p:txBody>
        </p:sp>
        <p:cxnSp>
          <p:nvCxnSpPr>
            <p:cNvPr id="22" name="btfpStatusStickerLine492699">
              <a:extLst>
                <a:ext uri="{FF2B5EF4-FFF2-40B4-BE49-F238E27FC236}">
                  <a16:creationId xmlns:a16="http://schemas.microsoft.com/office/drawing/2014/main" id="{231281CA-68B4-5D28-8763-4C36B23CDF92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630959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btfpRunningAgenda2Level617402">
            <a:extLst>
              <a:ext uri="{FF2B5EF4-FFF2-40B4-BE49-F238E27FC236}">
                <a16:creationId xmlns:a16="http://schemas.microsoft.com/office/drawing/2014/main" id="{94733B58-6E6E-C21D-568E-88D97165EEF9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0" y="944429"/>
            <a:ext cx="4253017" cy="257442"/>
            <a:chOff x="0" y="876300"/>
            <a:chExt cx="4253017" cy="257442"/>
          </a:xfrm>
        </p:grpSpPr>
        <p:sp>
          <p:nvSpPr>
            <p:cNvPr id="12" name="btfpRunningAgenda2LevelBarLeft617402">
              <a:extLst>
                <a:ext uri="{FF2B5EF4-FFF2-40B4-BE49-F238E27FC236}">
                  <a16:creationId xmlns:a16="http://schemas.microsoft.com/office/drawing/2014/main" id="{1F7D4832-A1C0-440A-842C-1FEDDA8EB977}"/>
                </a:ext>
              </a:extLst>
            </p:cNvPr>
            <p:cNvSpPr/>
            <p:nvPr/>
          </p:nvSpPr>
          <p:spPr bwMode="gray">
            <a:xfrm>
              <a:off x="0" y="876300"/>
              <a:ext cx="3108443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9116 w 1119116"/>
                <a:gd name="connsiteY0" fmla="*/ 0 h 257442"/>
                <a:gd name="connsiteX1" fmla="*/ 896080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279416 w 1279416"/>
                <a:gd name="connsiteY0" fmla="*/ 0 h 257442"/>
                <a:gd name="connsiteX1" fmla="*/ 10643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380406 w 1380406"/>
                <a:gd name="connsiteY0" fmla="*/ 0 h 257442"/>
                <a:gd name="connsiteX1" fmla="*/ 1224695 w 1380406"/>
                <a:gd name="connsiteY1" fmla="*/ 257442 h 257442"/>
                <a:gd name="connsiteX2" fmla="*/ 0 w 1380406"/>
                <a:gd name="connsiteY2" fmla="*/ 257442 h 257442"/>
                <a:gd name="connsiteX3" fmla="*/ 0 w 1380406"/>
                <a:gd name="connsiteY3" fmla="*/ 0 h 257442"/>
                <a:gd name="connsiteX0" fmla="*/ 1380406 w 1380406"/>
                <a:gd name="connsiteY0" fmla="*/ 0 h 257442"/>
                <a:gd name="connsiteX1" fmla="*/ 1325685 w 1380406"/>
                <a:gd name="connsiteY1" fmla="*/ 257442 h 257442"/>
                <a:gd name="connsiteX2" fmla="*/ 0 w 1380406"/>
                <a:gd name="connsiteY2" fmla="*/ 257442 h 257442"/>
                <a:gd name="connsiteX3" fmla="*/ 0 w 1380406"/>
                <a:gd name="connsiteY3" fmla="*/ 0 h 257442"/>
                <a:gd name="connsiteX0" fmla="*/ 1380406 w 1380406"/>
                <a:gd name="connsiteY0" fmla="*/ 0 h 257442"/>
                <a:gd name="connsiteX1" fmla="*/ 1325685 w 1380406"/>
                <a:gd name="connsiteY1" fmla="*/ 257442 h 257442"/>
                <a:gd name="connsiteX2" fmla="*/ 0 w 1380406"/>
                <a:gd name="connsiteY2" fmla="*/ 257442 h 257442"/>
                <a:gd name="connsiteX3" fmla="*/ 0 w 1380406"/>
                <a:gd name="connsiteY3" fmla="*/ 0 h 257442"/>
                <a:gd name="connsiteX0" fmla="*/ 1380406 w 1380406"/>
                <a:gd name="connsiteY0" fmla="*/ 0 h 257442"/>
                <a:gd name="connsiteX1" fmla="*/ 1325685 w 1380406"/>
                <a:gd name="connsiteY1" fmla="*/ 257442 h 257442"/>
                <a:gd name="connsiteX2" fmla="*/ 0 w 1380406"/>
                <a:gd name="connsiteY2" fmla="*/ 257442 h 257442"/>
                <a:gd name="connsiteX3" fmla="*/ 0 w 1380406"/>
                <a:gd name="connsiteY3" fmla="*/ 0 h 257442"/>
                <a:gd name="connsiteX0" fmla="*/ 1548721 w 1548721"/>
                <a:gd name="connsiteY0" fmla="*/ 0 h 257442"/>
                <a:gd name="connsiteX1" fmla="*/ 1325685 w 1548721"/>
                <a:gd name="connsiteY1" fmla="*/ 257442 h 257442"/>
                <a:gd name="connsiteX2" fmla="*/ 0 w 1548721"/>
                <a:gd name="connsiteY2" fmla="*/ 257442 h 257442"/>
                <a:gd name="connsiteX3" fmla="*/ 0 w 1548721"/>
                <a:gd name="connsiteY3" fmla="*/ 0 h 257442"/>
                <a:gd name="connsiteX0" fmla="*/ 1548721 w 1548721"/>
                <a:gd name="connsiteY0" fmla="*/ 0 h 257442"/>
                <a:gd name="connsiteX1" fmla="*/ 1494000 w 1548721"/>
                <a:gd name="connsiteY1" fmla="*/ 257442 h 257442"/>
                <a:gd name="connsiteX2" fmla="*/ 0 w 1548721"/>
                <a:gd name="connsiteY2" fmla="*/ 257442 h 257442"/>
                <a:gd name="connsiteX3" fmla="*/ 0 w 1548721"/>
                <a:gd name="connsiteY3" fmla="*/ 0 h 257442"/>
                <a:gd name="connsiteX0" fmla="*/ 1548721 w 1548721"/>
                <a:gd name="connsiteY0" fmla="*/ 0 h 257442"/>
                <a:gd name="connsiteX1" fmla="*/ 1494000 w 1548721"/>
                <a:gd name="connsiteY1" fmla="*/ 257442 h 257442"/>
                <a:gd name="connsiteX2" fmla="*/ 0 w 1548721"/>
                <a:gd name="connsiteY2" fmla="*/ 257442 h 257442"/>
                <a:gd name="connsiteX3" fmla="*/ 0 w 1548721"/>
                <a:gd name="connsiteY3" fmla="*/ 0 h 257442"/>
                <a:gd name="connsiteX0" fmla="*/ 1548721 w 1548721"/>
                <a:gd name="connsiteY0" fmla="*/ 0 h 257442"/>
                <a:gd name="connsiteX1" fmla="*/ 1494000 w 1548721"/>
                <a:gd name="connsiteY1" fmla="*/ 257442 h 257442"/>
                <a:gd name="connsiteX2" fmla="*/ 0 w 1548721"/>
                <a:gd name="connsiteY2" fmla="*/ 257442 h 257442"/>
                <a:gd name="connsiteX3" fmla="*/ 0 w 1548721"/>
                <a:gd name="connsiteY3" fmla="*/ 0 h 257442"/>
                <a:gd name="connsiteX0" fmla="*/ 1726655 w 1726655"/>
                <a:gd name="connsiteY0" fmla="*/ 0 h 257442"/>
                <a:gd name="connsiteX1" fmla="*/ 1494000 w 1726655"/>
                <a:gd name="connsiteY1" fmla="*/ 257442 h 257442"/>
                <a:gd name="connsiteX2" fmla="*/ 0 w 1726655"/>
                <a:gd name="connsiteY2" fmla="*/ 257442 h 257442"/>
                <a:gd name="connsiteX3" fmla="*/ 0 w 1726655"/>
                <a:gd name="connsiteY3" fmla="*/ 0 h 257442"/>
                <a:gd name="connsiteX0" fmla="*/ 1726655 w 1726655"/>
                <a:gd name="connsiteY0" fmla="*/ 0 h 257442"/>
                <a:gd name="connsiteX1" fmla="*/ 1671934 w 1726655"/>
                <a:gd name="connsiteY1" fmla="*/ 257442 h 257442"/>
                <a:gd name="connsiteX2" fmla="*/ 0 w 1726655"/>
                <a:gd name="connsiteY2" fmla="*/ 257442 h 257442"/>
                <a:gd name="connsiteX3" fmla="*/ 0 w 1726655"/>
                <a:gd name="connsiteY3" fmla="*/ 0 h 257442"/>
                <a:gd name="connsiteX0" fmla="*/ 1726655 w 1726655"/>
                <a:gd name="connsiteY0" fmla="*/ 0 h 257442"/>
                <a:gd name="connsiteX1" fmla="*/ 1671934 w 1726655"/>
                <a:gd name="connsiteY1" fmla="*/ 257442 h 257442"/>
                <a:gd name="connsiteX2" fmla="*/ 0 w 1726655"/>
                <a:gd name="connsiteY2" fmla="*/ 257442 h 257442"/>
                <a:gd name="connsiteX3" fmla="*/ 0 w 1726655"/>
                <a:gd name="connsiteY3" fmla="*/ 0 h 257442"/>
                <a:gd name="connsiteX0" fmla="*/ 1726655 w 1726655"/>
                <a:gd name="connsiteY0" fmla="*/ 0 h 257442"/>
                <a:gd name="connsiteX1" fmla="*/ 1671934 w 1726655"/>
                <a:gd name="connsiteY1" fmla="*/ 257442 h 257442"/>
                <a:gd name="connsiteX2" fmla="*/ 0 w 1726655"/>
                <a:gd name="connsiteY2" fmla="*/ 257442 h 257442"/>
                <a:gd name="connsiteX3" fmla="*/ 0 w 1726655"/>
                <a:gd name="connsiteY3" fmla="*/ 0 h 257442"/>
                <a:gd name="connsiteX0" fmla="*/ 1827643 w 1827643"/>
                <a:gd name="connsiteY0" fmla="*/ 0 h 257442"/>
                <a:gd name="connsiteX1" fmla="*/ 1671934 w 1827643"/>
                <a:gd name="connsiteY1" fmla="*/ 257442 h 257442"/>
                <a:gd name="connsiteX2" fmla="*/ 0 w 1827643"/>
                <a:gd name="connsiteY2" fmla="*/ 257442 h 257442"/>
                <a:gd name="connsiteX3" fmla="*/ 0 w 1827643"/>
                <a:gd name="connsiteY3" fmla="*/ 0 h 257442"/>
                <a:gd name="connsiteX0" fmla="*/ 1827643 w 1827643"/>
                <a:gd name="connsiteY0" fmla="*/ 0 h 257442"/>
                <a:gd name="connsiteX1" fmla="*/ 1772922 w 1827643"/>
                <a:gd name="connsiteY1" fmla="*/ 257442 h 257442"/>
                <a:gd name="connsiteX2" fmla="*/ 0 w 1827643"/>
                <a:gd name="connsiteY2" fmla="*/ 257442 h 257442"/>
                <a:gd name="connsiteX3" fmla="*/ 0 w 1827643"/>
                <a:gd name="connsiteY3" fmla="*/ 0 h 257442"/>
                <a:gd name="connsiteX0" fmla="*/ 1827643 w 1827643"/>
                <a:gd name="connsiteY0" fmla="*/ 0 h 257442"/>
                <a:gd name="connsiteX1" fmla="*/ 1772922 w 1827643"/>
                <a:gd name="connsiteY1" fmla="*/ 257442 h 257442"/>
                <a:gd name="connsiteX2" fmla="*/ 0 w 1827643"/>
                <a:gd name="connsiteY2" fmla="*/ 257442 h 257442"/>
                <a:gd name="connsiteX3" fmla="*/ 0 w 1827643"/>
                <a:gd name="connsiteY3" fmla="*/ 0 h 257442"/>
                <a:gd name="connsiteX0" fmla="*/ 1827643 w 1827643"/>
                <a:gd name="connsiteY0" fmla="*/ 0 h 257442"/>
                <a:gd name="connsiteX1" fmla="*/ 1772922 w 1827643"/>
                <a:gd name="connsiteY1" fmla="*/ 257442 h 257442"/>
                <a:gd name="connsiteX2" fmla="*/ 0 w 1827643"/>
                <a:gd name="connsiteY2" fmla="*/ 257442 h 257442"/>
                <a:gd name="connsiteX3" fmla="*/ 0 w 1827643"/>
                <a:gd name="connsiteY3" fmla="*/ 0 h 257442"/>
                <a:gd name="connsiteX0" fmla="*/ 1995959 w 1995959"/>
                <a:gd name="connsiteY0" fmla="*/ 0 h 257442"/>
                <a:gd name="connsiteX1" fmla="*/ 1772922 w 1995959"/>
                <a:gd name="connsiteY1" fmla="*/ 257442 h 257442"/>
                <a:gd name="connsiteX2" fmla="*/ 0 w 1995959"/>
                <a:gd name="connsiteY2" fmla="*/ 257442 h 257442"/>
                <a:gd name="connsiteX3" fmla="*/ 0 w 1995959"/>
                <a:gd name="connsiteY3" fmla="*/ 0 h 257442"/>
                <a:gd name="connsiteX0" fmla="*/ 1995959 w 1995959"/>
                <a:gd name="connsiteY0" fmla="*/ 0 h 257442"/>
                <a:gd name="connsiteX1" fmla="*/ 1941238 w 1995959"/>
                <a:gd name="connsiteY1" fmla="*/ 257442 h 257442"/>
                <a:gd name="connsiteX2" fmla="*/ 0 w 1995959"/>
                <a:gd name="connsiteY2" fmla="*/ 257442 h 257442"/>
                <a:gd name="connsiteX3" fmla="*/ 0 w 1995959"/>
                <a:gd name="connsiteY3" fmla="*/ 0 h 257442"/>
                <a:gd name="connsiteX0" fmla="*/ 1995959 w 1995959"/>
                <a:gd name="connsiteY0" fmla="*/ 0 h 257442"/>
                <a:gd name="connsiteX1" fmla="*/ 1941238 w 1995959"/>
                <a:gd name="connsiteY1" fmla="*/ 257442 h 257442"/>
                <a:gd name="connsiteX2" fmla="*/ 0 w 1995959"/>
                <a:gd name="connsiteY2" fmla="*/ 257442 h 257442"/>
                <a:gd name="connsiteX3" fmla="*/ 0 w 1995959"/>
                <a:gd name="connsiteY3" fmla="*/ 0 h 257442"/>
                <a:gd name="connsiteX0" fmla="*/ 1995959 w 1995959"/>
                <a:gd name="connsiteY0" fmla="*/ 0 h 257442"/>
                <a:gd name="connsiteX1" fmla="*/ 1941238 w 1995959"/>
                <a:gd name="connsiteY1" fmla="*/ 257442 h 257442"/>
                <a:gd name="connsiteX2" fmla="*/ 0 w 1995959"/>
                <a:gd name="connsiteY2" fmla="*/ 257442 h 257442"/>
                <a:gd name="connsiteX3" fmla="*/ 0 w 1995959"/>
                <a:gd name="connsiteY3" fmla="*/ 0 h 257442"/>
                <a:gd name="connsiteX0" fmla="*/ 2156259 w 2156259"/>
                <a:gd name="connsiteY0" fmla="*/ 0 h 257442"/>
                <a:gd name="connsiteX1" fmla="*/ 1941238 w 2156259"/>
                <a:gd name="connsiteY1" fmla="*/ 257442 h 257442"/>
                <a:gd name="connsiteX2" fmla="*/ 0 w 2156259"/>
                <a:gd name="connsiteY2" fmla="*/ 257442 h 257442"/>
                <a:gd name="connsiteX3" fmla="*/ 0 w 2156259"/>
                <a:gd name="connsiteY3" fmla="*/ 0 h 257442"/>
                <a:gd name="connsiteX0" fmla="*/ 2156259 w 2156259"/>
                <a:gd name="connsiteY0" fmla="*/ 0 h 257442"/>
                <a:gd name="connsiteX1" fmla="*/ 2101538 w 2156259"/>
                <a:gd name="connsiteY1" fmla="*/ 257442 h 257442"/>
                <a:gd name="connsiteX2" fmla="*/ 0 w 2156259"/>
                <a:gd name="connsiteY2" fmla="*/ 257442 h 257442"/>
                <a:gd name="connsiteX3" fmla="*/ 0 w 2156259"/>
                <a:gd name="connsiteY3" fmla="*/ 0 h 257442"/>
                <a:gd name="connsiteX0" fmla="*/ 2156259 w 2156259"/>
                <a:gd name="connsiteY0" fmla="*/ 0 h 257442"/>
                <a:gd name="connsiteX1" fmla="*/ 2101538 w 2156259"/>
                <a:gd name="connsiteY1" fmla="*/ 257442 h 257442"/>
                <a:gd name="connsiteX2" fmla="*/ 0 w 2156259"/>
                <a:gd name="connsiteY2" fmla="*/ 257442 h 257442"/>
                <a:gd name="connsiteX3" fmla="*/ 0 w 2156259"/>
                <a:gd name="connsiteY3" fmla="*/ 0 h 257442"/>
                <a:gd name="connsiteX0" fmla="*/ 2156259 w 2156259"/>
                <a:gd name="connsiteY0" fmla="*/ 0 h 257442"/>
                <a:gd name="connsiteX1" fmla="*/ 2101538 w 2156259"/>
                <a:gd name="connsiteY1" fmla="*/ 257442 h 257442"/>
                <a:gd name="connsiteX2" fmla="*/ 0 w 2156259"/>
                <a:gd name="connsiteY2" fmla="*/ 257442 h 257442"/>
                <a:gd name="connsiteX3" fmla="*/ 0 w 2156259"/>
                <a:gd name="connsiteY3" fmla="*/ 0 h 257442"/>
                <a:gd name="connsiteX0" fmla="*/ 2324574 w 2324574"/>
                <a:gd name="connsiteY0" fmla="*/ 0 h 257442"/>
                <a:gd name="connsiteX1" fmla="*/ 2101538 w 2324574"/>
                <a:gd name="connsiteY1" fmla="*/ 257442 h 257442"/>
                <a:gd name="connsiteX2" fmla="*/ 0 w 2324574"/>
                <a:gd name="connsiteY2" fmla="*/ 257442 h 257442"/>
                <a:gd name="connsiteX3" fmla="*/ 0 w 2324574"/>
                <a:gd name="connsiteY3" fmla="*/ 0 h 257442"/>
                <a:gd name="connsiteX0" fmla="*/ 2324574 w 2324574"/>
                <a:gd name="connsiteY0" fmla="*/ 0 h 257442"/>
                <a:gd name="connsiteX1" fmla="*/ 2269852 w 2324574"/>
                <a:gd name="connsiteY1" fmla="*/ 257442 h 257442"/>
                <a:gd name="connsiteX2" fmla="*/ 0 w 2324574"/>
                <a:gd name="connsiteY2" fmla="*/ 257442 h 257442"/>
                <a:gd name="connsiteX3" fmla="*/ 0 w 2324574"/>
                <a:gd name="connsiteY3" fmla="*/ 0 h 257442"/>
                <a:gd name="connsiteX0" fmla="*/ 2324575 w 2324575"/>
                <a:gd name="connsiteY0" fmla="*/ 0 h 257442"/>
                <a:gd name="connsiteX1" fmla="*/ 2269853 w 2324575"/>
                <a:gd name="connsiteY1" fmla="*/ 257442 h 257442"/>
                <a:gd name="connsiteX2" fmla="*/ 0 w 2324575"/>
                <a:gd name="connsiteY2" fmla="*/ 257442 h 257442"/>
                <a:gd name="connsiteX3" fmla="*/ 1 w 2324575"/>
                <a:gd name="connsiteY3" fmla="*/ 0 h 257442"/>
                <a:gd name="connsiteX0" fmla="*/ 2324575 w 2324575"/>
                <a:gd name="connsiteY0" fmla="*/ 0 h 257442"/>
                <a:gd name="connsiteX1" fmla="*/ 2269853 w 2324575"/>
                <a:gd name="connsiteY1" fmla="*/ 257442 h 257442"/>
                <a:gd name="connsiteX2" fmla="*/ 0 w 2324575"/>
                <a:gd name="connsiteY2" fmla="*/ 257442 h 257442"/>
                <a:gd name="connsiteX3" fmla="*/ 1 w 2324575"/>
                <a:gd name="connsiteY3" fmla="*/ 0 h 257442"/>
                <a:gd name="connsiteX0" fmla="*/ 2492891 w 2492891"/>
                <a:gd name="connsiteY0" fmla="*/ 0 h 257442"/>
                <a:gd name="connsiteX1" fmla="*/ 2269853 w 2492891"/>
                <a:gd name="connsiteY1" fmla="*/ 257442 h 257442"/>
                <a:gd name="connsiteX2" fmla="*/ 0 w 2492891"/>
                <a:gd name="connsiteY2" fmla="*/ 257442 h 257442"/>
                <a:gd name="connsiteX3" fmla="*/ 1 w 2492891"/>
                <a:gd name="connsiteY3" fmla="*/ 0 h 257442"/>
                <a:gd name="connsiteX0" fmla="*/ 2492891 w 2492891"/>
                <a:gd name="connsiteY0" fmla="*/ 0 h 257442"/>
                <a:gd name="connsiteX1" fmla="*/ 2438170 w 2492891"/>
                <a:gd name="connsiteY1" fmla="*/ 257442 h 257442"/>
                <a:gd name="connsiteX2" fmla="*/ 0 w 2492891"/>
                <a:gd name="connsiteY2" fmla="*/ 257442 h 257442"/>
                <a:gd name="connsiteX3" fmla="*/ 1 w 2492891"/>
                <a:gd name="connsiteY3" fmla="*/ 0 h 257442"/>
                <a:gd name="connsiteX0" fmla="*/ 2492890 w 2492890"/>
                <a:gd name="connsiteY0" fmla="*/ 0 h 257442"/>
                <a:gd name="connsiteX1" fmla="*/ 2438169 w 2492890"/>
                <a:gd name="connsiteY1" fmla="*/ 257442 h 257442"/>
                <a:gd name="connsiteX2" fmla="*/ 0 w 2492890"/>
                <a:gd name="connsiteY2" fmla="*/ 257442 h 257442"/>
                <a:gd name="connsiteX3" fmla="*/ 0 w 2492890"/>
                <a:gd name="connsiteY3" fmla="*/ 0 h 257442"/>
                <a:gd name="connsiteX0" fmla="*/ 2492891 w 2492891"/>
                <a:gd name="connsiteY0" fmla="*/ 0 h 257442"/>
                <a:gd name="connsiteX1" fmla="*/ 2438170 w 2492891"/>
                <a:gd name="connsiteY1" fmla="*/ 257442 h 257442"/>
                <a:gd name="connsiteX2" fmla="*/ 1 w 2492891"/>
                <a:gd name="connsiteY2" fmla="*/ 257442 h 257442"/>
                <a:gd name="connsiteX3" fmla="*/ 0 w 2492891"/>
                <a:gd name="connsiteY3" fmla="*/ 0 h 257442"/>
                <a:gd name="connsiteX0" fmla="*/ 2678839 w 2678839"/>
                <a:gd name="connsiteY0" fmla="*/ 0 h 257442"/>
                <a:gd name="connsiteX1" fmla="*/ 2438170 w 2678839"/>
                <a:gd name="connsiteY1" fmla="*/ 257442 h 257442"/>
                <a:gd name="connsiteX2" fmla="*/ 1 w 2678839"/>
                <a:gd name="connsiteY2" fmla="*/ 257442 h 257442"/>
                <a:gd name="connsiteX3" fmla="*/ 0 w 2678839"/>
                <a:gd name="connsiteY3" fmla="*/ 0 h 257442"/>
                <a:gd name="connsiteX0" fmla="*/ 2678839 w 2678839"/>
                <a:gd name="connsiteY0" fmla="*/ 0 h 257442"/>
                <a:gd name="connsiteX1" fmla="*/ 2624118 w 2678839"/>
                <a:gd name="connsiteY1" fmla="*/ 257442 h 257442"/>
                <a:gd name="connsiteX2" fmla="*/ 1 w 2678839"/>
                <a:gd name="connsiteY2" fmla="*/ 257442 h 257442"/>
                <a:gd name="connsiteX3" fmla="*/ 0 w 2678839"/>
                <a:gd name="connsiteY3" fmla="*/ 0 h 257442"/>
                <a:gd name="connsiteX0" fmla="*/ 2678839 w 2678839"/>
                <a:gd name="connsiteY0" fmla="*/ 0 h 257442"/>
                <a:gd name="connsiteX1" fmla="*/ 2624118 w 2678839"/>
                <a:gd name="connsiteY1" fmla="*/ 257442 h 257442"/>
                <a:gd name="connsiteX2" fmla="*/ 1 w 2678839"/>
                <a:gd name="connsiteY2" fmla="*/ 257442 h 257442"/>
                <a:gd name="connsiteX3" fmla="*/ 0 w 2678839"/>
                <a:gd name="connsiteY3" fmla="*/ 0 h 257442"/>
                <a:gd name="connsiteX0" fmla="*/ 2678838 w 2678838"/>
                <a:gd name="connsiteY0" fmla="*/ 0 h 257442"/>
                <a:gd name="connsiteX1" fmla="*/ 2624117 w 2678838"/>
                <a:gd name="connsiteY1" fmla="*/ 257442 h 257442"/>
                <a:gd name="connsiteX2" fmla="*/ 0 w 2678838"/>
                <a:gd name="connsiteY2" fmla="*/ 257442 h 257442"/>
                <a:gd name="connsiteX3" fmla="*/ 0 w 2678838"/>
                <a:gd name="connsiteY3" fmla="*/ 0 h 257442"/>
                <a:gd name="connsiteX0" fmla="*/ 2779826 w 2779826"/>
                <a:gd name="connsiteY0" fmla="*/ 0 h 257442"/>
                <a:gd name="connsiteX1" fmla="*/ 2624117 w 2779826"/>
                <a:gd name="connsiteY1" fmla="*/ 257442 h 257442"/>
                <a:gd name="connsiteX2" fmla="*/ 0 w 2779826"/>
                <a:gd name="connsiteY2" fmla="*/ 257442 h 257442"/>
                <a:gd name="connsiteX3" fmla="*/ 0 w 2779826"/>
                <a:gd name="connsiteY3" fmla="*/ 0 h 257442"/>
                <a:gd name="connsiteX0" fmla="*/ 2779826 w 2779826"/>
                <a:gd name="connsiteY0" fmla="*/ 0 h 257442"/>
                <a:gd name="connsiteX1" fmla="*/ 2725105 w 2779826"/>
                <a:gd name="connsiteY1" fmla="*/ 257442 h 257442"/>
                <a:gd name="connsiteX2" fmla="*/ 0 w 2779826"/>
                <a:gd name="connsiteY2" fmla="*/ 257442 h 257442"/>
                <a:gd name="connsiteX3" fmla="*/ 0 w 2779826"/>
                <a:gd name="connsiteY3" fmla="*/ 0 h 257442"/>
                <a:gd name="connsiteX0" fmla="*/ 2779827 w 2779827"/>
                <a:gd name="connsiteY0" fmla="*/ 0 h 257442"/>
                <a:gd name="connsiteX1" fmla="*/ 2725106 w 2779827"/>
                <a:gd name="connsiteY1" fmla="*/ 257442 h 257442"/>
                <a:gd name="connsiteX2" fmla="*/ 0 w 2779827"/>
                <a:gd name="connsiteY2" fmla="*/ 257442 h 257442"/>
                <a:gd name="connsiteX3" fmla="*/ 1 w 2779827"/>
                <a:gd name="connsiteY3" fmla="*/ 0 h 257442"/>
                <a:gd name="connsiteX0" fmla="*/ 2779827 w 2779827"/>
                <a:gd name="connsiteY0" fmla="*/ 0 h 257442"/>
                <a:gd name="connsiteX1" fmla="*/ 2725106 w 2779827"/>
                <a:gd name="connsiteY1" fmla="*/ 257442 h 257442"/>
                <a:gd name="connsiteX2" fmla="*/ 0 w 2779827"/>
                <a:gd name="connsiteY2" fmla="*/ 257442 h 257442"/>
                <a:gd name="connsiteX3" fmla="*/ 1 w 2779827"/>
                <a:gd name="connsiteY3" fmla="*/ 0 h 257442"/>
                <a:gd name="connsiteX0" fmla="*/ 2948144 w 2948144"/>
                <a:gd name="connsiteY0" fmla="*/ 0 h 257442"/>
                <a:gd name="connsiteX1" fmla="*/ 2725106 w 2948144"/>
                <a:gd name="connsiteY1" fmla="*/ 257442 h 257442"/>
                <a:gd name="connsiteX2" fmla="*/ 0 w 2948144"/>
                <a:gd name="connsiteY2" fmla="*/ 257442 h 257442"/>
                <a:gd name="connsiteX3" fmla="*/ 1 w 2948144"/>
                <a:gd name="connsiteY3" fmla="*/ 0 h 257442"/>
                <a:gd name="connsiteX0" fmla="*/ 2948144 w 2948144"/>
                <a:gd name="connsiteY0" fmla="*/ 0 h 257442"/>
                <a:gd name="connsiteX1" fmla="*/ 2893422 w 2948144"/>
                <a:gd name="connsiteY1" fmla="*/ 257442 h 257442"/>
                <a:gd name="connsiteX2" fmla="*/ 0 w 2948144"/>
                <a:gd name="connsiteY2" fmla="*/ 257442 h 257442"/>
                <a:gd name="connsiteX3" fmla="*/ 1 w 2948144"/>
                <a:gd name="connsiteY3" fmla="*/ 0 h 257442"/>
                <a:gd name="connsiteX0" fmla="*/ 2948144 w 2948144"/>
                <a:gd name="connsiteY0" fmla="*/ 0 h 257442"/>
                <a:gd name="connsiteX1" fmla="*/ 2893422 w 2948144"/>
                <a:gd name="connsiteY1" fmla="*/ 257442 h 257442"/>
                <a:gd name="connsiteX2" fmla="*/ 0 w 2948144"/>
                <a:gd name="connsiteY2" fmla="*/ 257442 h 257442"/>
                <a:gd name="connsiteX3" fmla="*/ 1 w 2948144"/>
                <a:gd name="connsiteY3" fmla="*/ 0 h 257442"/>
                <a:gd name="connsiteX0" fmla="*/ 2948144 w 2948144"/>
                <a:gd name="connsiteY0" fmla="*/ 0 h 257442"/>
                <a:gd name="connsiteX1" fmla="*/ 2893422 w 2948144"/>
                <a:gd name="connsiteY1" fmla="*/ 257442 h 257442"/>
                <a:gd name="connsiteX2" fmla="*/ 0 w 2948144"/>
                <a:gd name="connsiteY2" fmla="*/ 257442 h 257442"/>
                <a:gd name="connsiteX3" fmla="*/ 0 w 2948144"/>
                <a:gd name="connsiteY3" fmla="*/ 0 h 257442"/>
                <a:gd name="connsiteX0" fmla="*/ 3108443 w 3108443"/>
                <a:gd name="connsiteY0" fmla="*/ 0 h 257442"/>
                <a:gd name="connsiteX1" fmla="*/ 2893422 w 3108443"/>
                <a:gd name="connsiteY1" fmla="*/ 257442 h 257442"/>
                <a:gd name="connsiteX2" fmla="*/ 0 w 3108443"/>
                <a:gd name="connsiteY2" fmla="*/ 257442 h 257442"/>
                <a:gd name="connsiteX3" fmla="*/ 0 w 3108443"/>
                <a:gd name="connsiteY3" fmla="*/ 0 h 257442"/>
                <a:gd name="connsiteX0" fmla="*/ 3108443 w 3108443"/>
                <a:gd name="connsiteY0" fmla="*/ 0 h 257442"/>
                <a:gd name="connsiteX1" fmla="*/ 3053722 w 3108443"/>
                <a:gd name="connsiteY1" fmla="*/ 257442 h 257442"/>
                <a:gd name="connsiteX2" fmla="*/ 0 w 3108443"/>
                <a:gd name="connsiteY2" fmla="*/ 257442 h 257442"/>
                <a:gd name="connsiteX3" fmla="*/ 0 w 3108443"/>
                <a:gd name="connsiteY3" fmla="*/ 0 h 257442"/>
                <a:gd name="connsiteX0" fmla="*/ 3108443 w 3108443"/>
                <a:gd name="connsiteY0" fmla="*/ 0 h 257442"/>
                <a:gd name="connsiteX1" fmla="*/ 3053722 w 3108443"/>
                <a:gd name="connsiteY1" fmla="*/ 257442 h 257442"/>
                <a:gd name="connsiteX2" fmla="*/ 0 w 3108443"/>
                <a:gd name="connsiteY2" fmla="*/ 257442 h 257442"/>
                <a:gd name="connsiteX3" fmla="*/ 0 w 3108443"/>
                <a:gd name="connsiteY3" fmla="*/ 0 h 257442"/>
                <a:gd name="connsiteX0" fmla="*/ 3108443 w 3108443"/>
                <a:gd name="connsiteY0" fmla="*/ 0 h 257442"/>
                <a:gd name="connsiteX1" fmla="*/ 3053722 w 3108443"/>
                <a:gd name="connsiteY1" fmla="*/ 257442 h 257442"/>
                <a:gd name="connsiteX2" fmla="*/ 0 w 3108443"/>
                <a:gd name="connsiteY2" fmla="*/ 257442 h 257442"/>
                <a:gd name="connsiteX3" fmla="*/ 0 w 3108443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08443" h="257442">
                  <a:moveTo>
                    <a:pt x="3108443" y="0"/>
                  </a:moveTo>
                  <a:lnTo>
                    <a:pt x="3053722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4" name="btfpRunningAgenda2LevelTextLeft617402">
              <a:extLst>
                <a:ext uri="{FF2B5EF4-FFF2-40B4-BE49-F238E27FC236}">
                  <a16:creationId xmlns:a16="http://schemas.microsoft.com/office/drawing/2014/main" id="{759F53AD-1FB6-5DDE-199B-C58996E5CF77}"/>
                </a:ext>
              </a:extLst>
            </p:cNvPr>
            <p:cNvSpPr txBox="1"/>
            <p:nvPr/>
          </p:nvSpPr>
          <p:spPr bwMode="gray">
            <a:xfrm>
              <a:off x="0" y="876300"/>
              <a:ext cx="3053722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buying dynamics</a:t>
              </a:r>
            </a:p>
          </p:txBody>
        </p:sp>
        <p:sp>
          <p:nvSpPr>
            <p:cNvPr id="35" name="btfpRunningAgenda2LevelBarRight617402">
              <a:extLst>
                <a:ext uri="{FF2B5EF4-FFF2-40B4-BE49-F238E27FC236}">
                  <a16:creationId xmlns:a16="http://schemas.microsoft.com/office/drawing/2014/main" id="{F35E43ED-310A-5DE2-2949-978FC98F448F}"/>
                </a:ext>
              </a:extLst>
            </p:cNvPr>
            <p:cNvSpPr/>
            <p:nvPr/>
          </p:nvSpPr>
          <p:spPr bwMode="gray">
            <a:xfrm>
              <a:off x="2973601" y="876300"/>
              <a:ext cx="1279416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19115 w 1119115"/>
                <a:gd name="connsiteY0" fmla="*/ 0 h 257442"/>
                <a:gd name="connsiteX1" fmla="*/ 896079 w 1119115"/>
                <a:gd name="connsiteY1" fmla="*/ 257442 h 257442"/>
                <a:gd name="connsiteX2" fmla="*/ 0 w 1119115"/>
                <a:gd name="connsiteY2" fmla="*/ 257442 h 257442"/>
                <a:gd name="connsiteX3" fmla="*/ 54721 w 1119115"/>
                <a:gd name="connsiteY3" fmla="*/ 0 h 257442"/>
                <a:gd name="connsiteX0" fmla="*/ 1119115 w 1119115"/>
                <a:gd name="connsiteY0" fmla="*/ 0 h 257442"/>
                <a:gd name="connsiteX1" fmla="*/ 1064394 w 1119115"/>
                <a:gd name="connsiteY1" fmla="*/ 257442 h 257442"/>
                <a:gd name="connsiteX2" fmla="*/ 0 w 1119115"/>
                <a:gd name="connsiteY2" fmla="*/ 257442 h 257442"/>
                <a:gd name="connsiteX3" fmla="*/ 54721 w 1119115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2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297050 w 1297050"/>
                <a:gd name="connsiteY0" fmla="*/ 0 h 257442"/>
                <a:gd name="connsiteX1" fmla="*/ 1064395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710625 w 1710625"/>
                <a:gd name="connsiteY0" fmla="*/ 0 h 257442"/>
                <a:gd name="connsiteX1" fmla="*/ 1402629 w 1710625"/>
                <a:gd name="connsiteY1" fmla="*/ 257442 h 257442"/>
                <a:gd name="connsiteX2" fmla="*/ 0 w 1710625"/>
                <a:gd name="connsiteY2" fmla="*/ 257442 h 257442"/>
                <a:gd name="connsiteX3" fmla="*/ 54721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54721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54721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54721 w 1710625"/>
                <a:gd name="connsiteY3" fmla="*/ 0 h 257442"/>
                <a:gd name="connsiteX0" fmla="*/ 1888557 w 1888557"/>
                <a:gd name="connsiteY0" fmla="*/ 0 h 257442"/>
                <a:gd name="connsiteX1" fmla="*/ 1655904 w 1888557"/>
                <a:gd name="connsiteY1" fmla="*/ 257442 h 257442"/>
                <a:gd name="connsiteX2" fmla="*/ 0 w 1888557"/>
                <a:gd name="connsiteY2" fmla="*/ 257442 h 257442"/>
                <a:gd name="connsiteX3" fmla="*/ 54721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54721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54721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54721 w 1888557"/>
                <a:gd name="connsiteY3" fmla="*/ 0 h 257442"/>
                <a:gd name="connsiteX0" fmla="*/ 2056873 w 2056873"/>
                <a:gd name="connsiteY0" fmla="*/ 0 h 257442"/>
                <a:gd name="connsiteX1" fmla="*/ 1833836 w 2056873"/>
                <a:gd name="connsiteY1" fmla="*/ 257442 h 257442"/>
                <a:gd name="connsiteX2" fmla="*/ 0 w 2056873"/>
                <a:gd name="connsiteY2" fmla="*/ 257442 h 257442"/>
                <a:gd name="connsiteX3" fmla="*/ 54721 w 2056873"/>
                <a:gd name="connsiteY3" fmla="*/ 0 h 257442"/>
                <a:gd name="connsiteX0" fmla="*/ 2056873 w 2056873"/>
                <a:gd name="connsiteY0" fmla="*/ 0 h 257442"/>
                <a:gd name="connsiteX1" fmla="*/ 2002152 w 2056873"/>
                <a:gd name="connsiteY1" fmla="*/ 257442 h 257442"/>
                <a:gd name="connsiteX2" fmla="*/ 0 w 2056873"/>
                <a:gd name="connsiteY2" fmla="*/ 257442 h 257442"/>
                <a:gd name="connsiteX3" fmla="*/ 54721 w 2056873"/>
                <a:gd name="connsiteY3" fmla="*/ 0 h 257442"/>
                <a:gd name="connsiteX0" fmla="*/ 2056873 w 2056873"/>
                <a:gd name="connsiteY0" fmla="*/ 0 h 257442"/>
                <a:gd name="connsiteX1" fmla="*/ 2002152 w 2056873"/>
                <a:gd name="connsiteY1" fmla="*/ 257442 h 257442"/>
                <a:gd name="connsiteX2" fmla="*/ 0 w 2056873"/>
                <a:gd name="connsiteY2" fmla="*/ 257442 h 257442"/>
                <a:gd name="connsiteX3" fmla="*/ 54721 w 2056873"/>
                <a:gd name="connsiteY3" fmla="*/ 0 h 257442"/>
                <a:gd name="connsiteX0" fmla="*/ 2056873 w 2056873"/>
                <a:gd name="connsiteY0" fmla="*/ 0 h 257442"/>
                <a:gd name="connsiteX1" fmla="*/ 2002152 w 2056873"/>
                <a:gd name="connsiteY1" fmla="*/ 257442 h 257442"/>
                <a:gd name="connsiteX2" fmla="*/ 0 w 2056873"/>
                <a:gd name="connsiteY2" fmla="*/ 257442 h 257442"/>
                <a:gd name="connsiteX3" fmla="*/ 54721 w 2056873"/>
                <a:gd name="connsiteY3" fmla="*/ 0 h 257442"/>
                <a:gd name="connsiteX0" fmla="*/ 2310148 w 2310148"/>
                <a:gd name="connsiteY0" fmla="*/ 0 h 257442"/>
                <a:gd name="connsiteX1" fmla="*/ 2002152 w 2310148"/>
                <a:gd name="connsiteY1" fmla="*/ 257442 h 257442"/>
                <a:gd name="connsiteX2" fmla="*/ 0 w 2310148"/>
                <a:gd name="connsiteY2" fmla="*/ 257442 h 257442"/>
                <a:gd name="connsiteX3" fmla="*/ 54721 w 2310148"/>
                <a:gd name="connsiteY3" fmla="*/ 0 h 257442"/>
                <a:gd name="connsiteX0" fmla="*/ 2310148 w 2310148"/>
                <a:gd name="connsiteY0" fmla="*/ 0 h 257442"/>
                <a:gd name="connsiteX1" fmla="*/ 2255426 w 2310148"/>
                <a:gd name="connsiteY1" fmla="*/ 257442 h 257442"/>
                <a:gd name="connsiteX2" fmla="*/ 0 w 2310148"/>
                <a:gd name="connsiteY2" fmla="*/ 257442 h 257442"/>
                <a:gd name="connsiteX3" fmla="*/ 54721 w 2310148"/>
                <a:gd name="connsiteY3" fmla="*/ 0 h 257442"/>
                <a:gd name="connsiteX0" fmla="*/ 2310149 w 2310149"/>
                <a:gd name="connsiteY0" fmla="*/ 0 h 257442"/>
                <a:gd name="connsiteX1" fmla="*/ 2255427 w 2310149"/>
                <a:gd name="connsiteY1" fmla="*/ 257442 h 257442"/>
                <a:gd name="connsiteX2" fmla="*/ 0 w 2310149"/>
                <a:gd name="connsiteY2" fmla="*/ 257442 h 257442"/>
                <a:gd name="connsiteX3" fmla="*/ 54722 w 2310149"/>
                <a:gd name="connsiteY3" fmla="*/ 0 h 257442"/>
                <a:gd name="connsiteX0" fmla="*/ 2310149 w 2310149"/>
                <a:gd name="connsiteY0" fmla="*/ 0 h 257442"/>
                <a:gd name="connsiteX1" fmla="*/ 2255427 w 2310149"/>
                <a:gd name="connsiteY1" fmla="*/ 257442 h 257442"/>
                <a:gd name="connsiteX2" fmla="*/ 0 w 2310149"/>
                <a:gd name="connsiteY2" fmla="*/ 257442 h 257442"/>
                <a:gd name="connsiteX3" fmla="*/ 54722 w 2310149"/>
                <a:gd name="connsiteY3" fmla="*/ 0 h 257442"/>
                <a:gd name="connsiteX0" fmla="*/ 2478463 w 2478463"/>
                <a:gd name="connsiteY0" fmla="*/ 0 h 257442"/>
                <a:gd name="connsiteX1" fmla="*/ 2255427 w 2478463"/>
                <a:gd name="connsiteY1" fmla="*/ 257442 h 257442"/>
                <a:gd name="connsiteX2" fmla="*/ 0 w 2478463"/>
                <a:gd name="connsiteY2" fmla="*/ 257442 h 257442"/>
                <a:gd name="connsiteX3" fmla="*/ 54722 w 2478463"/>
                <a:gd name="connsiteY3" fmla="*/ 0 h 257442"/>
                <a:gd name="connsiteX0" fmla="*/ 2478463 w 2478463"/>
                <a:gd name="connsiteY0" fmla="*/ 0 h 257442"/>
                <a:gd name="connsiteX1" fmla="*/ 2423742 w 2478463"/>
                <a:gd name="connsiteY1" fmla="*/ 257442 h 257442"/>
                <a:gd name="connsiteX2" fmla="*/ 0 w 2478463"/>
                <a:gd name="connsiteY2" fmla="*/ 257442 h 257442"/>
                <a:gd name="connsiteX3" fmla="*/ 54722 w 2478463"/>
                <a:gd name="connsiteY3" fmla="*/ 0 h 257442"/>
                <a:gd name="connsiteX0" fmla="*/ 2478462 w 2478462"/>
                <a:gd name="connsiteY0" fmla="*/ 0 h 257442"/>
                <a:gd name="connsiteX1" fmla="*/ 2423741 w 2478462"/>
                <a:gd name="connsiteY1" fmla="*/ 257442 h 257442"/>
                <a:gd name="connsiteX2" fmla="*/ 0 w 2478462"/>
                <a:gd name="connsiteY2" fmla="*/ 257442 h 257442"/>
                <a:gd name="connsiteX3" fmla="*/ 54721 w 2478462"/>
                <a:gd name="connsiteY3" fmla="*/ 0 h 257442"/>
                <a:gd name="connsiteX0" fmla="*/ 2478462 w 2478462"/>
                <a:gd name="connsiteY0" fmla="*/ 0 h 257442"/>
                <a:gd name="connsiteX1" fmla="*/ 2423741 w 2478462"/>
                <a:gd name="connsiteY1" fmla="*/ 257442 h 257442"/>
                <a:gd name="connsiteX2" fmla="*/ 0 w 2478462"/>
                <a:gd name="connsiteY2" fmla="*/ 257442 h 257442"/>
                <a:gd name="connsiteX3" fmla="*/ 54720 w 2478462"/>
                <a:gd name="connsiteY3" fmla="*/ 0 h 257442"/>
                <a:gd name="connsiteX0" fmla="*/ 2757384 w 2757384"/>
                <a:gd name="connsiteY0" fmla="*/ 0 h 257442"/>
                <a:gd name="connsiteX1" fmla="*/ 2423741 w 2757384"/>
                <a:gd name="connsiteY1" fmla="*/ 257442 h 257442"/>
                <a:gd name="connsiteX2" fmla="*/ 0 w 2757384"/>
                <a:gd name="connsiteY2" fmla="*/ 257442 h 257442"/>
                <a:gd name="connsiteX3" fmla="*/ 54720 w 2757384"/>
                <a:gd name="connsiteY3" fmla="*/ 0 h 257442"/>
                <a:gd name="connsiteX0" fmla="*/ 2757384 w 2757384"/>
                <a:gd name="connsiteY0" fmla="*/ 0 h 257442"/>
                <a:gd name="connsiteX1" fmla="*/ 2702663 w 2757384"/>
                <a:gd name="connsiteY1" fmla="*/ 257442 h 257442"/>
                <a:gd name="connsiteX2" fmla="*/ 0 w 2757384"/>
                <a:gd name="connsiteY2" fmla="*/ 257442 h 257442"/>
                <a:gd name="connsiteX3" fmla="*/ 54720 w 2757384"/>
                <a:gd name="connsiteY3" fmla="*/ 0 h 257442"/>
                <a:gd name="connsiteX0" fmla="*/ 2757385 w 2757385"/>
                <a:gd name="connsiteY0" fmla="*/ 0 h 257442"/>
                <a:gd name="connsiteX1" fmla="*/ 2702664 w 2757385"/>
                <a:gd name="connsiteY1" fmla="*/ 257442 h 257442"/>
                <a:gd name="connsiteX2" fmla="*/ 0 w 2757385"/>
                <a:gd name="connsiteY2" fmla="*/ 257442 h 257442"/>
                <a:gd name="connsiteX3" fmla="*/ 54721 w 2757385"/>
                <a:gd name="connsiteY3" fmla="*/ 0 h 257442"/>
                <a:gd name="connsiteX0" fmla="*/ 2757385 w 2757385"/>
                <a:gd name="connsiteY0" fmla="*/ 0 h 257442"/>
                <a:gd name="connsiteX1" fmla="*/ 2702664 w 2757385"/>
                <a:gd name="connsiteY1" fmla="*/ 257442 h 257442"/>
                <a:gd name="connsiteX2" fmla="*/ 0 w 2757385"/>
                <a:gd name="connsiteY2" fmla="*/ 257442 h 257442"/>
                <a:gd name="connsiteX3" fmla="*/ 54722 w 2757385"/>
                <a:gd name="connsiteY3" fmla="*/ 0 h 257442"/>
                <a:gd name="connsiteX0" fmla="*/ 2935320 w 2935320"/>
                <a:gd name="connsiteY0" fmla="*/ 0 h 257442"/>
                <a:gd name="connsiteX1" fmla="*/ 2702664 w 2935320"/>
                <a:gd name="connsiteY1" fmla="*/ 257442 h 257442"/>
                <a:gd name="connsiteX2" fmla="*/ 0 w 2935320"/>
                <a:gd name="connsiteY2" fmla="*/ 257442 h 257442"/>
                <a:gd name="connsiteX3" fmla="*/ 54722 w 2935320"/>
                <a:gd name="connsiteY3" fmla="*/ 0 h 257442"/>
                <a:gd name="connsiteX0" fmla="*/ 2935320 w 2935320"/>
                <a:gd name="connsiteY0" fmla="*/ 0 h 257442"/>
                <a:gd name="connsiteX1" fmla="*/ 2880598 w 2935320"/>
                <a:gd name="connsiteY1" fmla="*/ 257442 h 257442"/>
                <a:gd name="connsiteX2" fmla="*/ 0 w 2935320"/>
                <a:gd name="connsiteY2" fmla="*/ 257442 h 257442"/>
                <a:gd name="connsiteX3" fmla="*/ 54722 w 2935320"/>
                <a:gd name="connsiteY3" fmla="*/ 0 h 257442"/>
                <a:gd name="connsiteX0" fmla="*/ 2935320 w 2935320"/>
                <a:gd name="connsiteY0" fmla="*/ 0 h 257442"/>
                <a:gd name="connsiteX1" fmla="*/ 2880598 w 2935320"/>
                <a:gd name="connsiteY1" fmla="*/ 257442 h 257442"/>
                <a:gd name="connsiteX2" fmla="*/ 0 w 2935320"/>
                <a:gd name="connsiteY2" fmla="*/ 257442 h 257442"/>
                <a:gd name="connsiteX3" fmla="*/ 54722 w 2935320"/>
                <a:gd name="connsiteY3" fmla="*/ 0 h 257442"/>
                <a:gd name="connsiteX0" fmla="*/ 2935320 w 2935320"/>
                <a:gd name="connsiteY0" fmla="*/ 0 h 257442"/>
                <a:gd name="connsiteX1" fmla="*/ 2880598 w 2935320"/>
                <a:gd name="connsiteY1" fmla="*/ 257442 h 257442"/>
                <a:gd name="connsiteX2" fmla="*/ 0 w 2935320"/>
                <a:gd name="connsiteY2" fmla="*/ 257442 h 257442"/>
                <a:gd name="connsiteX3" fmla="*/ 54721 w 2935320"/>
                <a:gd name="connsiteY3" fmla="*/ 0 h 257442"/>
                <a:gd name="connsiteX0" fmla="*/ 3095619 w 3095619"/>
                <a:gd name="connsiteY0" fmla="*/ 0 h 257442"/>
                <a:gd name="connsiteX1" fmla="*/ 2880598 w 3095619"/>
                <a:gd name="connsiteY1" fmla="*/ 257442 h 257442"/>
                <a:gd name="connsiteX2" fmla="*/ 0 w 3095619"/>
                <a:gd name="connsiteY2" fmla="*/ 257442 h 257442"/>
                <a:gd name="connsiteX3" fmla="*/ 54721 w 3095619"/>
                <a:gd name="connsiteY3" fmla="*/ 0 h 257442"/>
                <a:gd name="connsiteX0" fmla="*/ 3095619 w 3095619"/>
                <a:gd name="connsiteY0" fmla="*/ 0 h 257442"/>
                <a:gd name="connsiteX1" fmla="*/ 3040898 w 3095619"/>
                <a:gd name="connsiteY1" fmla="*/ 257442 h 257442"/>
                <a:gd name="connsiteX2" fmla="*/ 0 w 3095619"/>
                <a:gd name="connsiteY2" fmla="*/ 257442 h 257442"/>
                <a:gd name="connsiteX3" fmla="*/ 54721 w 3095619"/>
                <a:gd name="connsiteY3" fmla="*/ 0 h 257442"/>
                <a:gd name="connsiteX0" fmla="*/ 3095619 w 3095619"/>
                <a:gd name="connsiteY0" fmla="*/ 0 h 257442"/>
                <a:gd name="connsiteX1" fmla="*/ 3040898 w 3095619"/>
                <a:gd name="connsiteY1" fmla="*/ 257442 h 257442"/>
                <a:gd name="connsiteX2" fmla="*/ 0 w 3095619"/>
                <a:gd name="connsiteY2" fmla="*/ 257442 h 257442"/>
                <a:gd name="connsiteX3" fmla="*/ 54721 w 3095619"/>
                <a:gd name="connsiteY3" fmla="*/ 0 h 257442"/>
                <a:gd name="connsiteX0" fmla="*/ 3095619 w 3095619"/>
                <a:gd name="connsiteY0" fmla="*/ 0 h 257442"/>
                <a:gd name="connsiteX1" fmla="*/ 3040898 w 3095619"/>
                <a:gd name="connsiteY1" fmla="*/ 257442 h 257442"/>
                <a:gd name="connsiteX2" fmla="*/ 0 w 3095619"/>
                <a:gd name="connsiteY2" fmla="*/ 257442 h 257442"/>
                <a:gd name="connsiteX3" fmla="*/ 54721 w 3095619"/>
                <a:gd name="connsiteY3" fmla="*/ 0 h 257442"/>
                <a:gd name="connsiteX0" fmla="*/ 3263934 w 3263934"/>
                <a:gd name="connsiteY0" fmla="*/ 0 h 257442"/>
                <a:gd name="connsiteX1" fmla="*/ 3040898 w 3263934"/>
                <a:gd name="connsiteY1" fmla="*/ 257442 h 257442"/>
                <a:gd name="connsiteX2" fmla="*/ 0 w 3263934"/>
                <a:gd name="connsiteY2" fmla="*/ 257442 h 257442"/>
                <a:gd name="connsiteX3" fmla="*/ 54721 w 3263934"/>
                <a:gd name="connsiteY3" fmla="*/ 0 h 257442"/>
                <a:gd name="connsiteX0" fmla="*/ 3263934 w 3263934"/>
                <a:gd name="connsiteY0" fmla="*/ 0 h 257442"/>
                <a:gd name="connsiteX1" fmla="*/ 3209212 w 3263934"/>
                <a:gd name="connsiteY1" fmla="*/ 257442 h 257442"/>
                <a:gd name="connsiteX2" fmla="*/ 0 w 3263934"/>
                <a:gd name="connsiteY2" fmla="*/ 257442 h 257442"/>
                <a:gd name="connsiteX3" fmla="*/ 54721 w 3263934"/>
                <a:gd name="connsiteY3" fmla="*/ 0 h 257442"/>
                <a:gd name="connsiteX0" fmla="*/ 3263935 w 3263935"/>
                <a:gd name="connsiteY0" fmla="*/ 0 h 257442"/>
                <a:gd name="connsiteX1" fmla="*/ 3209213 w 3263935"/>
                <a:gd name="connsiteY1" fmla="*/ 257442 h 257442"/>
                <a:gd name="connsiteX2" fmla="*/ 0 w 3263935"/>
                <a:gd name="connsiteY2" fmla="*/ 257442 h 257442"/>
                <a:gd name="connsiteX3" fmla="*/ 54722 w 3263935"/>
                <a:gd name="connsiteY3" fmla="*/ 0 h 257442"/>
                <a:gd name="connsiteX0" fmla="*/ 3263935 w 3263935"/>
                <a:gd name="connsiteY0" fmla="*/ 0 h 257442"/>
                <a:gd name="connsiteX1" fmla="*/ 3209213 w 3263935"/>
                <a:gd name="connsiteY1" fmla="*/ 257442 h 257442"/>
                <a:gd name="connsiteX2" fmla="*/ 0 w 3263935"/>
                <a:gd name="connsiteY2" fmla="*/ 257442 h 257442"/>
                <a:gd name="connsiteX3" fmla="*/ 54722 w 3263935"/>
                <a:gd name="connsiteY3" fmla="*/ 0 h 257442"/>
                <a:gd name="connsiteX0" fmla="*/ 3424235 w 3424235"/>
                <a:gd name="connsiteY0" fmla="*/ 0 h 257442"/>
                <a:gd name="connsiteX1" fmla="*/ 3209213 w 3424235"/>
                <a:gd name="connsiteY1" fmla="*/ 257442 h 257442"/>
                <a:gd name="connsiteX2" fmla="*/ 0 w 3424235"/>
                <a:gd name="connsiteY2" fmla="*/ 257442 h 257442"/>
                <a:gd name="connsiteX3" fmla="*/ 54722 w 3424235"/>
                <a:gd name="connsiteY3" fmla="*/ 0 h 257442"/>
                <a:gd name="connsiteX0" fmla="*/ 3424235 w 3424235"/>
                <a:gd name="connsiteY0" fmla="*/ 0 h 257442"/>
                <a:gd name="connsiteX1" fmla="*/ 3369514 w 3424235"/>
                <a:gd name="connsiteY1" fmla="*/ 257442 h 257442"/>
                <a:gd name="connsiteX2" fmla="*/ 0 w 3424235"/>
                <a:gd name="connsiteY2" fmla="*/ 257442 h 257442"/>
                <a:gd name="connsiteX3" fmla="*/ 54722 w 3424235"/>
                <a:gd name="connsiteY3" fmla="*/ 0 h 257442"/>
                <a:gd name="connsiteX0" fmla="*/ 3424234 w 3424234"/>
                <a:gd name="connsiteY0" fmla="*/ 0 h 257442"/>
                <a:gd name="connsiteX1" fmla="*/ 3369513 w 3424234"/>
                <a:gd name="connsiteY1" fmla="*/ 257442 h 257442"/>
                <a:gd name="connsiteX2" fmla="*/ 0 w 3424234"/>
                <a:gd name="connsiteY2" fmla="*/ 257442 h 257442"/>
                <a:gd name="connsiteX3" fmla="*/ 54721 w 3424234"/>
                <a:gd name="connsiteY3" fmla="*/ 0 h 257442"/>
                <a:gd name="connsiteX0" fmla="*/ 3424234 w 3424234"/>
                <a:gd name="connsiteY0" fmla="*/ 0 h 257442"/>
                <a:gd name="connsiteX1" fmla="*/ 3369513 w 3424234"/>
                <a:gd name="connsiteY1" fmla="*/ 257442 h 257442"/>
                <a:gd name="connsiteX2" fmla="*/ 0 w 3424234"/>
                <a:gd name="connsiteY2" fmla="*/ 257442 h 257442"/>
                <a:gd name="connsiteX3" fmla="*/ 54720 w 3424234"/>
                <a:gd name="connsiteY3" fmla="*/ 0 h 257442"/>
                <a:gd name="connsiteX0" fmla="*/ 950800 w 3369513"/>
                <a:gd name="connsiteY0" fmla="*/ 0 h 257442"/>
                <a:gd name="connsiteX1" fmla="*/ 3369513 w 3369513"/>
                <a:gd name="connsiteY1" fmla="*/ 257442 h 257442"/>
                <a:gd name="connsiteX2" fmla="*/ 0 w 3369513"/>
                <a:gd name="connsiteY2" fmla="*/ 257442 h 257442"/>
                <a:gd name="connsiteX3" fmla="*/ 54720 w 3369513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439718 w 1439718"/>
                <a:gd name="connsiteY0" fmla="*/ 0 h 257442"/>
                <a:gd name="connsiteX1" fmla="*/ 1224695 w 1439718"/>
                <a:gd name="connsiteY1" fmla="*/ 257442 h 257442"/>
                <a:gd name="connsiteX2" fmla="*/ 0 w 1439718"/>
                <a:gd name="connsiteY2" fmla="*/ 257442 h 257442"/>
                <a:gd name="connsiteX3" fmla="*/ 54722 w 1439718"/>
                <a:gd name="connsiteY3" fmla="*/ 0 h 257442"/>
                <a:gd name="connsiteX0" fmla="*/ 1439718 w 1439718"/>
                <a:gd name="connsiteY0" fmla="*/ 0 h 257442"/>
                <a:gd name="connsiteX1" fmla="*/ 1384996 w 1439718"/>
                <a:gd name="connsiteY1" fmla="*/ 257442 h 257442"/>
                <a:gd name="connsiteX2" fmla="*/ 0 w 1439718"/>
                <a:gd name="connsiteY2" fmla="*/ 257442 h 257442"/>
                <a:gd name="connsiteX3" fmla="*/ 54722 w 1439718"/>
                <a:gd name="connsiteY3" fmla="*/ 0 h 257442"/>
                <a:gd name="connsiteX0" fmla="*/ 1439718 w 1439718"/>
                <a:gd name="connsiteY0" fmla="*/ 0 h 257442"/>
                <a:gd name="connsiteX1" fmla="*/ 1384996 w 1439718"/>
                <a:gd name="connsiteY1" fmla="*/ 257442 h 257442"/>
                <a:gd name="connsiteX2" fmla="*/ 0 w 1439718"/>
                <a:gd name="connsiteY2" fmla="*/ 257442 h 257442"/>
                <a:gd name="connsiteX3" fmla="*/ 54722 w 1439718"/>
                <a:gd name="connsiteY3" fmla="*/ 0 h 257442"/>
                <a:gd name="connsiteX0" fmla="*/ 1439718 w 1439718"/>
                <a:gd name="connsiteY0" fmla="*/ 0 h 257442"/>
                <a:gd name="connsiteX1" fmla="*/ 1384996 w 1439718"/>
                <a:gd name="connsiteY1" fmla="*/ 257442 h 257442"/>
                <a:gd name="connsiteX2" fmla="*/ 0 w 1439718"/>
                <a:gd name="connsiteY2" fmla="*/ 257442 h 257442"/>
                <a:gd name="connsiteX3" fmla="*/ 54721 w 1439718"/>
                <a:gd name="connsiteY3" fmla="*/ 0 h 257442"/>
                <a:gd name="connsiteX0" fmla="*/ 1279416 w 1384996"/>
                <a:gd name="connsiteY0" fmla="*/ 0 h 257442"/>
                <a:gd name="connsiteX1" fmla="*/ 1384996 w 1384996"/>
                <a:gd name="connsiteY1" fmla="*/ 257442 h 257442"/>
                <a:gd name="connsiteX2" fmla="*/ 0 w 1384996"/>
                <a:gd name="connsiteY2" fmla="*/ 257442 h 257442"/>
                <a:gd name="connsiteX3" fmla="*/ 54721 w 138499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9416" h="257442">
                  <a:moveTo>
                    <a:pt x="1279416" y="0"/>
                  </a:moveTo>
                  <a:lnTo>
                    <a:pt x="1224695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7" name="btfpRunningAgenda2LevelTextRight617402">
              <a:extLst>
                <a:ext uri="{FF2B5EF4-FFF2-40B4-BE49-F238E27FC236}">
                  <a16:creationId xmlns:a16="http://schemas.microsoft.com/office/drawing/2014/main" id="{90823C02-1F74-C302-503C-F2F930FB3679}"/>
                </a:ext>
              </a:extLst>
            </p:cNvPr>
            <p:cNvSpPr txBox="1"/>
            <p:nvPr/>
          </p:nvSpPr>
          <p:spPr bwMode="gray">
            <a:xfrm>
              <a:off x="2973601" y="876300"/>
              <a:ext cx="1224695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kpc</a:t>
              </a:r>
            </a:p>
          </p:txBody>
        </p:sp>
      </p:grpSp>
      <p:sp>
        <p:nvSpPr>
          <p:cNvPr id="38" name="Rectangle 37">
            <a:extLst>
              <a:ext uri="{FF2B5EF4-FFF2-40B4-BE49-F238E27FC236}">
                <a16:creationId xmlns:a16="http://schemas.microsoft.com/office/drawing/2014/main" id="{8B7A7AC5-6667-467A-5330-A3076795D6E2}"/>
              </a:ext>
            </a:extLst>
          </p:cNvPr>
          <p:cNvSpPr/>
          <p:nvPr/>
        </p:nvSpPr>
        <p:spPr bwMode="gray">
          <a:xfrm>
            <a:off x="7783909" y="944429"/>
            <a:ext cx="1470174" cy="257443"/>
          </a:xfrm>
          <a:prstGeom prst="rect">
            <a:avLst/>
          </a:prstGeom>
          <a:solidFill>
            <a:srgbClr val="FAEEC3">
              <a:alpha val="75000"/>
            </a:srgb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 i="1">
                <a:solidFill>
                  <a:srgbClr val="CC0000"/>
                </a:solidFill>
              </a:rPr>
              <a:t>To be refined</a:t>
            </a: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8D1E217E-7585-800E-A120-BF3A4B792B54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9880" y="936034"/>
            <a:ext cx="281540" cy="280744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9FDB3F17-1042-7B2D-941B-2941C793D9C9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1079" y="936033"/>
            <a:ext cx="281541" cy="280746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39807431-9C83-14B2-B655-5BF9E7D6BC6A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2043" y="936034"/>
            <a:ext cx="281540" cy="280744"/>
          </a:xfrm>
          <a:prstGeom prst="rect">
            <a:avLst/>
          </a:prstGeom>
        </p:spPr>
      </p:pic>
      <p:sp>
        <p:nvSpPr>
          <p:cNvPr id="48" name="btfpNotesBox491930">
            <a:extLst>
              <a:ext uri="{FF2B5EF4-FFF2-40B4-BE49-F238E27FC236}">
                <a16:creationId xmlns:a16="http://schemas.microsoft.com/office/drawing/2014/main" id="{0242480F-021D-452A-DB55-4677A7B666A0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330200" y="6453390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</a:t>
            </a:r>
            <a:r>
              <a:rPr lang="fr-FR" sz="800" dirty="0">
                <a:solidFill>
                  <a:srgbClr val="000000"/>
                </a:solidFill>
              </a:rPr>
              <a:t>xxx questionnaire (N=245), Customer &amp; </a:t>
            </a:r>
            <a:r>
              <a:rPr lang="fr-FR" sz="800" dirty="0" err="1">
                <a:solidFill>
                  <a:srgbClr val="000000"/>
                </a:solidFill>
              </a:rPr>
              <a:t>vendor</a:t>
            </a:r>
            <a:r>
              <a:rPr lang="fr-FR" sz="800" dirty="0">
                <a:solidFill>
                  <a:srgbClr val="000000"/>
                </a:solidFill>
              </a:rPr>
              <a:t> interviews</a:t>
            </a:r>
            <a:endParaRPr lang="en-US" sz="800" dirty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48212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BTFPCOLUMNGUIDE" val="Visible"/>
  <p:tag name="OFFICE" val="Boston"/>
  <p:tag name="MEKKOFORMATS" val="&lt;MekkoFormats&gt;&lt;NumberFormat DecimalSeparator=&quot;.&quot; ThousandSeparator=&quot;,&quot; NegativeNumberFormat=&quot;1&quot; /&gt;&lt;DateFormat CultureID=&quot;1033&quot; FormatString=&quot;M/d/yyyy&quot; /&gt;&lt;Font&gt;&lt;Output_Font_Name Default=&quot;Arial&quot; UsePPTTheme=&quot;True&quot; /&gt;&lt;/Font&gt;&lt;/MekkoFormats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BTFPLAYOUTENABLED" val="1"/>
  <p:tag name="MEKKOXML1" val="4HooU0THZk28POP9trq+pbTvvzd/gcV8t56cq85kb3NDTsUhojRA0EsgEHHMH7oYP1SYpn09ysXVivguJdhTvfyVMsBLTGvcX7WPTor/CmWiWcfk2RmY+GE6Q6T90sFUr0lg9IPP9y8umrse/9AoLT5R0GKq+XM9pr/aTyOTf0wptcuHbHxeyqBm9svU01qeeEM1v0hpSHUgirOnAK/wuoDEJbiJhIbijBWlQuGajC1jcx0pBH+Rwxh7AJAh3ro0ehSG+bwiCwfpZfdztiq5tJUX3jPzxAAu04fmfz8Cu6FBpugkD/m1zzFceCZFe8P/M6flkWyarYmcqQk+8LlFVSHH6ebwE6lnjeps5QR37mvRNgSCAiN6t3T+FTHd+5Y9wJO6710c+eOS/2Prr5UrqTRHX69hQ7MP1jK/40HQbvs/aUoD6KP2b9iPbUs1mfTyJvpv6nOuTYTlF6OaAGIGzqBaUsfzuSMMqMhZMFJPxf8bNJZzjfyChJzHLrn6eCmbgboW1VXXjQcjdolXRX2Q73f4EKJeHUXgP6F/STDrh/ZuwMh9uZP2onTV5XRGw9MnH65Cp/zjVMqOk0KdE822G9vn6bA7MWtvOM/4LR32MWSf63vMaVE3FABcUl/AX/869TqORVwlvQGcBgsO0yaYVednvbgAWwzyCeWYkV2Bax7oHEdK/S+pFWtWYRe0Ls9hzpbWsJ04RGIIqEf+1fsrvT/H0VxqMk4wcYOkcq+9LfO3yvxbbUK1ZupkQ3jXsfowDi3QtWxsXzsG4p8t6b95XIGA0uhE2uI4/rpce7h9PRWH8wLzcXJzDRDTBNzdj0GWAxbA0f3VJBJL2VfBq9jDs5wF55Gg/GJfyzg0KOcEmKJD5c5oUGW+lYvubZ7RYhLUX1tx6A43MNn9l4YDcghvVXkDnw6aZQhJ4/6+UHoqVF6B6bfPYHE4rmdHYIfbds4Eyk1dchW0DGGzuTKsYLkxeFOXnpxfC82xM6r7JL+V4m+1PN/ol3249eWgGhgR10CPui3vVTfEPCF01KpIiIzaMlKFvus3f5Lk739pmqaEMmeAoQg6RpdCH67oXqjdWnqoXHqOXWivyR6Ob4VVhLQyHghYLePIZXyvIpC8jnlSSk1RnTqUlfRMKRwq4QCkuoq9OK17i0cfAI+UEvEsowDioz1B6+SaeexUn0+PZEpdW5feoigqflFNEzuFuGnphf2ko8zSPb5AED5JlZ6x2Wul8bpYSplrvB77Y2ZpOigcuPSUcQYoDzM9Q8Ywg5zrurR3aUPIpHzL2Nd84uZWVjwTYj6zl30p6kXUxp+22sATqrgqXZ5v+2SXtcEcPL+rVh2tJ8BmWrVztISJTDM7MuEg/uVZYgtzPht4tQnvZHE1+uBrXHcvfVF0npKjJJrmZtl3tEn4LHmzpViE8Ifrh4tDxXrev/pl+UL74csbdBzguK70FN6DqGuNq1rERpKHbQYz/diMO6gHPoKLozuVQIxVBxotT7GsOAuLSm1bCb5B7BqgxWVyANLWP2uLu2XJwP8dbtHQNtXYI0leaTmKzC1er+nvQqwMZIUhZsLbr/3dhBggLaysOXBrG+aqMtcXgMRgZQeuDkLnsBkMnABP9Hfnh4cfMTU6erYpeu+miCkHPTO4Y1txjq2aq2cZmBSJanNv6sLMTcB+P6ir9gnkFvVFR1b5zCEZVcdi4Bjqo4q3bIAR6Za60hP0G35ujrF76M3td0hVfiIhM8JbYW4UMRmS0VSA3AEcC38+UuS36qkP2WxXkhAtksHCK6HyySFQaUfvxwpgPJ6kOZLnl+AD/nv5tpNPBjR9L+DvNhxuv6GOK5XNsD4zuMgUMMwmdVxuFfA2yBkRrxdxekrF75DFHviN/OI/v0Ewz3ht7PKmTWs/m6Gqw4MRlYOYrD05kO747fOoNPRvY9oxBhOpb5es1aZimnxmLyQTWbb6UNcZC5buzy19jleKWfO8XgT8rMrF4PkLqck3jvnJeqh85aIL5eoGBtQxqfZ9SF7HR4naYON0cvSo4eopsOJLVOO+p54uLhxVmIrRaJVhju+ZIkZEIPly2rXXEv8W40mEoxTp9cew220prkQ/ILd/1cYISHSXwE0qo7JyBSQvCHLPwput4fhk4weQ6/LQeUx0QqvRZPOBHi0PBJD4YnineBsZTv9r7Z1vf+6u+EiBtMcihRXLXIoY3LqbHIf7Z1tXF/zaUidN+vsCGrZUSchzCz7YOVO26vxjr8PNklycalIOOaUSaq1UN1vdbSD/AQbar9Pd5nrnqT4C7F+GEtHn1TYLwuxY7GIGaj6T+Q4/0zyTHS1Go0HwyglJzJ2bBXVaUE+/dvFBIjgh/JB+ahC2razFk7tauzJGDjN4ZEGxxnt6xl6wPXCXBN04U1F4PWTq/dXvGP2Y5RRVdUE7Tl744hbS9Pp+zJ8nu3lyPO8KKsipM3at+cbeNGtOG4hUwnieM6tbk89NbGkWwfbwO1FE1dbPNs4w1hf3IH639VVeXMutg0KQ3OML47u5S+jMoupWK8EgjSugncf12su+schNm783nypNYL/KtQJmN8JcndxsBauTBIvHx6eMrd+Z6ZO5LBLkV1EIrJDHR1kUhzFPO2LkkP5272pwAT3TFeK7ppnu9LsIzIA5LoFN7gC7DScpaJYAFRGnNxhCi2zO5y2sZS/FyPRN6QktgMGqfetYOhJ2bQfudhC5QHxsgZTyGunwopjKv2LRP2psuqGX3nbT++0+DKZlAevOuh1vWAa5G1wSUQLqqTIblm2JU7KXwjN4t9o/Av6wP4QZoYBHBgzjnc+r6ZCE5xd3uGLlaaRqOEVUrh5u+eM5uN4D5LBXdf1g4avPScxubiR9aIBfnjDAMVCC3fkaV+RJAu7/A4hmQ0ZbADB4A4nnHLHU0nDCoGgYO1npHGWEIrTGfbskG9ShlHjrPIVtQHkTV/ZDCNuQpRv4uzcqCc0ATsuxmCg5M4PEW46FWTbcsFLKrvTIqfN7UbKeeCaB5z3CHTI0NcKP51NzgKE3ccX0e6Sp1NUWd+p4Ov80UxU4MbCeo3tzQiwwgodTp1taHqO2Ep4SgNwYrbFUn0HeTX0XCBJHD0oq8u+/wgufPRNHgDU6s3DjWxSz242eCCULl7+GSRjqMl7qRRR9XQasxBL8M4gKSmSCeizwDBGku/wiLrnd3AIvR1xSWn3jlVwbddKddeUCXFJw9ZxAzu7Ko6M5UHFaZ7t0B3u0CdG2bwniki2P3Votd4rMIIacAzaFt6NUuqRmky46tlCIfQ3d/VrdCE0G1LiHT4HrylIeyHQRjbxMeH+WrApxAR4B4/ytCnCoZIhCi0S7eV/RPw46FlKZbCkDnd657TTQLWs+zM2AsmOetVGP703NlJHGTs0c4vckbI0JeotWhJCIKEMXjW4TtzugX7O16wgQZ9lMBhngvYqouPbmQyHxy4yZRI5DgGjxN07x3Xwrrqmw+A5aO3onVdElO4KCokRgCmqwDwDSJc74gyYxMp9YtRin8XO82DLesuIQ447RiVua59a85bxHK722RvOklDxh7yYHPXcGXw3wxgjfQwAwCudiuiVcMyscpYrBkVKnTfQTgk+hqKnKvFcEXmIfJ4HF/xK4XUxm6huyMUs0ufeVm9KSFOLb2RK63mghGAYduc+TNZD87I8Dm7zHQvS2fwq9vLamnT/7yYBIIgnisD2hNIdJrCf10GDA9XrTLq3aX3c/3ehfvqbU8A1WNZ1HADWOiAo6i4Xrv+RbuwHLIsJr/egUxozKUIfUheHYbTKA0Yp7u3Xj/ZhCjvFqwNysOgyIObu+TPoV8COmkR2+pje2DZ+kQdp8VF5JRe1oTor6iaGJUzvYzpOpyPo/YBaMrRzcuWEcUErRRx3+hAfYCabHtHZNRwds8K46CLn+WAqrCRy/IQ9WloDnc5ObAPhMPqCmU8FHW3fNLacKTp1K6/6eQsaf/wmvPptpjmaP0wTSHnydojWn1mvnJvWGmmFmY0VHG/yq19RHeQo/OJSK6e6FdWBvzreud7HT6PhJtitjz5nyxdPxmy5CLOsWe37/8JYQzAzRUqzIvkx4ihOQC1twBHhFwaGYk1crqY/sp+mCGftj1gMTgjqoBL9ncGXNiQYXcVL2DuC01qnMTpxykvpocRZAQFJPPAlHdSm91wVI+ZPdXJIUOQBwYMFMf1LkjvGgkyDqHDcXOrmsv1+pgzMU4q5roVv78UMqrfkLQ4zaDynwvhipI2vtZQcz88svP9PblymN4n3etuLlhpK/qv4+DN05CzxwsU8kjHbdBv4HbYwzVi1w1QaLqfblcCcWJbkv8+ajdPolrtDkQ+ixpYFEp32vileVqK6vp7W3ddbNIP5BBXonuCzHGpZDWzmHEa5QzWvAIpb4cWgd+th82lb0vb8Ys/SpRbeW1XSI7+rCWJMHxetx9rXi7NHQ9bkGCo4cAuMlYDpLTVbMNdwOWqzgJcyWiu+2chVakpiilyLWK3vnic1q0nFXLArie0iJw6n1ClZM6/FKpG8OgO9BoECfkHkqPRprPSVm7Z4g5IDfNfA6mOwByEAhV+jyUBr8GTAXuWBG1Wu43fBghUxQ9kqAhWdAmjP8MlS8HrHYKmJNAMOCr65P+DkFUoE1Yp2ldbU0EQRx6R3m3dso8lqiGKzgEvByj5vc1x2TF6SryY2FUBWEywJ4i3/yKC4Ep/c18ya2Mz4lfRVLLBUJhMPIDCqshn3/Hkig/A1JWNm6PWM6nf/kCaF7ja0KQp6xP6jxe/PlkamQK2QUaMflirB1qzA1sVy6AZXX3luVKsVJ8md/xrBPnvwTSQHHyY+0IumvPeYNJ/agvSjVr5IdBqirayEmcF67wOZq38uPI4tvmQZ6ROWNBrYP3uIISG+lha8vzbvLcKUtEyScYmxeQRJTDVYLoghB9Kr3AH12MXW6NLwBH31V+mxfEzEjVcybrTZwL7ESNsqijUtAVq+ewDJPRuPjfRohReqKw9XhX/d5r/cmrlLMccasaUs6zxqsWE24MJTDh/wqASoqQoaXSuSH7suojXdYyQzMilfG/JMXXL6tXplA6fA41rfvZdhXyc9cqTEX7Zijt5UoK264nfsl4rTWiWon6kXD2mXPcSUDFRZ23lGDBD83+MFfBc3sgZoVFL7SZ9lobI7wS3H37O3wyoSVc0sbzTCVmZQbxFr9NY/WiKJksab5OhPu1AJi8ZIR4Zh3BO3pilQ/u+B1Dzih/rCUSgCpqusXXNUk64adS4W5ehoNb5581xxpDuChMX+DJGboQFGEJVgKflyoY5br/3TGEBsYftiBzc0vYii7dD8MzePhwGYvC73OmcHhkWcgdvI8NrkxDtELUBOaFiSSQ9j7fEWqhw//ilVhfVV/0GVgrKXDEhwCNXfyRI8o8C2Po0dUdbYBDghCrOgHWI5tj9nOqMjtyTUL6HTWlx/hrZCvFVsvAPTM9TK1fDREAzxTOdKdbNv7Gl93vpH7EOqjwNMKrtu57+7oVNrTXcQU2K3JLsn/WqDnBXf+UDtiW7u9UTldvReo2V/AySw8K5pIS47yRYKlnEWM72mfO6H80ishJunl78QdBmmllouh4LoQpLrLZFxLpdd0JK8RaG2qYRMKgsNWu9MpLKxik6+X0x1Csu4LAHDneo3nETCijbH/vTCemsv9ajr1IZ4lDitLJ0j55oM9UyRPGqpA5lPnWOkS+JdoK/VzR5jFPMdC835del3aCPXCiBrFbteGtyIkj9sG9CUTaEArZ/WBISaoQ83xoFe3+ClaJ5M3VNor4xvmQNU/8osOj3nYr6CWZS6X6UTFZeY0V8FL9V3aeP5A1w0YeAhowiJuRxiod8Vyu01RFv+UJU/Nf/JE4YNVySyW6QzrIYUql/EU7pl7xcV3AWZv1NZ5Mgr3pDaZiNC6KvcZiTuyKYE+dkRKWajtvChc8TXU8gU6jkeBhDLTerHjhU/NN5jQtHZkQEuC1jYPhHeqYtEj4bywMVu2baAkqkofOp5uWQPatZE6Ac/GbLVMCF7hW7DcXcB83IksoOKLXqJZmmKqJPfNj2HazLd3mgHg/9zXDErBf3yAxCuM8tGWfQh2Samde6HUHAmHx6BDduN3TJtsdyxAw1uSueSvNrF1V9+zEKBNL4z0LMW67dqIox1PeoXCb0zyvROJn+j1Q33OUVTexpZyk/XFBtH77gj4c76azDuxl1qYvmgn+h9lSRcUaLC5Lg7h6V8nPQIcdW1+yMtlouInNcurzT1MCON1OXbKvJDBROV734LMu+xutoJamodkw72D7ii5lNVjwJws/t/V4osrU6iq4GHEzsjYS6QT1j8yMhYBpZXFtVSzyAcv27I4oZ8qH/u1aT33YujFZ9TacHYdnk0WyJuaHGKgE4fto0rjgxZaZ/tmOPboPgp3Uhg/A/qnzCWbQaDiv9ABZTLKVsy3Iu08dLUaBuQjlHOGzqqAmZ35Rm8FDh9d+TLQTQ/HT5APF/bUio/oiwcoTPfyXM/VT5n6+ZHHGnMu8AqcYKUIo26LPN7HfIILxBeMqz2hDmS1AOIcFJ2ndZpUcExwgULJBSXuvO3+6tt3CjHR3Cr8Xjv5kCumZxNfxusnH0EIxPNUQAbsX+QprGKl0noJRMhWd14Crsh4aaqK/8lqRVUs7loekoRjKXcgVakhp3oR66/MW9dsF4+evcknViyXlnkAC6Q09eOgqKqM6vU5B4RLNY0Ldj2stR0SsHUFpXLLN9xNfr6hDTp1hYUvr+kYD9DOsj9knLNACwLzZXFYzaGM1cgV+tmtrR8wQV2YPlTOpyQcEgWpxNe+dW1aFmkgZC269tR7IRf2AjJJzwFWCxumMt9ECn+IGTeRae0y0bXKTCMSL6vZGIFjN/WXuY+kf22S+/QnpWObxvMpAdf3ER62ZddVtUovVprIma3zz1eMSQnp7ATrsh+7JMEAKNrt7pKSLqptpYoizVLkk1XH+C+YNsRPHNWB5OEdSZOIMHYRMAH/ublXsuJ4QKGM36WhAtUyqYmq1F7BUWwrQXisE/BnCGiulog0ebbg7yfpFNOy5Yumz/szorUONwL85OH/oJ4v4VjJnj7OvMbHtjKubvKQegYOCmEI4DrYfeXJYbJBNm3/elRU4mj8ChkKv9f/8eUrZzAIi7gHVZGt0F4Fuw5uk0N8oEmzYbWTauffCNVfbBpL2lPdS2dA7k4TtrTGeHHGO07nldcWjqcJSdN6uUZZlK0MA7ETvEnSZRhYQ7XocVklaV8ZepIurIVYnGCSE7nnlAnvVCGgYbb6FYlGyz3ZSirnyaOCf08XmHmMEVBsjmK/vBPqsBR7OZ3o6f2gFpG7kx1skqDY0qaqpp6iv8RbWSQS91VXarrSarBcaAM+GD97fY50W2KgguacfI5ESqGNX1L7UjqD62wqeixXyK7cKUhzjzu9HZ/SMhKXmtYx2Eq8ptHbsNPpVtPoQACT2pXDLboOYEQ4zWVtKYiXzMt3/uAOL57DzLZZMDOenPGqV5npZdcHJvyp/nXXj5/68wWyzjhKPxnMeqyTGnr1ZkluSqbVCvMgVHz97vtfahpV6kwPdnD5H6A+bjO1pvycrH7A8fUDbL0Ras1s7kVB/yNWbmDHduRsZscMasaQTCtlWx0cMGA063XamALGf/PE5DbFtQGY/oMXvdCvb2WCM7iTtsP6a3PGv2h2qA2OePVZAjE8lRSYrf5F5nI96HaYN0thejSg4Ed75T3/96vT92oCcCxgjhg6+aPXsHOKO+uAj4U3N3uU7YJxYKfHAi0cdGJ8oKkm7hmdsO3iZMtguuPDrX2dSVqyX4QSOJ03Boicbd2vkE4ndjjvXc2P9CCzN0ITYUXfh9CTnrFUED3e+4s0esqMdBItXnxnZn8tJnWmkph6mO/YMTOc9PxP3nyFrjscH4L389A3S8mv7c3t41F7qEEpvXho/rbPddyVFlaw6ANYWiL2llToV7RdBPlElZtBKubnJpR7etHi68F+2vJySpiyylt+snRBBwWmADOdzOn8KAxHszn93NlIupbWw9k57dc8x4E+ifUW/ozEP+/SvT6oRW/WsppdcOpUM5ZvBsC+0t/Xcg4jyHgZMg53kqZc3GFwbtuFIjiEAT9GkqHln9JPPEJgDUE1B/AhBuO+KJGpzh/DOQ6L3yf6gNBkAsJxUhlG52SRZ2ryFX7B3vAFqp5oLx0ahcf6CRNMLtFRDGvLP3cw2ZNfovJ/osnbAhbkbGVUEbA5Cps+6DDd09dPdBvYx4ZctZeq8HiTUBrYCmG7DPucSB3L0A3+on+sSzsBChNRsxcao4XIwMG529mxZca1beKXIHnn6GMvKZ3pQc/LOctCF5L71GLQ0rCl+JCBRgUmROWqe5k1rywCvht9TV63Dimuy2dE2GFoL1n8wWEa5jsfGb76MpzwutSl1+yAjcZOBM0WU4TTUHBrZts2EMZY4gbfKQxEvd6s3Ej+X7wldI0WARAgGe/QxgTXLD1Sfyyw03gWhWyMiJsiRTTaqULn+xGovMc6bNnG1SNi/CesVd8gnu0+C2sCHkw8KL9l/29FzieARRMkA4pDOvY69ZjDK+RPsrYGWNbuNf57HTLJlM6njpEblryZebofVIVpz3Qqu8Z+XEVZ6GXtmWtyT9n2q0jNXVTV95rfHdjTllbUUyYSGIw5ixyDG4trwi9u82vZcuYY8WrwfRfnGnIrLDvCXdNsy81We4XSd8ELtb8nXkMWKsANyd5PtB4h+kfIaqHZ9dIbdDDFwwm9G9Yj2SSoRM6s34e8ijqSxyBBOzpibJpkw20tRqgRWt2nCXhZnzqM4n2fd6x7UhfazIEQYLZ7f9cJxXygeMTNLqVQarbzCX1AyciTZlTirrEySDDYdEFiOnYV8nBQcq2e1QjYNlxrlXBQsRHjSXxK8FbXL24FAxa3PvGOlbzNL1gRC59rxtiz18SafwS+ybpi7ktzYCMLKLbwrRCI0BLbUfKAKqAOUhVsMu1L8mTw3LnRdtTYskpFBIyowt27pTy1m47kEWomRijbTsAliiTcaZkknNpIqQxFA4470wnkjfwz5bwVmK7Qq7o8elO+GwGt4QZC/rIBI+xLp3KyyFZNPXZmS+RvnSDYHi3KHu7uzISeL2oboqqflEifhU3Zk3IVGiddONdJ/DEO5DOBphWcREhOUvPGaoBWU/Pol88x5ADPULkCYPGva+aoIzrePRUCC582i0RLPa0m3XGyhPFY1EuCjG2+10ODI2FJrrJa/fBA9ZkRWUY//piM1+FIFmdk9NklImknEyPqg27/yOWFgrs3B36hgKqUbqmilmft1HOGclIFVI4DkRd2KnGF9h8M/od3PlgBDylIY8FMPHH7fNy51UbtEMGFDLpuK9PZF0Dix8OyuHtw+rWjDvpyHZzooue2NwWM3DoEWX1lxkBG/fSJVs00W0qPzQRlXUfu0epSHTP0Lw/Z1dZaOVe5viCFpLiOuCAc94CJT8+EmxIMCFK2gVg/iMVi7mw9gfZxQNrYKG+Zsd/Umw+5I7rG5nYHSt/jYboy+YZjV+eVbDtSSS4skULoPgJooDTVsWNAQiKaSMANDZH9gWP+VyndoRKQ5AWYnBM7bfQ+tNmjcIR3gvgIRYQgGW+UC4+kBsgb9Flfg8S/VMgUdfTtzw9Wnvwfx9MA2C/8IF9wtFOg7AIZC7zdS+eh7w7CxviUOZVF/DvvTGdWupBCkXlzP3JmnT9SxN8va1rUXUT/zbGd5xhQDWEu9JzHwnhUJP1i0COEH+InAgxmicxBWGCeoIp7asyR7SoLAdGyRi3smzDKvU1APz6z9ejG61DmVrdDUesSxu7GjJVEheT6iSqiBHkYli3lCXCZ1+fTg/oy5+xy/nWCPpNyB7yj2h7NBP//jLHssTSUGV+0hV8jQ1hVipQB/LgKUG2D4A0QYV6WEVh1/x5AQxEELaH8JXX4/ggqaaqXZpPbbzRclKfSu/AjZqzITubLVg10yo8wefM4oEDALjLIwDic/23upKusHxOXyoR6JbwyecJKDxAFKrLcD19okm7soSwZXm9A4dLU75Zu9vzOgMjuQHoaHI/sN28AOuwgfs+FIX0X+PIqnEDSF63mC5MagauB4k7vg6grOGihsg6BgFRfLJnHhqMqhLfSrl2eYkgB96zacxhZLAvdhoZn9x6u+IWA+gAC6PRsVHuN4+UjheZdxN94Edi51nxi7NLI63vN/JdgG3qYQ3wynBSDW+o5F9VFCxBtgTRFBYpVozuHh3C9Of/xliGU4NWCmv/jxhKaiBnSRyhh9FFSP90Xyx6rnyjvP7AIyJc/Eqt/ilUjBTN4ATpX+vopmPIp0U3e97qauyUXteAsLG67Cx9JrCmGdAjNV8TY14Fa4gxVridC2ZEb2MQdbBz/aO5A4N7hU+CTlatnaQOL4zj2B7Hm0a/ksusM/+IMNSmIiZEyGwqgvWsIsKSle6L0iD+hN9XInOQJ8qJEq8Swjtpq5IuVqVwSKGVPkcP4V9yJZgZnTF1gEuy3toAKRK6TzXjgfMEoswnFgmBmkRKQakMAZx9jXrlL1Yw4GljCfQ4nzQb9Z+cGT1La/tzodL3ldinGfdiFvGImsr8I3daIFmq/IYpyC9/D4ztg1RDYolgib2pY1kkemUgztIol+hOisqLaazXk3vynPhHhcI/1GYf4FaGxK/y5ceWXSfKE/ztxwkYNj/GUoBHyItUyXpkn43gjAk+ZrbrL/mSfV3ymibLm0UodWKeaHcHTi5KLgI+zxFu7IGTeWksFO88u5k6zYTreqA81KWYop5izrJ0BE9u8hw1VJCM1Cu8zaWX6ZydFV9klQvRfe0OM16zv1qNuMVmn2+x1ML7JSzTl4Mq9JGmN3C8KvHilCMT3n9zOoInkhFme5RI0yHcfkdvIAI2G6xR4+qU4G6nXXY25NUu22JC3GDCrWlHmZWDQozVDgMFpRWdCdq12sy4th+/eYjqrVqW1je7Cs2fw/dkMbrHCa1uAOWA5fP/0LpMTjNj4DTdFHaqubbx5YeMUo7G0oDDp2SIfwcGpU2KHWhs100oggcGRPoxHjDXz5efy6rIuBjdTuHUiWYX0HwfAbkIScy4/pxIIUPwfa61jFBNjpL1O1Pk24WIaw5IK5be0C0JJJdHoHUqDzkM/ockJt1gCt6MVPpussBvBN9RdqWWsSizyEz/E1HPidn6ufM42i7VK82I5WD4dUqpaAvLnE+BuqwaMl8mg4CzVDc4BNCT7L9V9XT39XMMTel81q3FBzuEUwJCLvNRpQOsk0u8K5k2oFr2ao3xUsH7mZcfStAYg6Sj2/c4kqGpNfAOTw9nl14TnL2tBjEbbsgjCpXliUeDd8cxFvN1Ks5FLeTES4uaRtwWX0G+BYDUy8B6/Df4rk57Iuagjb2BZ/RkErrPL1JRfHNeXj/mi75+omuUR1d3noD2/yFd1bs8M4OWiOfyB6NLHqsd6PD0FS7A1AJP/kEdFX9hJ2qgzxj3k0656D92oZyIayNB9BR///9nhrycodPHax7o1we28qiX/hdsI4mmBDG3yG2O3pO7flTW0fU138aHRAW8mRWCdTCV6MhDKja9oLq4yWs3vvNPNsOTDox8jPpZZIDvIWKiSiEr7Nm8jp2x6vDMgOmItAapflzNv8NE9YUUh1F4KIjLK4hrlXP+z3t6CsTdg2g2rua3MJzI2eKo4tzNjwAD3yaVjYDTlF6jiRdJQMTy3sWhRLn3k7Rriq/dPYSbayICs155nMmEPlWZ5dHeHfYCg0BWnQWNmhiOm8te+mafBUUHHznJLJ7OWjY3K1OCG+bT+gVHK5EcRkXaexSKqjRhHeqrUsJD5qP3mt0+6M1tK0oasL6vbnQi9Y2R1YOoppu06GDhbbCur/8wbr+zevltp1pURHVJPuwRo2+Q/lhjvM0i5Bpuk2CaLT7fSgQinQnkE1zZlLHE+ILiXonm6kG4iRjH1CuwryurrZhaZEUnUL9dWduisYT8D6smFDqLou7EHzxFXOE7KT97F5i6F1BWM6YuuqymcgprQKSyLTCUVl/uOHtLe5tu4dgG55Ed1Y+SCtxT6ygvScVF7aH3qt988KGzsC32CeR2mARuAn3XkNEit1stazcu99oz515uqevV7vCAN3uirHVnJJFw+J9osEF3eQiS+HUH7W7bsgeaOH9aes51ekLoQT0Ym3Ym9eua44G+Bc9UwrucAqw8VYmEoic+VOYm30mcujuYwoXSjzXlhvC2bjwjr8QF40EyeSOk8VsIxbPy8w3dggZzBBD1oqfGzEPpwByRKvgBCiMdciU8zFR/J47BBDhrsczuRxSlwaPpmDi1XXgI7/fbB9jRmLS7DI8k79bk0xlQKRuBbU54ahxgZXCj9LVauyoAzXb5lPY8gwP/ANmiMSfLFR/Mv3rMQKVWjtVu4FtqDI0x5Bpvy65zLJB6nqx2AGK8F3pbKwHmsbEDr2toywGae6+ojnXVQ0KRKqjq0NwuO+MA/sCHiwzS2SnV7AS53hJwC6/fooLcglnaTMOrNlkWq9LcGV5g3wvTHMRtFpaquCfeiDRYPODpINA+ccXuCWJgAKFEWkx2IKiRYJpHhObj+TAAXxGIBZYxKTXimadfK+WAfurTSX6ftkOGN+MHJyAcRkpwjxCZmHgw55dmawGdgo1gL0FPJwoT3rxXvv0yHk3UIa3HXzGjZaS/LOUw33jIcGsa9xS6RwrkYvoZ8UqvoaLpzH/F0YY7s4LhzdAmva0uBFzBsq5F2+WY8V5dTYLIBJ0WokGAfwoAWEWwB7OqFvLkrIrdUudRtG6GYupKJfY8cZiPFWeuX1Cx8+7wlONwfJtummFjDhZByhkr+FLDvKQHBC9sIY4nuEz2uykrxfmLGV7Qu6pZw0ABCVFC+44JpHO71PRKdu+PWkbH2/JzIIVHRpan8iMa+SXtoz07ma4L58ufVB0/UkYqua5q6hEs1phDazrNV7mR69VsGqlBBJo3afqI+RH5/VXk5+HmyG7sdHU8ODuhELbCusMuzE5wzkCWCcCv2/pPh5egC0AoGC4t+e7QGe8KnG3qTUkpYK+fljAzgpzhTm7jNta9T+kRaAAuaF+VHoYzf8H7nSUDVtUYsV6vN3R96U+sz7Ck38hMxKbY9C+0i20FmbzVxAY+opuokZ8GS73NOkEASy2uaEmuNFUCIxSND2hwIw2dpFYUd5W/9O9naomsxRjpLoQygpW6cGfdtN79BJvpfONhj6JkdLa4uDFEeZ64KxwFPu59nw7mxCHeaI2pCC7r0xaKRmNL3Na3ismEfE9Ph6aO3ND0//qHzU7elf2rKHC88FyJR5j2RLvknsdTjElOHA7XrZEXjo6K1FIk8S9L8LQ8OOR6rFp4pkypLF8LBuXalfKb8gS2C1bpIY5+VLGZImUC/lNefbKYwITVPWL8teNA0r8r1sZAxouWruxVxwkxmfppfpxn3kGMiM14MpQW2u4Wm0hUXrdYQSDZHoTAEzmPDv6f6j0MoBUsKB7Pc2Exm5bf9oo2Yu0ohAFP3pxmcug22W6bCkR0k2hPpSruxpildXOFokO9MyG0eLGY+i7hBf/3nYwiXwFZrIWtLFGwc44Sehzdo3Ma0zJHx/51ocOAjxSxZheIo0L4WvIiNNFbTgy0s4CW5dudAg9bIGV7DUWtqIO8tsDJ3oQiNeasyH2Skyj53tpkQKdV5iPhL9EJ/4WyOqnyLU/mIycquC7e5ZsfGfcaZO5Yp1AnjTuw08nHK0mcJrjcuxwK4S8ajVwabqXygEOGHwoY1BK/mxu+WEk2CgULg1Zrzxr5jnCVXqNYO9EE9MA5oHK9lrFmu8drcMJ/o48w3VFiJI7nl1vL7ZSEYDUQ50/LLmSnAhhdzY8tr8RGXus1HjnLzi2d6xtvFcMTAabzWugxFvkbm/hoXxX6vmX7JCTCYBiu/xz1spt5Sv4xPv0yIwBMzFAcEYZolr17RwduCOOcdpRtbzFcwauimA2P4qtWNXBSi7+x7Y916pPzF4efDaAqmlYpYjU9oyf0Mc48BpJt1D8hknRu9X8uTbwLm+sZJOw3xWI8QF4/EfSyqiscnTcOVeqTiPY9jr9TdjGKYRWF/RvsFMD8fPHPH8BahJL/7ZuIKxfUm6AlnuwgS3LUHU10QJImut/0LHCic+qy+/1YsPa0SNVB3p317ZFtS4ow1MmMTfoK93QMG1D5Ot1ayitx6urAzbzDLnFljre3W5N7uiHLZDxdiXRhLGBhtpnObsG/JXIICKKwqZW9VyQ7Xc5xC+4FRoCGwau89NGo25Pgxu9q9/wtpSXaIg/UWa9wUbzvIpGLOOBmPZMSo8zy6XhZomSS4Tz0S0g7YvmD29vT/RJXx9BCmqKR6eZqgyCsVVWteRyAN5IWpsyxHV/iYD1yKY7onQuBwBTdewCI3K1rPEEYv6s9rFSohBfWffVur1QGXc3D9vYaHYbRBUNhjPu6rfeATL+qURtQv2z3r/YgyPnpdBoCEaaqwS7cdFMvjtvUNFhMAnbzMLXgHGMakEI0A4WazHrSIFWjUa6NKC4YquVXr6WL06XylAF/R45dX3HxG3voVRcfLK1BJOOVtf4K/aQMihGNIFvJuIihQxAub6B8GNAtsOIfL8nQoUcSqqzsEC+BUXNTf4/xKbZMx5e+mD9+c22Hg16YM5Oit4ryldpQ+LMtW+REh1IGWIpOQPSVBGAlhMEDZrb+kGeESedJc0L5vw60lu9iQ1WgI1pII7hPJmE15fnuL7al7mX/ZmSBubh0LRGBPIQTJ3/TvK9U73xn3vw2Z2/njkjAdYEwYt4uRB3pGpcEGYO/jIfz3AYTolqHLMZPkKYUkwaLoNjLk0FrDNJz/wscwdLeMSWaQLTtMiL4E/kDYxz/m7+mjhdVkoEJUSXKEmzf0O4+ychNvbM3M7OkO+bhcdaqf6uDzBnp3GtFO5VZSnXZk28l+YMC/3bBJ8FboZMvwCB/vyuZpWi9FNav6/mbyrz6LL6Gue1r80iQZmjIfFQYyA/nzwym3YmtBj15Alpj71bQnzFL8UFWIPbAoUvFcId3P35SWkz3hcADVwm28WYB6LNVjCKMGiAZNf3s2FUXugr5/BNATFeeU1oM2jkKUsn7iXpPjQwuor+MepZ5OHTI47bdZBBT/6KQN952FpCKA/+iNCYNQ7r17AMgZe/C4qWOsrm9gCM15398gfSVco0A3ThuJwZ0RP9Ilsp4zMHOhAzQeSgcEunMWq7xRF+WXeFAb8HzhbBeAZdF5Syv9vx1liiuXX3PiqZP1MBGS+VLyJIWGxa4DXZEEeO79wgo94TWKctsrzDNEzbSPntFOrWLx5isHFTMDyqeHdOiO9mFTR4vEL4DhGxBfE8KB6dsGjgWGR0zCBo1NEotRW6hezuQ5NcwynYbAHZjAZYYpWfHpqDqfp9EDjPLrXAtblAHwbcn/VZxLPJjxc+4ZtKEpsefKaNaWwAnwa1Oe6cQrv9H48BkwEht6uuG81IBZA6Ap8DvXng8tQwq5xA0k6nRho5t6fRf2rrQn2FqAWYa3ScvBnWmG1bg/vTGcNkoFqgDGZEVNd+R0PCUJ37mgQUfsogmmgPSCJDeXzd/EU+ThE63sk328mCO2ck6WTRCbj4wBurAT8Ixb2/l5nGjVgWYaVwZbR1iQGoPBotaqwqtnyvGYEfxyYG0rHgAxFJXYsontUQs+bstLFUBsZNZbRomyiudYXwrX228bzkLx1cVVlL7lRWyMZ8DMcyn7zMNOjxK/edtydakDq4vTIh8dBPowRmCv5tjcMZi/YLHEyvIT36SP+LzsjjXtyqXKGu9izjv4etvPl3Uq3ffw78IKeT6IJF7L0Uy6b6pXKZD5y2+OrWh8n5744i3X7Wyy3hdHUZ8rO6Wzpq4JpT/2SIP6o6KCtuYyhtBVo3Kni8X4CrO+c2KbURi/J47H3sKtnKUAhAs4/XN7rK61y3ZfuF7j/FQw5Kz4Ho3c4hf4ouOjKQBRcKFAC03YZ9bPVS5I/aus3UNoQnzG6lz9GbkLOZ8qnU1CXsx0VhZQYXat73Qtpl3EwNdiKMpBIsMJRlEOFe5Mnl5IPKv+ljgAdBoAljyqS85kse1Q9PWYwNaRvGDd8RibGJftNriWFAE8zZo1y2Q88BbV7anP5TPf7W1Z0V6i8INyYppWE9bOyyTFosbn551G3M2EOecNeUEM/ZkO+qdvdIwU2Y28q/FbYjiiukd3ZSYajCv50BXVtgeDn6flYHZw4/3GKgXBg3q24U7zl7P/uXJgpqjJU3h2Lqv7TBkRLjkkczhCw9JKBEkiXyc8EIZ4t9Yy/y32zEtgKWdZIx/E52/jHrHjgcCgr5SeicdtO8wMaRuPefWcBNiRubCVcoAZfEom4kwCyKGp7s+PEoeHxAA01+BJ46VlyPp0XMP+jg6lgr8DEJI7gV9Ws1zWYBEHNiY32GuKOPGLdtbCAyKtwKd2Mo7wy9nQBBfDiF8aOvnMU8U1Q3+5uga4LgvhhIUnCeESrYt0U8ytmhnAi+aUuEAIbko0YGJkbC72ALiyNoQNufTxgQmg2nAseXY1MCSQgX4ZWIaMZq33NITCi5Wyb1sYBRB25LRsU3nl2MYEBxZc6CxwGYZalh+zWoXhwnGhCbO6WN+SA+bAMuMwUZFk56qJK6xBZT2l9TXzcJNWyAntfwyFrackYUImTgCGn5ssMyxm5Ke1kr+pYnfnanFs3M40aJ9B9AtZCouJ7bFHtabnQlmb8MZfUOqfuMfQdxKBgdPQnokmFGezVxMF1fhF/3w62LyffO4rNhqSFu2fshPl4BYdDmVAJgaCDmGunoIHM72xGoqGM3GksC0cxUsOg0bP2FJctZ1mJWIcVTftwYejXEAHEUHBbxf0DepD7MKag857gqkj7Xr36QJIidpRVpQOJr2ZzD+yEhkkr6an1FWherA2ILGQ303un4ohn/a4dnZmWc97w8IPsF+klSA9gQPIxgiHkd+k/vkHxoCzp2gcuaKJ5Pa6Ut+6xrK0A8HEOMpspX9rw/sNumf0jP+gIAm6Zb4DGmJrzMXM5BU/XwUBBwQU0xUrSTiQ4xLSW4f1vTm0RAFB/wSp+7TdYMG+re0q9jRsJbh3Op8vwjgc1KZp/4zLXuUUtHs7xhzsNj2MvCJ9tCkqEcYQ6WRPSiCtY/goWMETOTrdKvq4ZEAXynWIh6ktmWCvT2R7a2JeaAp5iUTvm+XPKj3DRBjAolppV0FnbaDI3LtfXllIkcpiGbxQJP55CRy+bU/DDAXE+IhCr0t7uk9/U+BS/tAe6fQ/uOmdq8+2992u5czfxYxdE46IpSVtvpfD5yv63dR9MeUbHRk4yNzXaxkbIDQDsOKc1bEBo8vVLhRswcNCzHTk0MKIJnTU3xfr9GRpZ9AVJt6zJskZCOmwspO84bJyb5ntyLCZkhtf6UOOCc7td7iPuknapjN7f/c0dmOUnlIxldsOE/F6uPfRQtvNRfE04KwzriFiQeLEPp4OnOMhq2+p2O1kru0D4hgLZMZ1EFMfsHJX+xLrOtLM3pN+nHgEPROkajyHTliHAQuEkc0le3gAXjuia/f7d51w4bSAAWZDrHJTTPkeIbPfZ0BoEwDkOaeJYI771umPh0GaoWfiV7V2amIZk9YIwJ96cyCJj9aIxOcoG8BeRwZCeaGaXZ4vpmhmj9ofELPCtkzFk+LtgsDxFgAf1CUHEyCJgirVRpnnuLpfgjUm9rHtQsqj9bKtTSK/ePBORtMNPNXgZ1HrHcZy3hZp0qaTl4nHY/XgpNsyGVwP2XphRIfcxnPqA2v5fkwEQa7c3PVINAjGWtcyIZRDdS1PgtnUEL6u2eco7WLA9HgMNPejMWRdMw+ICHa3JXBGjP+NSvyagu6D3TclKCpGip0KFAWHtUJShX6b19hzFLI5T30YkvS9Vn6Bd6CjH5ort+IbUOWUtABeQPGL9Jk5heRgi6Y9iLzKbcG2IeVS7MNe+p6qyOtxsoCI4PzNALmmueb2MH9SCjsJhANmg+YxwLAKq5x8f58f1qX1ueGb7tzDHMp9HdXXHOQRIBCOm057wkIOzVxslUzOS3UoXBDWGQ960YNwxFuuxYmLgRe63/SqF+890uO7OWTpX4uwotjcd9c3RhFrgSqdcz/8qoOwq2LdBrtxNlLO1krzORYHp+4grB8ZvjcuccyhBLAPiPZRNT/oAaga7R2aHpltpmzS0oII69ICaUSz2GFygaOlBdM3lBmAVqG+cVzUIawUciQfg/fCZtZkZ6ueP2L1QUJ2UKBl4L1zbmFExO9+Liw7k1Vil7dRUl5brw57IUzalsbGhjl76S9TXZYDaaHD+sA47IBEbVFkY5pnhslr/dFLuEb2Jz/7du6AWIfg+5p33vgfpLXCjOZac4mWzYuwIQcfaqj33iPsRmOwnyCgzISHsuHVomT//a87ih1uvS3JudB94PpQcWuzAhCPp1CMhQ1Pa2zHc+3xc/PSmCxopLNOZjEixu+OfaBmKvnPepP6GrIAH08NSOMB9il7mXGQz3vVyKMyRaH4Qw0nkVCAYfARqH1757pg1nIVQdxx2BQfR/EXtfEeXY9EdS6zRAZrSG0TwufCjXcsn6OcPsRBMcplMiACwGE6joeRdWqVJiOIVY0T20UREATVjItqrJMJvww1pueP8bUgFoSwjuf9gKKVtK6wYIYnEv+5FlJjIp5RfRyR8JSvhg3+aG+hYYh6bRAhx2lJ2+dlsFeapX4gVqNY00moXwmJMJ/iyBguLrFvudIFJjR+X099sijSzu7bFUneAk8i9jXpBvgM2LdfBpK6cEQaY4YTUKpVHyL++wigx+mWg9glgNJNrtjn0TWWnsDkNMWx6NH9VCO4P8oxtAAxabm4uKI7TxZdUQ9FmZQirDMNx7G1kQ95nCIN7XndeQ0+69ljKZMzLb00pdZ4e5WNFMkTMLFUYXPkjZ+aHvbnkzKWWbxdNMMHk+y4toanm5svGC4gVFCxwINlPqEFT4rEV5jqSfrzBfGEObFJdTtCNc7MWJEDZdBU56KH2aG6ve1mrqWK4rEoiC0eWANJAjD2jOz924BAdy4MN9VB+tBSKieyzMTWKviK2g7AxINiqx1iNo5MHqcm/w3fTCAgQgr9z6HeO4grlSFTmWuWi/qShXH+RLRSdQUmctQGojWOcm2zRpKqCjt1Yrqx9Vg3EwljbyRtXYBySGUloLdVW+mb/A+jIbZZZ7AAelp3Gb21pXNKhOYk66y+BmnXDERu7JAu7+cQZyl4EWDuym5Wm4okJwtMG444GlGGCMh0uge4XVO/mEVzsTREn5/eBTbI9Q6L20ltOJ76SsohS5qhs1J0/N4n6GfH/E6oXZ6F0x4+KPlK9DPFz4SAtA0AA3pA+bFcvyyljmt21Q6JtP51y+1ex8Q1CZauB2CXx88ZnU+FfaG5339sHJbipxHZtr1i+InVQa7UQ2/17V8Ei/s2hmmvayhPHycW7rBqWRZtBALIne2mXXNM0QpxIjlTULvhPLTDYn/Tz7TfWRLTDWl7ml9bmS0mwTg4RtZWE/Td4perDssD+XDurozQybKOoocv8hh/KErQLF/zENokyAT6lqlGofy/Gx/+umLfAKJ4+f2FYy66HnDgWSnFh2ZUp5gsMaMSVHvrJLMr6tOoD3Arx272IF41cXFqkABU5rQ6HsWz2IWPoRSF1xdpyMjwJnKs5BBEutwwo8wK3WiHuARI6e+B6VT+C7LGMx6ckPvcRZUuDqPlxuBev3bGQOyHUel5+7YeMdWtrevTAKrBxl37kIiEjAJQBvu5l91K136cbTt4iYddntvzlT8vFUPLhU3POfDV37mi0vhfo4MDiD/3YQdWzvgfiBcdgj7H25nte4u6jaRRbxuUXVRzueR3P1iDUL7Q9dRCbVI8dmLbady9Krsxi+ViZYOEoP2qaxQyhqk0QREEP3BwdffvGSZaTpleQ0GjCKSGK40JxRef+4SjfDuYLnQpj9+/m1xoDPzEIBlN5SOd6AulcI0Q5pBoI8AV2PXBl7WFN0rJShoTlsrrrPK1+6wFUxj4IR6w+Qet08clOeYfj7dDltks4p1awzp8aqw/NYdmMHELxInkcrQzbg5yUr8FRT6D1lEPleEFuOPe7JaBNLNhuVCK2v/3vg6Bibla+abj2DYb/MFr4ExmjN8cGiydBhcYEXhE3rc3ITrfWL3YkHUpM+XDifb8xSOl8Qwh/ohjVE0YKr93/Hv8Rv2vPSUCHxpVBLOYbTKYbsRmMwPpF3vJbEzeCV1Y+Ulz2m0qI5106axJwKbpZfYuapTYU8/q9z/DyT/ayuypsJpc3DigyDgyfmFo1tAlP440X/Fzpr8Zu2cZ18RU0EimWJFeRl2Q6vW5dg0AaqLptYgqIa5aszHJUjupFJPCfdH3NLBa9zZHcfdN8Z8u0froQcb3H2KO1VvyVMrISu7ni3bEs0zXSdaY2fp5/aUctNBDCI6sW9l9Sq7TFtYpgLyL3qnqQdcMYI/NsHO7kWcKoKSKmoAnRJg9EteSlmHaPSF2/+MXO7gDftv8jhXKJ3tqGwqVvWkk5qODtkUB8YyJls0/qi/is66zFZXyLUZcURpqQS0EEGk2icZ0+JLgOUzNV0Ib7LF7Ym0UaagUSP07dCMK3u++Q430pZRF4Xkosjs0siPQihy5/8492XkLm/F9WLaHSWZrQuiMHtC1CoSBK6R9A/gA3QtX+6IwXAPLfZo4+MpmTz/bd6j/yqdMUinvwj4bvZdDTHIiM38MFLbXXyg3GXzGvnMMV04WXpXyl14D8qANsxr0zxgqbgNyrwJuiuduVRUaBwM6YNxCeggIxByc7pWHA7V9XrVivYmPJyTr1BX6PDYXvxIMICajE3UvBp95yNplpnOZk2b68jU19xhBr+fil32bjB3Wq+XAbB5IC7d8uPhZrjuoBWcwHibPCE9scJCsOI3+6M7gFglLPxXnUIjKLV5rJLSN2x8Bk9dA74HeiidLYpQ/f53ZVjEwk36oQxsTNpB14wZgi3IQPNTck/EtmxrKtP8uHrR3uPwXHLSIPx4iGj4KRqQbhWR5fCDsZD7tY3h+bOBeoC7uheVjM9KqpYw4X0ChXCV3qddcYjWMzPtJoeVKlzNdx7o9KXhOPM/UPGhK9ujbIWo/6en0rcTBUUs92obuh6SALRqu23g+N7lDOkvPQDvZtSBwVq8EhnogMIVCJbTqtOmjFpTnzOmMNWT6TdAkusGBPY7sG2G9mka9wMJrHPh8v6c8rodGml50yjOzd6aMLqPTHDOVGhYcO+53AwGXRjLhJmNj3PSal8ZK7CXuyN8ZVGsqI/Ea92Ko/V8kFqiDKD2omNO0Iy0NiRYJrYpLAVi+o5ICj6OCFgTPlnEGjrINzBt1homXpjQfBJwsILY1J8eP3uRoCsw3x95JUP7D7v5khRwKIeMYaAek5H8pbCSmTPi1r12yi5Y8QaO3s4wrHEx2dRCoaJW6KJA+YgR/psBTqju/ve2jgFuxSDv7CwK7/V/FNq0xtwmcy101zU4ZdHKM0O2h69d9bl6XBYx19G+63t4iiD6MlpbCoeGZeXKz+66dkYJjLwXDCDQIEJw2ypIgqqcDc4275zo7x/ergHhcAkXcOSG4puU4wrBf0zTSQ55oUP9kgRGoxE27/t5PlAcyNlpRdNILz6HIu7i9RfZksm9wfOXZhQiEQ+3cSZf8m/yicbQajZfEW4hObtreVbW9twOykCv5xAB/bT7nf0UBoM4dlaSRFZO8mpeLZSeWUaGf3PmnAbXxHE/DExitYm/o15xE/Pehqr7bHefxLoAIX2ozjDjmcMpjk8l7Px4j0tOXhqE04HFiQPZ7J48phVaAKHADPPk9W5VUTPCtdmJx4HxMc+YBn8wmTlJdCwDEEj0LZh35ttFOwL5xw2zUOUiHp6s8AoWu1uRd4/ib6vdOQ2h1H+KqZAWKTlMcBrgwNPxy/KXd0Gsx0XdrfatWNwWSRsvJjOk0HbI54KmVC78NTDfLBwecSn6tOPNDVsHDoMm+xaSQH9jCb2HSOnh1LkWTm1nEDS9RBsgBIMaLyxLmX0JEbC8967RUIdJ5mgO/7yTZo+jJgZff5/UQ5M6myIWhBFL1MgP+C2SZqxJaRE1tHzxo5RsnvKNf/bBMZwCM9cpUilqHU4z4h23ExSFhAgXxdQ+8UohHLwME+j7MQtGNfVmvSurhIdwElysB9wX149tHxvXnzLa0GAuQqsVtMwRh2roSxlX5PcgGOIsb9TbJOE+Sz/WRXY0N6OhiQQzYe6YNAF+NTBHubHy49gE7cfL3sKOjuLuBeAkP81+SmoVlqfRFXM1xsTQomA6WQHsPyUeHLabomtPXx+yTxobsuDbobXwADG3MF8XV9KPlD0UUiF1nUB2L3w3s6pvhWR4FFdQKf5ZmCEvRqr4A6Zxy9zpS02dlJVCN1fUs1bPNxgd8oa9JZlgEuxdsMHcBXuT21vIORJtAlttqhCY+z151ZCSoInklmrpLmjHDzpSvOIRGyG63EWj1A/R/Csb0vz11AZYWIy1iAYIc6w274pY1/TJa5nXr5O2tMflYh1DcVMPof6KQwBI8JfIv9LrtpoeSkC7aCSEYj1D3oGJup+zOGQZXUzTUacHLRv2sm/P8q7FOHD1lxAd63M9kpK2SU6WMOUhhRq9guaztx0ZWvOV0jfiYC0hn9YHzO8FVMcoNPId23iz/Kgu3N0P5zWFJjm8H5HZe2Es7nfdxS4wVyjG7DZU53453LVF8F1YTCthAEVUH3if6cEpWXn3Pcvnttv1naKYcD9aFuk5FhKvSdg5jmiKqUbZh3qbsNMkAU4UVb5XKJIbwHP97asEY7DVyRN8gg3icXSJHKmesySH4HwJlc4K7hR/6mJAYyfDdGdjo/EkJer5bKZkgHhktRz5GpYs5wj723RTuZBcvxMMMJ0rioY4+eh0+p+ykCIO8D13lNiqC6aps+T0CsO0pmWTXWbz8xeOye+Pbdms9K0Rh07f6H7wLYTVQwiNNofolfkvqwPIJL/+PcirCR8MfTMnpkLTCBD4Ankok0sgigfhrnM0ttdcfFvTM6pTykpSW1QCUoBRmX6usey4Eyh1rB716NE1deMaOBkuOT6gIpb0F1GEM3hoitc/XZ1VRjGfgelkvWjeUxF4PHUJJQNJAl41ngXRThEPvc04/NO0S1vHR1yPMDEa9VkxnGxJd5ILrKl79EMHCYqZcQyhAdhamxTTX10k737vw3q+x6J1TYpKe5nAB6Yh9AmL3B257+Y6LQnsk7G+yK+ep36+vSmSGf0ViQvoXIl9bnEc/IQchpJHWE8yUEVfMI3h1E0BOMwz01wbz0MY3SXuEI6ppAfgXHXWDU2ygm9nVWDmG3Dppa9dLkKNGN7da4gMnTn5048sVtaRkJwObaUY4zYS74fnDzN32iZ0oJ9Xpk1dJ7yNZfDFLZj2ykHgBA2yDuNhPPkoOnu2gA54RaJtiHyWI/ZKhsAac5MxripueuhqOgMJWpFEMb3yzfR98YJvxH3j6YEjg+nG//UwnQvlk9Q8WspvvgJp04sIJKGXGBSZkFsVN/O2TZCdEWpO+cA2R9FgmxuTbC/O5XLFhWopYH5ebDE3A5u4A/bwfAOpHtOlz5v60WwYHpRGg+psvXcRoEgx44zRYy4lmZuG3Vrl8I00I3BVCZMHVjoiLyzhKhQZOsWttVyGWdpArbRJ0weUZCSSBO1/ZSH++D87qm6Kmd0hYEX31DEbigMEr61/0kO66QAsaWVm2kP8k7M4qe3QahNp4vDlkACCU0nsEjqe/mCdi3zqZ8SCIDNvVmH9NDG1N8EKWyP8fY3kLRlWmz0ve7bmw4PqwYNngDK1swTHfIuvv1Ej3I+fO6jhYOiyrugIRGNSvxSdAAUDVLFJnVR/C9IEPwvGZNlhcwi9eY4PYFljJGEkymOlocIBFioLx8OQoiCL3VL/vsoGxjbUloIF8xJ4r+esltJGGrxzhoGF+8H6VVM+r1BxrZYZBaQxEG172GmcdSOPPnubxNCbMinA6L2KHwQiELnnpAv3wobqeh+frcJ1Co6NSjtyOdPAIiLZb+/xtb5ErmBFT/GxRnrsnL0Iii9dFzXGz7kqQL2jGKdeaEjtZffmv95dLT0iHsBpWLWGjpDLucMKQmUsJVqG7CESgjJXTyAyKNgyp/8EFV9LJ0PlAYLU9I1fOx0CsOEknzR9uEY3mR3HQo/KhEDrdnMepYTMmhmwPrka3Q8sraiQdcaIixEeRaji+AB+XWIR54388N4llXg+mFTIM5UnvWiffimSXYkcsERu8JZVASFQ3FSxRd4lk5jRo4lFmXcMlOvAX0csIfsQRbc5CxzgQ3bhq5eqbqgQm+3LbIsneAPPvlEiJ/HkLEZDo7dmdAgE8ZNU6N7/TLdo/xQIAj4/9gOT29JmgbBr3aNmQUL26EhNb9wRfxu4EoE9JqdDRyij9/ONoZ4RlN53/mnpEKeqtmUz2UPP+S+eU6n7vJS1HM6qG3rigUtrqJCizO6vwVwDH3g9KCzwFHk/AqYeAbfVQv9EcECSuwFfFybS4NgPN+vDLtubsKnqQPYzrKb6Ddl957TUd97YJU5m1XdhCJ03ysmY6/WE+qtMXtZXlh1Yrrv8OEiM5iBfMrS+BkmpEz1StN8QMPl/chBuRT6EOBHNLg9zAxcdfHM22AvdwPbuubcgljeYie+W1MgObbRlvS6CMZoCm4rMHrO0kjDaE1+iHWbUw0wTo6IW0tkAjelIGSbMuUoo5eIuS5auCX94wE8Ml7kJOGOBdeycSLdpHPQkJUulaADr099RzxDl575/nRnFzlhkxZ1U4UQ/cSEYrNfwxnLfW0h7kflZUrJlTmrFm+RjbjihJn1bWOk/jAXXstqylUkrFybbA0zMrhfqn6mG1NnCNR/ZZC/CtVqUWofXIfThAcNgoyvc61EZGyRS8UrPShh30zLGW1C6HWRrFyn0CvIJVfKLvMrBhuIdhyWqorOk5PxddbiXxWOt1YGMeCv53WXEjpF/d1uvKsgbhpzDHk7jaC7SX6EwPtL/ymU6iRjievJGJe2OVMj9k6ARrtbDTaokmuV3eQfqP9Wf0kHe5ReC+aHBGAVWOSCDPY9KGXMSdLx2H5p+DIY/ujxI4PGvcf5to6cMQTUNbapxninaQJ8WtNt8vEmoWJk9/9Yg1TKxUXltev2Lba4ZpjxhPDZQ6KixNqjqOehE9928nNZq2685EZDlHLhgqfmGvBbzBgn4OV86DM/x/t6bSfP/gjtZJEgWBqEzXfrssa++cv6FvdDuMmOtiN37Y5xpz2l1qZQp3eg4byy60fQLCRpePr0IgwipbFklVioEW1rq8e9NbWcTMTzVvFjPbQcMjiNKrkQLISHedAJ6XPahbCzlc4dv7j1f9ICc9WMe74E0f19gln9cdvwr/KjSHycncgKvdtYp74JtCovOcTGLMLeRK4Jan/GOKT7GVwlGLUEhW7Vk54qVGTYHBDPA7QuZSixsx5sOwlvaHcLjECEL6eraje8muGgKh05XyBs3wer3cIJbbin1G2XWj6631eVB6/H8U3BNP4tUgMjaITUHXJ1GuPGkzGA3Qc1XN0yK8Q3vIJk/YCCOATGetKH3YpSeXVP4fg4x1A9+y/ZGZhqCgG7P1PUZxj0lxHisBJjvvN8/+rPiRkQBUi+hqn0wMqm1rxgdcktCWlqMrv9ziiqRONRGW7+o0ym2+TuJkKWsP7/nwmBRJlxfosfjWkTnQ5Fuz7ejt+7zjU+PNo12mLt7B0zmGB0Ht9hYWl++zoPVQxEFpR/+q2xGOqhj50Dappl7iKdn26d7ih36BZSc97vOwin2WvmxOu2+xIoCxZDxGVdA+Doq4atzq66KFxjmK90xreBBUlnSywxQk42LqJquJCCTSV6oEadTOlyEgfhlIH8rmlA+vgjoVnrzgiUPkuD13p1yrU85Q4zleQTYVVx1Vm8agbO98LGFPFSza8r3/5Nw/3FQOZsNcUruCEy04LSVsgMasIqEiq4mkQuy0UGSLpgbm3ucot/Eqgecx+KRBDhy2cKK1M54SaxkZMRON4eHXZzI44I7YqliuuEqj+T4viE8FwXgGiPJtraDobOupcfVIXN5J7t0qyNBIJn6+OF07TdchLEzRiTTYkZwG6k4aaeBRFNbqDy2LEUBEQERo6ReOsHwGNZrOhErI8E8iZDBjcXc0Glf4g5NCgAg6yioGPXfWgBrO1CLCvMmPnku95J+cESKS7m7QDM9XTrOZ7bVM5fikp6gaXI6ps0SMmeZwu4pW1zcXmyp2Yl9NrT7Qod6ehA3cQling582U5TdQ/+aEAAKzqKz3aFaPvTaftqoDPnmD/Yvom2/MALL6c5if6zKC7raRWDJoWAWXL6jLcI71J6uNiTouys3BqN35TVEqRlanN/1GK86SyRNHAFdaXXeGCNxCn6VIZyl5evCJ8s4HIOiJHQAV8ozXMCZRi8SwNpkAup1rD3bqRg4uWZYeV/3pIinM1dNZxHVO3RWZidq6RTArHh/BicKwUxeef0IauQYMGVGCkb2twJcj5jUU8VMh6EIW0OyEiEtmCI2naoeES8cxMI22nkedZYN83g2Jra4tqW6Oxrhqlna32fCPQv2zbbD0HCgQ7c1PG00QI1qLELn8+79t9KcZhcdjlKSY9LJPKEHkKaPhbCoAXqsBGB8MH72eGzZrpU64xhYmRAXYTGhCvKfv9WhminY9V7JpzIikd+erTfSJfqnauxOs7DkMB/2dkMrABcDGXDTby5Ea1A9vJYTrdHzC77KcotXJMaoNtRxyCR5Z+1lZcU/G3zGy8aFTLZTPzg5ilUhVVOUElX4IwWvNE5vP2qmYy0FyseTaCupDImQns5q2FHeMzweWmZncGfL14TTxhwUfUa9x5ycowoEVYBt4nvuLN6YVxyaH9QOxDnJjRP4tbq/5z14izkKrYvVeUxxZTSt4mhPQJkYI8K+PWwExUG0D0keSK6Xaz0moEdO3K3Syhh5D3E5vFOKIqni8wYGcx4kPGRev3HlWD1sI/SlkDTCVz3cUzb4AaLUvBzc7U8mXCpBFrhqjazKTQzENP6ncemY9L0ie4MCZEfb39McXJILptWdms44BqAjFg32cDHoOFqc/uAl2fDphgibgMK3Mv8St08Ng3ENos0hobYbT1Fjj65UNhHdauuqZohoVaWpONGCF4G2cLU9ELYNb8kddaQT3a/64pp/C4QbJyMoO5TysbmVZFTPuUOv1KrY7bqKcJDH+ifx34LzRJ/c4ugYHIoeuyCRcH8ri3smZwshrPWYPBiZYP8gb86eT08/lCtuSty5qxqGymJ7SY7UsEehUaoTuae4d3EKJy3qpjVNwqnZVW+fOmyyoEJuGKKWGjXkWRKiGU7nBzol+Moz6Um/MX5rZkWSe+5Js772jzxM8LNCLqCNDLVpmBThQgIbp092GMlqt+4C/gQozSGZuO/sh7y1IrDdvMeNPLU8sq7dIqyLdxoQbjMLM4RbQiCl+P64X8K6VEIa50xslBMM5hP+7j7uLA/cEXLul7ge6x4mSlb9nYl7UMh8XIRm/GDQbIKUObzVmpe29rI2gRZefvpMpE6xtIUKSRnBsDn+pw+qqD8wEHbgTPkCL+UM4kOcC9ztUOOZUca67UTSLDD3q8BLZxGS+aakrjZAtnkSyvtdoBQ/18UO+pi+dTpSqBOH7s5avfMmiuPZkmCGgXi71S2whmRUV7yM27JPtsA56YnvV9lSO25sl6sa6x7a7ep3TmZVvM3kWTSPZF/xLj+LVyTV14s6mnMAb4/n661fkwol24zmUyR73VFwfBUvuGb05A8gY0kdJRzZhfxGMQ9OdeoBbAoJeizibwWan/09QixhBzFF8eRVS0FLE8AnXENytNbfxcp9QQooHDhQRnvJb4zi7YjJZ3/PBKr2o8JPsJAELN/kaHyNaNd8Vt2kulvSB6PM8cXaqrdkHJnnBJ3VZTtgnaMTBnEqK/YHhBy6EVMlOE8a2jpWncH50jEHccMIOvzg28M+kieqq02vbVtVqTR99aQGcFoXXuCmAqzSUSQdGtf4uHLQ9tZWJ83lsaRpMRxLSHOBMAgPzkf4pOAkrZKULGgLhDFzFRapS0AUZeswZ7VJFaWv7PWyDzdERQoUfimcjsT4zfV3sa8iysJECpM1GxTJ/zBsiCBBzrifZAi0Vh0FtpmA6SzBUitftRrcbGLM3DddRuBhRHMWTlhbTlS0gkg5V9smFQrrWs57LCjrdgdcsb0Bv5jQ/rd+2BjEK1o453bQ1xGo2QQSlSUj0cQpgLTDdwmc9vPknTDpZrqqDajsK9bj3ky7djAfhtWHhCZFnBK2G4i6DoZKPZErnZ5rFaGj1BxJmHmBlMGsAL7RJb+uMFlGGufwILnWUsuF8iBpTMujo/u+0p+gId+ewHb3PcTiuYx8p4NjyixsgkzPjmLDZ3/RHV5DSaOnEqe1uTkEUmIZcBjb/F/5G4JEKY07osYk9aocUj5KbsbI9OwXS4cHOS0k/RN9hqrq6v6D2Tg5WuI5/kTnoQ/1pEGvZ4Um7Ln/Eaa3QMSPA4KCbnUJ/tFhNJzMYvDr2RrpzEwbWYzOwUH9JdfS00glrshLFNhpvp5ALRO+KytTlv/jSbzho8IdFcTkL4emGsJxH+3pM9zs162KKS+DjNFDmSdKMo4bOqPtDxFB0MubaRwQnnOplZB+5filFCQ0NvQJfnFX4l0/gm8DSfRVCw1oLnuhVWpmDerRuj8nUEpVTUUDQmyBXFaJwUutP0m9uaH3yvLse9pP9ECk1Ic1j3lrDPv4EuGqq9P9JDPvP9/LxIp5l+7e0TBxxGm8oBZYAMqYYgbEFrOY0c/BKx6U/vLctCHqwrWnFA48tqc6j8tjvXod9g0FOk8zZ4yJkvSaMjr2L1O7AWgIj9pXm7X+UuTVdwbuEybEVdf/TPcyshOADbn3kum2NdKe6mvdU8iSu0mVA8yj7Skgp9Tyxigkj9EZmepg5cD5y/1MWF4lfueGCzcZujUj3c57uDYS/+Nl+GshSCitait3Pa1WItipiP+V3KloxR1x5f+QX7ZrBzTmgawmL/Wpd8ZDp7wXRuNkL6fDk2mn8uTpeTJi7UnhFSOKd+qpMpsC7ra6X7fZpyOlaCHyGMWYzYPHbjwQLTpy7VMlxw8EpaANstugEXpVfQFWB4iMOoZ+FRXtJyk2C4ZBUbGmB5TauxTMescn8dJYeK4gbiLwHtMZf8S1FamcKLAiJP04UZdjVR+5ozQM5PzH6eWwDnzOm7BLuGC4Byn8nA4Xxoeh1KT4ROJPv6LS+8LAr9WmiJlZ2G0FsOCJ77URTHbtJG/MhSL2j/DV3QJs/GhkqBKSAqp8aMpr2zlGP5YElC38SMv264sTjyMs/if8xv+zIB/9McmgoBd2KRAjQTU9OmNIX2YJZbDCUl0+86lQ6vOMBL5aBKvRpfSd29gyMQboJ3UGspC2jERp+Wl8YZXk63saVwR5noVC9fWDSAKB/7SKv9ahoyToCSsWvXoVmheifsfI2DvQ9Jzov2fwdi1X0tD1pV8U9uKK89sHBNRakFl4NDLOicAEch+foslXC0STNGsiwaRSGCA1XNsK/AHOCySvBK5FqGaN6H92PMv2wbr3ggJSHTj62b+1Z999SzYbgz19JFvqFrHdLi2KubLFuib375jJ+BSw0afRzy48u0LmrHCPO09UOCrZBjD4ksuuhvS/nXOzLjO2IrKiSx3Sh4PUJiG3YLyWHy+tQp319lVG7rlM5uGUdMo8So4QPWYP3sRwPXYtLLRAaBxQeaIDt4SjVnKJh2LYF1GQKvC4vb1wDqfhiuFA5UHX0mQo9srIvOltcfBP3ghOKVDMeD7WWnl/kKezFHGwWmQPWjtzHU0WgenHPeyBiHXa+dAFHe2r5ng14UB4ChWyK3J+Vd7v9NsZV8ovLvrxNJF8gUuhOcz8zDVUlgEuUUTI6V/8HESurgKHbCFb989qyS5BbbiUVFlJE8HXIjDgoAmd/xADZAMAXb8DRvYOkddOaORYSh0SVPa9uQF3qzUh65t+Lf9e12L1m0VmtFc87A/sFvPABcfIEGBX0mFFM56o82t2zHLeOYpw9+p/Jpn5+vs0VQ+Jy3+khcYkE9MHK1qW+FyO5SEzBiIMORegUWAFxea1PFZ3YZLgrgTPacltXR6FuqhWuU80eN5XsTcF8A+RZMhOh5cQuFO5NOQmKL44+epi5zv2EVvRkNFvlas9B/wMO3yWAfpZKniDtb3mXnhLJdERTIrLfuwrXXbGV0OODjg/7GLOTrkVp2zYU4f6CUowXJQ/WuzVR7TFvgKYcLQZoxzDPW4khdQQH6Q7XJfRVgbFm1PLOIEW78MNrZ5fRFVQmdzgFK7nerirE2t1Nnz8FyNvKgFwMl+oIjtjjYeZ9bT2xWbKNAeZagFLEZBFbILom4c2fRIDWkv/fJg/mwDqIf2dm4wa59hNZ6tS3QpTR1NeFERhgRkhxFIXSlG+KmHBmFQuy7s3IhF8dXmwB1CKTxPWh4xJSpfd7KOB5yaEy56OZgNRvV3a3hx39jXGHwpfzKBxxPV/sIw2VrHzECluV/VVf2D5bvtV8s2CTaD4FYb0DtWx2arWjfqMaUsHx0yWsNRDFRQrOS9lZbp8v5rOKe96p7/Ay27rLcjxl2zcmLGcCuGsnEsbN8Bo3nJNtTBzIUtdSu3eMlM6TSSAUpHZexgFW6blgYPMlrat0OtdBVnTA4yrdfbIE5IkHLpFCu29sfoVs5v0fdCq5boni3+sVHVeEHWqZ/p5rUAroeiIg7r/rrDKJUUNUvcPuv/rfoMUO8FF3297emo4CTGrYURWBPhw6wCKV5IKsA+ozhUnmYbSpTd66FPBgWJNZX3YBipf83DhPgPhR7cFOlGjQzoEyXjsBBNAOy2F3xSrsW6uwNnUfIkX7yfXO/8pv0mFO/g5RSTfr5fAiRZ+rkF07IbPewdI0AWoWX2mWyzZm4a/wLulOkmFfQaLpx1GrRHngOcpVQ2oll96TDkw93wupZ8uDYl9OtZBvfcPlJvuOAGM9rePaPSdjqw0eNBszRsw4fGy+37A3ua1atJnCMCcVBHTbSBLoczKT4f12I1FgxwpgpYpTZlvfJjTuH1lWZrjUFXNIHh3t4LWUcO/Kj5UzoMXeFJacgwJy0WrXpZw2H+HabjTLRh72MPHuzrKk1UXyWmOVES8wMlVAH2+6ER3xQ3eS41iBhtyOnzPneecR5CAK0yltXUyaRXFs+eiJElMt4Q6hohCGkwFfuqfzU5/4qkQ3qtvD3fKD+a4uDeQpd1JrUz8eePe2fkwrBA3jcpv5Oo5UgJqUoyJ6UUyZDYnpe3KctjdWXwAGf4z3RebakWRKMHaRDXTsxThqfmnJ6wKkUz1peS2Srdc8cgz0tkquU9DAhF5mYzcrchRQajMEJ8gNFDyBvikomChMqtLWovcv0kg6txptysTDQUoEZudqpjqrPZcJf473Fav4YBzyZXP5IAhHQ33odgp44+vieB7h9Rcj8UGi3p2M25bTlj4egfAoqGaAL5QAufeZFdR198Kahaopso72frqVUa2DpKB8F6daaRD+7UFrxs/P2xzapVIoddn0J65YrZa8wEV5uusS/kf2fpDmynZr/6s2kZydGg/IjFjYoBK4drUzhxphHSOFi2dDAsVxd4B/QyZmJ2zPZHyUXo/kwsxTTGySOxOR7JhuLy5LsDC0Z9JdoFhQwEZzpf1qtvptbJ7tjA8hF6GVxI7ZYv46ybbQtDyHIFWqw1b8hYF9H0qvnvunSDgAMqe51Jtayig4dJgjtArJdldUHDb8YLWneszrnt8deoW6SB3VYZqkWoIEQUUdnLTCo2MW1+x3w28mPiJt7upwBANBcNWUbBP4MzpNxyd+sV9aikeFvWRhp2gPD05s0I6qD+ooEJzhfEkoJt9XpvU+gw007qBshgCN/tKtDMxVhx7e8L78b1WQGqhe0uR2eZbAEhX/EWhVXkciSX174OfGUm6Mt8vEeftY0BTPfnLgIXr0UjhwIKZF8OKPySw86ZeQI3AqoHkqCazXxVXhH0wK3vETV5BN0BIZF05muo65MoXDWTjKujajpgylhLAd1FUT3YlgAFVL5P0bn6NF5bstdbuRWtS+zv6k9nJeJW6rjUyS0E3UYmFSJdZ97JXjofhiH0EqB+CAjCEDb+NGKTBbCHkZhIqBWLDrV1UMoGua3dTDsN0e2smHP0jqDeSJpUdCfH4Qy2/Gldl9UMtk7ppYf7I32YfljBrH7kE0dqiPw6jLZA9MrD4sWo4WlemoQoGHwlvR8xysu/Ldqh8ukiYojNGF7GVHBEIg3wOW8iSH2KbTlWeTEj9NebCPCFcv4Ls/ELQTUVgFmIOTxezAfCvsB+O3Hf97Pq5E3q03g1H0QWnxX4KmTRraZ6IomiUWQhgwLNkSK9xahl7TcSo6IWsqlGEhomsawJixFADMNdO1cJMLiY35/XpOlv+fRoBTqPQjdbY68QkszmiU5VApOmvJ6Npxq6UVAOpNJn8S9Vc3D9KCWA3a3BuQuAHz0eYNiXdbOS+6w0jF8W5vL5ZD1IOqVYCqG803EuraottQOD9FtvfiYQ5L5cOvQIffdSpIJ3utIjnsWiKQ2VLlwycyQI4Dg8DKNkK6uMTErU1ZkfZ/bd3dAVMMzjuhojX8ohYjbr0A6WdjJPzmRkjlCwWD+JExx6ghD7NmNxgG5+4dTUDSdOGjntloxDnzYt+Z0qoVgyhm0pNZaY7GwfEJyieNhxU4jMjIsdf9L2nHM0ktPsdS+K5ERDNu5Oa9lM5SC6/kg6TJ07Md2p7badkx5cs1FfzzX7bRQhwlXKLv0l9BEslbq0kAltIeK2rhqMTUZda0gmw+0Ag5Vhoz7QNyAMLqSknZOF/oRkHUeyFzGph3yanUE539Q616vrPJmG1T8yuuMiUDKECIDzlsVeyW31d5yOCryC5sjygiwMFjKzIuadiPxs3F5LZb8yWKS/4Oe8tQda9KH9MU/quL+UAHa6A833aQ2Vcdk9RZfVUbJxRj9j88uR6q4XprMCDyR7iqV9jA42OHzyCPRjGdjS4PnOeYHt0jioNbOJ7HJFRlNUKFqz0+U/dEkesemtTC4coHN7J/1Oiu93IfjZj9Lgpg1QS1c6urCLP/n6/vXFxllhxDnoGK8GArnyQJGqIsOOB2XYvfbcS4dc8F1LUSRBGaoZhHQdhJCD2yMQe4nwrF2ChTqJZtlMBeJvZxfAiXn/f1YcjMte0IrNRuWBd3jQ6w5k3DF/o0LU3tgTclG0/94OmsW6Iq76+ttsiLmqp2ZDXrUyOh9wx99m3vePhF8WZoYzgl0PXQIvX8hMe0MyhIOknUuX2iSXsCa2vvHOlZgboC99VB2F5UUHhZVOKnuRwHj0/bLsKO0swY96pbKiO6LEpKsWom8/vaqfuvqUPjCNTEGi1UV1eGctHCBQ17bbULOpaLgZzSjVMune0Cpc+FqwZkcvcVOBNHv8yKFoUNSVsNDkBrZxEIC8YVP5mS15pcE7MLVRDVQCtdLYm57M3oO+cGItg2rafbRufFUkx8OQXareHmbNSRv/wxxF6C+Q8cGmfMKo28Y48jO2T43XPh73uxMHEK/B32OvFq1VIa2Z3vGf9dHnzW7qPkrsIqafrBsnXOpqgxd/iLiQKnV2j9vdfZ80IqjXDAItWqne6oE4uHgZB04xvb2YuiGWon/QYLQkLPU9B3ghr5Xc3byd3oITQ/M6ssHAfqxW+YWxxrSOTtcfB+d02MiMxKjoYRU3r1zgB8wgbCYXRhUGFYm2XFkDx7kBWp9qhEkqHSccrVKlwnFU0e+9C6oBSLG01lfkdv//6VfkdV4t8Re49H6ygUXDXnZG0yNGbiLMZ4/VpWsMb0kMbGBddANIeCkUImeL+LqAVAQRwUJm090XBXfBO+MSaq+Lmb/D1W/BQu27cLxxMLqQdbjECZ8c68qw07P4x5TSXxOVNXp6OANh7IeJbOY//NfxcAP8u3IYmbANddhlvpUfbOJE073UMHs3MwWSnGyPPGxNRJTem0hBgVF8oYwf8w0GgEmrHuOPWZkA6gHwDT3N43hm8QNDmMz3FIrvI1X5THYJ2Rq5ymaomBrYCLUKEOUtLkav0Wyy5D+sDrksii1cshBq18tzFUFIUZxX4wOGzrqBp96TrUg/xXXSFgXrApsquko9ygmyvPTq4SDgxFEp3ntPqKmtvv3bPZGEDMK9C+gXN02U9p4F2uTKrrGMZENvR4EkfF8jfvEuvCV7sWj14h4rCTZ5rcUevs2eR1BgDQ1i/Bm6jaMU36u6oDdS7enXdeP+bEqrgMxfhy35kCQdhiFuR4qtx/C4c+zu1Des9ALT2YVvonRl/f2g9kFutW5DGPuep82Tb+HmTv5usCxWrJg1UsfgnxPpxSeWWzOdsOAopFj1UAU+4KWHes9Iw/GzK7CY9ZQABdE19eHegB51cHT70OGVHfjmsRVTtTFyDC0rRINzQ172EMO8HcYd64CE0Uru0vb0CHHaNHMPfuCTB3VccUx3bLnTsTc29WL1W3YoFMwjbj4Tf5BA1uTf8je4zfgVJkx4NjSHWqDu4E/5JsjeEbeXc0HcrnPQEtVOP/n2cNmrwHGJwL7xOE22GmrduwWctJt5OEnjOcr3FvHFZwOGEK3GGKv4KT5F2GwZ4Sa7fa8k/iuxMjoRGIwPNq46QUfUMYfG3/z4Z3c+pk4nzRfDmwnrjMilyoZPpIwtaqhZe+zvnRN5gYAIAYnBfXghaoXetBzCuqOWcRchEtoA35y9KNQdey9MV9Qc79ei+689OK8faYTxPfUrLNV6+gaaAldJ+04YjYFhql5CdgSVHe/t/s7ngDUG7Zj/8c5oqWtUx2b3hvfKPbwuKW/TuSjRrfHM2DFjnFJeylpEtpBXI3dicnpQuflsmQMq6/5zKBlkNVxe57EiyPx8H+bsj3AyXP+Nesvu2oZXDzwA+Ih++r8VnxFvXFj9umqWPZ/AqX0vyBO7qG818j8eGbqBNuCbdwH4X7m3/cqHpMMyFttftEJNA6m1yZOzRZsrgaFkRrcE96o9TUEpyq/w+gf9VMNPl9XG7Fn2j7/x7STF5hF3tm5qXJjsW7XhxiLs89OUnG6RkYNwF9VN9+RTQoZkm4YwK2SCfiWpNcHwkESeKR7iJMV1dIhe+WcWSxRpV7h8ZxfK43+CHeL4OCPqXBQUWRhqqsKONdchmEa5aa4klQQLbB4vEE2hygaoD4sZiHV0lkBosoFCfKOUn272PdCvx58U+CZfSHowWjMlxB8puYoe36S8G70o9JHYeQqwOzJBfYzSflgfRqBHOIv+2yej9NmQRwuy3aqZGShogRQ6/7ZTY0+w7sQhUKvRiwsnH0T3qvsY1018sQeNnf5aGDRg7CyBQb1qc2MI4gG9WvySgfxYzL5ASPtL2tPG1VsRzR5KkCRS+tHH9Xg89SUOdQQsTHIUOIm/nJp4LYSbQURoUUp1FyU7dSb5f9GY/1s/ePfM17b0AHgP/lkEs9fEgurukiKwpglV/3e0S8CDVnbu90GJzS90qKTRSj0NRV1fNPiUV89sXAdWKGOJKyxBnTE56hVLOX/lIL8d4mi2qaW54gEqlp4jWf8ge25DdZMofo143SnOVJiYJhXybZ0YPk9k7DO/ikcLHRWvHo+KWduUDmZoH/362PCzMR7sUV5NUoyRxfRv/cyWTvuz3u6Ji7sdn4jUyNYieKe8R6TtjtJjVQQAhw/EzXAmMngzRUip4Zy3x1Jm6j2jY9H2nHLHMH/TAvT4j6tSMSQOnguukPfWCu5fsx0HVsG/q76ueMzcf7gzHxhFlfHfB/8yNYPhbvjsW8LrUh1scCq5Di1N6kQLQRz8cJyUh1t8E9VUTeK5xSIIDvGzdPaUItVs88jZniuIJn7ZMDeRWyOnIh6Ck67di4WKfWnHQfOOf+GAU3HfkRwOpy4C2gcwZGbcpot99cgt4Q9S9i7MuM+VGOXZul2DHGVc45d7Lf8F64KFjTMX151ZtrtBCnkL4vyDP5fETsbGTUMBbx+J0KR9FYDuyAxUvoTLytsGHEYV5pJovNMR1XvjK7/9ldZU/7FE8t2s7ZVQ54SBAoqLmZk81Ct54LTU/ZDsB3cDLmU+GDERIuBwqbPj+hAAqPaXQD8nvQYl/al7xXrfrZ05TQ6ImkvusKY8MN4l/XfXrsf+CSkJCayRzj0C4CE9DPPHUYu1akrG/nIELbGCb6p5WvKGCDV4PmTk+D44O+An/Qq/i+4t0qJURRQ+HWcvRCk4BDKTGow1PydGN7rj7zX8ZC+I1ICO/BICgDr4vg5mh5imEPrBIAICeEOFpZC8CJ8XteGtMKQs2g03dPfKxncaeg2eFJG/kT5TZsGhRzvTP+gNfcCPL5vmb3GKFl5Nf24uriMzDGiq1XjGHMSqnM/EDTnOXINczCIWz3YUKFdrj9L/KfavZ5A5/50Ao4pir35ytWZ3Y0BKUfemMV1ua3KeWPcCZUA968zBCpXUCya4zWEJrjalRoAPDNok4QINwfMh9Dq1vId0bJYV9u/IhO00sxgcHn6S+PPjeOS7yPNXMOb+7sul+m1Q0WVZwUYsnsdA9wXBrZPRZjphts1WSWeLckTbEw6JX1b1rPjhRmL5E9Mv/OHn0rmoXhFdE2cNlxMMJaTjmHXf9M0aRjhJlL6pMCFb/ddYXBNySMRIemT6Np1EgN/cKdCuGDuDAvdiwwoKbU3a8/zrkZzU33bIcbKEMd9lTyZK7eq7MVQPo99p8ZagT2z2sotnbSHGWpggcTrMdSoqY9xM3E2wkpFZJPccr3eSd31d4pbvGi7e3R808AXkGiLx8Cxd+KiHjMQVzkj6rs+BqQGqnowiDMNkbgeJ4brdnnFMNkLMebudHX+Yf/TO274+jiM14kwmODYx2ZQY/5DHkxa+GXWA8wOmMpuGl63W4VzJyq9Dd6JhwukEozvIB0TtbUcKGg4jeLY/maUOrsBxz3tWmowigE4Wb3r3y7LJCeUWQUK/e7bxf7jdfMA9Exy8FQhp8mknT5bZGZm+N4Ls6cwhkG6t0OWtlkq59E59WgJJFtrtPQmVTuQfLu4Q4IJe+Jud7pH6B68dJKL/yM+YjScIec/hBglv4rt7S7CQwm1BhDv6njUnrqhmpyZKrlJeoi/wYz/MNzjmhobirFD1h4i2brUltmA01Z4agml4lA8WyBsh2VBLftqF/W3URmWxV2rB5mT5pIaCkDDGkkxv90x5ojFgpaUbKmG4LfA9g2AX8M2Y10ae+0SFSjN7DEMTR/E4oljMMIkeOtRcmT+tro+0S+QTgSm42zoIWc96Sl3h03mNL+eOWU4MsO+AWJbJ3ZzMfJSTqJNw1sA92REh5+hWIqaDyOSdE/B67VJZwSLxhCnIhRNc+a8mrdchsW0j/xQnzcYKTnGJkdESUnWXxI8REAUUhlOt3BSW4jsndjJNRGzbBebE3r45NDIEpvrDs0QleU5urkSeYBvzDNKKJFGGI3M7T9RWpjZfuTONRnsVYt4HY4N36gTu5sJ8TO74OFvH+Y/2x65XJl41kUnvtcD9bigA9TDdBuW9BUy3DfUB9QoJgSZ8CMh1EErqCGCyvujrdmBEJw2NCnWG0yNRYrFZHLkxpU6m2MKY2eavXCHrd/fLAusauwcibL1LFnzzjQAptJcldxiKHrmPo0UYxCbudNRTzwe8RoWg/ADDq+a+wV4PwIkpuDCFeok2TByLC4AhX5bJl33K/ANg31byxaIIkNbmDL/kreNVf1STekRS2CdACe2CbcXXLWXqN/V7Nit1fG3GNg3866RNlkQEw0mVdiznXKllrekfRQpK2MGJVczRxHEI9GW8nZSWs+3FkK8S/YTsA+d3nyB3uCWxTJa36+g=="/>
  <p:tag name="MEKKOXMLTAGS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BTFPLAYOUTENABLED" val="0"/>
  <p:tag name="MEKKOXML1" val="4HooU0THZk28POP9trq+pbTvvzd/gcV8t56cq85kb3NDTsUhojRA0EsgEHHMH7oYP1SYpn09ysXVivguJdhTvfyVMsBLTGvcX7WPTor/CmWiWcfk2RmY+GE6Q6T90sFUr0lg9IPP9y8umrse/9AoLT5R0GKq+XM9pr/aTyOTf0wptcuHbHxeyqBm9svU01qeeEM1v0hpSHUgirOnAK/wuuzsY1X4RJYLFnuFttNWTiech32vNhQbS3mM9Tt5yY/lt1dg21b/l7RJMH60i2rbvKukI9cxEdZRFwVe8HxlFl0LEb/guczDsHDXAhexu4g+nf0mcJcV25fMar8ifNG3m8ivROihGyONSUzFaNBHTwWniyAALawW94SXeCoXzvr4tK5HzuByME2GgHxpXQ8o5VOJ6isvu14tM8flKWpgfV5e5SL3lLOG7HtpSkRrQUy2PceWsWeIMPFaO0LBu7m3q3vUp2sfBpb737+7vyGrfeuOSUxqUUZ2gZW9buy00QSL9M59im9Poe8qY0i3lrmsHUsoQxuOIY/smvmZcsH/WxFGRyJiiAmYA++vRvjdbUP0PP45Ygl8UNhgOqcTCCXouSMYBxsOuT/cWVaixXCctWuKcsboUfFfn7C+6Ks1VHj0Af3NulWjmCgtslJcUcS3GjMEa5r82BdA1k5dYy7PuOERh++IDiM3pd34Q+73NfsYMhlMoU9ki7mWpDioiYV6aA+KlPvLJQZnTlxM7Vt1moBzSQNeUyfGaOh+SfCEryJx7sc0t8hRuVMuv2Ncpk3qj8ZYx5Xz4t2NNyt/Oolhrh9MJnlqbdJOKzBzPB+ZcKsBhTmblo6yQ/hj2QGylqgmvgW6QlEI5UWGuk6MgFcRxRJy3cY99sHtBUEqDuhydkO7J02kammFI5SL2WH6EeYTT9Va1TbyRnK5CboKAGGR5husYNu54nd83OUFTjfL3xltSe4YcCmb3Yu6TM0BM3yDjok0YZ9KJzRlSVPRSiFn92uNT3dM++lrPK30daFvtMeH0DoNXTpgoSaPnkL6qKJOngoGqDFOBF/GmJ0SydT2ylC3nGU5lBu3XJccqFqPOSsD0BkMI2C7MXoWMgkQpN/5afy2Ov6WmA4zE7+Z8eo/UP7TUxThSVuecE/CdZPShD7q72kLU1SKvmfdH5/D3g9DhwbzF0MwXwca4uapenhBRO06KRVF/RgIntLP4yU4HUgmcDBNxcdv5Y1nQHCHeG6LdtovphTXlc8Xxxms6hOpDGqEghp4qfRu8kFcXfzVbpRqhymzx8tZcxKWky5vJFNWsOoH6MpfdxBvyFegJoh1tzVesoOCVHTPl7nv18HKIL+JweBTTL/laQT64p2h03Gf0q0JGb7Un0kMhHTTidFSV9y6PqFJrG91mT8PW7HoArB4hZjxtWSl3GD1RmEc/DMXxhNdH2or6tfXKJmfdnLtvE8XrHn3WAyGak11MciNNbZzdOHPneZB5nDlPEMAbILJE5EWYJBpwUCtOsr45AdGYuWYULvNiyWrLO+qZPKpdarVQnUOjMH7M1UkjzbilezFSfOblkGBkYifiVu/bK7f55OlUtnIuooFFaAG1r1bIm34KdVTDGcTmgtHebgO1b2agNjpVvd2a2+vhm9R0Qm07MgYUtrPtf1PiruwvPDf0VUBrJHjrglhiXpNf14sK+n/pW0zzhhgBsWO0gxijBX4A2H1G3N6bm8cRhgSOLsQS/s04GVvsv9iiWzjSnqQcqg2Z4uuthUDueI8evkLBHt9U+/mSlmxeTjSTYjqDQimTS6u/xiIysvrx70n+H8skywtYZu15Uw5KWMPiPqMlNP7KX80Q8fDZMtum/+EEHMaeSjj0qHUjWyDNXzkOYEQAQjXARz3oX2FRlcP+YtaushaSSDewqvrFdsa62vCdCqgzmqD4lcscrhGXHEasbNkmJnU3pkk4qmTXTJ10Mds21rNTdYw8QemQhpegOoKFLzVy/86ZB3c9vam0wdHYZrXZr4KT3U7xF1b7H8igiU4Hhn3bzdo42sEdJVdWcK2JpxntM9yQtQNo2NMOSSnReB44zOdVZhNv3ci6/cy2e+yWUTQIL0DsGtS3BtsJHPmxSK7+o95EExd3K13ubc7VLOI4kkJ8GxWWXcIy0rUyI6Mc37AwnyHgfDg8mzkizlhOppRFZvuRDWRYSmojB1ggZ3YWx77CwVHlaDL1wOncPReR+1kIL0Y0fDSzNQmCZgzJ3cMh7biXzwYq2gzSa8y9ka/N+pCjgM984e5uHIXXQ4Cg6bJ3YB93bwm1fxusjAMb5k2tNTlndSJd1334EM/NMGccOUhfct4W8N4HfT/UaBZuaYR1+b4u0bMU2Dkpml+bxTBInZSZ+wTfgBix5GjJDnte6Q+XsYyWjAF0TK2cDZ6VjImwEgxYGAeRlkuEBapgZVkLxstA6yqKOAtZFwAoGRIbIGdflxjHOiKfMuLbp9h1+1sr/1O21u2t14CntGNSA5AEliobgte9gRccWaMLzaY0yvtO0CQ3RC9zH2+M+sWOn2moIOHAsRJM2hutwwljk8HDgKfNoRyu4ijM5SgsFvzZKWlCiT3SjbuKEObTU289C1IE902Uix3TRVo4MBUqUFGFmzO68Jbim7RJa+V/o7c6R7ZCXN5L/oNqqqmChYloW3pO9xxc/rPowsy6f3kaXGMEafO1Qj9qff/UVW5vqg4DxJBwLDqTthLoAs8nli+2lOWzZeMGb+Lo+grza+Ch33oeC5joBabSO88rreK9d+y7ujnZJ5aBrhqgrZzcMAJG4/IJSNL2b4CrUTYbQIbfJL/MIfivTBGnfe884/dhFOTwwFI8nFU6XcRJ99By1NN7rewGiQ+88UF4OhsAGHjw4tnEgjV/KSV6P43rF/NXQmKbnJmv5dBb1anFspxAeZAq8gyX1jbnGq3xGPq4H4Y2CgHC0gPOtzKtp5cppulXROpkkcbff6tYcBeFZ1THN3SiFJeEKMeHLcg7pKph0iev/8qUfM3pUAB3b0Hsi/ddIW0cik0T/dOO6vgVVHYqCRKN8vjr3WEZRodz0a5EUxcM7LX6q0PaS8Ik3eyR860eQCKVAlmAsOwiHGovjHKXsyKkvSw3Ti7xvduJWeiQOr+6cjjOQyc9o84bq0O1EhC30LNtoi0lRIbzyLiZm0uWneuFsIHMunhmMT/xhrubJ5x0pqrhAk+UQBYYk7g09kT/R25ZVABqEGvf7KVA5v9+JvCqvgWrA/TZ1VCKG0A02+aDZbAmuTrjLDodNKCTH2YyfvhGC9DeuTGYq1xOBmsjRznJiMnWcB6QaGmDw6euMfVyvOjluXAYM9BsdrYJmNtHxWzsck6h1I1TbmXKLI1mi9bxo8R5tfMmQ2On95G1mlq5+Kx7e4o7osp2VA1ONoaWFLxkcnPIaZAt+cE3QSpdMCTcKbp/Il6fIjDIysq4P9Xv3hCZUOt4YuFiUbPseCQ4pJnsXWobsQ4+63ukCzW5striEaQVIdZTITMi5wkb8ul1qU2erfR+FpJt3iAdKV90qTmDR+xASzj6z9Kr32qqEKvYhwAykqO+1ZPtxxrSTZ9O2V1CSw9KZBG+FRM7gLwSSQWSAD/oJZEYmXsiDr7RiXq+aMtm/TeNFMOStWwqMxy7tSEhRUl42UYAx8aqgv0FmFRl6pZvCL5CDKZKLg3IVR/kvULB/buJzvdJ8k834Y8C6u9crTnbnX6VgUPP5zXkdMe51ciPST+qdm+inE9efvnOa9WZmtXCp06ie4l1gS+6DmCV6oh0eL0Xg7ieNqAn6lBAdRb0VIB77yyVW+DdMvGRrOYYbk8X59lJoH0Z8xYrLqVtPqRHObDTQMbA8wWfvtrxkfvfSiKxkz65ZcwerCVXupcEtKOJhfCl/S5dfHTvcKNJ95azDhH1WKjzUZHN60Jx5qeI8Bjb8ou1rmyVN2VBsD5VMtX8/AJWMqP/q7sb2buYhLnu5KVbk6aMd4m6crRn5t4IFaBIrA7Wp9lYzXlWuNRdDdkxDNaC6GbwjIqL598rFVjeX944i0M8yqbpLocIAALH5KfeHru5xNABCDLmhr2gLxajlsxPE49/SGUBXnQsy9Q+o2YNxeuOmCQTMdqXL+1EvSv5CTACXOCa/Qa8gTzzZFV1Cz83ot9x+cwD3sKftA/uv5GdqlzW4+QCOgjTWEFaXj649W9Lr5QEzh9qFChTvBYyPNoByQgoXlS/ywM91UCVqbVhWqt6y0P0KXigWjh+23n9z/2DAaP0NgdwnfMTV45vUUxMN2hZkVh+nVou5RxN5Hzkd0RDuLGahr3ZXb3zL9onN+QMjODyWwuvmLO0yBHaNYP7iFjmjrLJxkJp4k3c0VWtezMZizDK6XIMjKuLI79hNGmU/2yjOelP0ZhUbZJD+bw+mDlJRg9P1HSRUDYWupHgopbJZRfNRRmCOAq1Ydt0OtB9TLs4uutHBu5qB4IWXQzxSJQwsksTeijc5y+y0qoCZKuAsgwbu1Szq1atEN0BjzUYCq2ERBpFTSK+TYMN79nIuHRanTKu08UmSpngJ3iKDeb7LatNjbzUOJc6U+2NefGCApfss3A2zNcruTmLacXcLhRx7IX1PGYTIqaoABE7Lxh6txxOvO0F1ZycntDCDu07jayGj25GZP4WYhJI2I5oy2r95E6ynzBYNSH/XY1x/SoJZ8tQjRja/R29WdzY7po0oO4fgq/DLfc+TuvRt80Ue66pJjP4J3UhKxe35kph6PuqU/yaOmMEQDluS2TT/3MH69dB3pRp+fnD7nIWBlas83dTV5Ospd8UK063ZHoz6DkqwdwqfKtldgHLlAXV2EwvC+/qBDZrjncRwtV692fHiJXGXDKBiqzn5wSZWxtj68g0D4DUA/+83i/mpO4TVW8j2y1sZfTvujMoBXbA66wksZtBHOKijCdrhhxw3uLeBkMlr/Sk35MLPHwOI/1fMBZR5PmKqbUv5wZYIAgkY8HOB3xIn7Er5P17xxC/hsSUt7SGZyCnSrzP5xLoCScnFpXlMR732EbckxPhFkzcdpAq3yGTXIG88T4z8wikzVbw60JQovpf8CRmouoi6OiI+73SoW5/7E7meehCi2uxq8MAYbQ7jxdcJCVpW81F9taJk3/+ziPISHyTz5BLjVWuTQ+7hEYfAgSgi0t5rTe+gmZ7HIsssYt2TAFSBeN3gKNcNYLr/ufOYd/srKhrHtREDSAjvywd+oOoRnDG/xyA4MJ+mbm4veHILX9OiqQ7hL7A7nhXjVg0woFQ4qb3JyOnOOt+MMkzZYj/pc71QZocc4liHkGFTAK1NBnoLm/8BLnO33x6j0aLUetLagAq+8QdBge2DdwnkNlzNO7XX+fVNa4/K8OCz4sIZLCehh0pCr4Z0/JUCWA+sXF/6wQP+G9iS8S2aK2cnRUu+xeXDpH/383wBWMFvru/FjndzXR6aPmPtIJY479gCm9/kYVh29XC2v9pOl5CCzL7AvBVaUjao9OEzcLpp1+/zzOYgDtOgYmbb3s77OgsaVSLkClkhQ1p8xNNCLS1g3qfXu85mkpGdn6b/YnrATUc7pO40O0j/akj0b1uHt0TSWaya9V638z4/PFtDFZTxSZuHDiGHMQCgQthQcaJIlWfG2Mc+vApitJM6JntvIIapZnv3tclMwrbC4PYKl2+6GaJwPSJXw81NjBORZcIhvT4Rqi5MiH/U09vb6j7wRh8tTGVdf8H0K4PEk8CIh9Z2bijDT0xrb6NtKXZHAh4ElxPqtKvsOZJ5U2ebUCM0If9jp4aG2zjC8zGKk9cojgmLnckPNTxXnpKZUnk25JeLXCR8PcqiarAgjsAMRtCkLDpvQ85jN2mtgL6tEbm2wj8g++O/Kimem10Hf06jzuz3TycqjOIrldsraRvCxpG/EwWtQaf5nGooI/Nl6CcMcuFWLKnBYN6J5ouNcLX12lUV4MhsWSshFWTxNl2NWEzlRnAzrcMJ3SifnpIwZSrkSfhXTSwNt0irvw41OlfEgyYIbSBI/8LumkHI2R5cEV08zylnTdU7ck8BkZ9qdFxMupqvLLPRvmul5jRhzwKINAevyhPb5H2eWmE1QVBnxUsGvZNA5/sRFD7HH7CFrYMHsk8x9x7k6zFFYbfq/An9il7crlecy/MlbTJhlbdffvyDps5s1/6xa5FvmS+oCMtM/djjC6eEbhOdioabupPtd5W3SfmUX426CfnIdNzimx4BFgaD34IiKC5cOa2alA96iC9wLmLw3mQCYIKHnizSXfTqQmfDqDCc6E5rBx5nR1l3xLuH9IrTbnse/v5NwHZYkohe24T5bhy1+1A+6AaB0j4T9p40jylGCp0PRVbNun+GllPOBCeuLMKZ4GEuAF7PVkU3R3S+yf0ITYT81vRLzG2Nj33JXSdlVS8eSxaErA4w4eKgkArNzULLE9Qo1xgSYaGKg+fML3X3xwnydAm/mxHOa+/l9tRHcH547yXfJihATA8XV8Yhaxjtk1bGqT15jf/4PpwOcSN26hZDJr7R2Vrkl2OnIjdGAWwCXnIaMFd5eEIe8QyZxHdSpdnNp1wY75F9qp8Adjy8pc4r2nnIMS5grDe91y6k41YturxqC2Mn4IceUB9h0hsrOjsmtKgTHq02JlQpDErZW3x8R4X+NmxJI34My46EiIFYPEJSGqjM3nw53l8JRaVbgvirWX1mRMDfHOdyBAQ+EHw6W26hsTopI0y5mH/GmtFfrtthykmFm+/OSzTOxX/En6AqauH9aYL+K5b6uagT79pvcdxIxTScOHdnLaxaw5XFdx4ADLyppYxHShSDBw4iFzxCZP6bQw2H8eu0JOCZRN5/yJIQM8YdqNZU4OSKpfQJyOnOyaswDWU07DJAerLMdCpnkWlKvODUetJTC+uD7sRqKgmx87/7ecunD71R9YrlfY7YXkzCuiGZi84nJp3938MRSeNUDEBMNeMXVECIj0GdLdJfkZBJQLLjTbBa4Ls0i99/VIOFYB4Z8ArP4P2mMwkmSQfsvoYUMzC3tqeevQ3UXbOvZ/MrphGkRU7spLEbUNTZdEM1zvBo/9szXGwQu5b9E7R1wyaLTFjvBEeoAd5plcV3D58XpXxJ05U7YMJQJrlgZ83W2LAXX+YY4sdB9O9GbdurDWH5+KcJMG8zJqcd1XkWfGrEfxLU8t0Tpwvm24xpJYMFz0nJrq0gMxaOgmct8Txuns8gtT+TbDim4jZYWOiaG0xERLQcaGT81GXV1c1GFJKOfd2GAcbDS+rmwbS2LP0my9OaTQc1cPVqri2VBZLJ7Xp34kQOOyeL9DKGPU5DPk8pnY7oVPb+Gj+p/vg7cdsv20+ikVh5AHntfbGmc4XLbew8zzv3/HjZLD0O4KRv/Ss1IOiSIUTn8LNosFVPkLMjWSifGS0hetMgeAwCUkTfnCVQ6lcL9C2AQmcM2LTJrClU59i2DQe8kyqxzJpQvy24vMs7gEIPk6PmPsKTHHmmQ2UtIZILiHi0a6iswcEfmRsX90EZo0GOCdhjtKvRXtuqAuAnt94bTP11+uyc69VVLhZtzdPopGBA2igI066sgm2Gm8BBtGC1IqUTMe71IjAOYLV0PeF3swGAnllDBSGXtUqlgCXnbtGKdFDuMGNms7x8Xyx33N32Maunb/gqgjaZmSyTq3p0FSgW/NhkH0hiTgAUcc0ObCakfopoM2BQDzl1B3SGCT6KtBV8t8hJrpNkz6lkMsUF+T+679DesBE95OVDs2qvsKehp1GFchdDcvSa3ZWtJfd1Khky2jwzH0kxH3StmZBdUbtEkoZU8bSx1EB9nZDPEAZ5lhVCJKsXb8Bhdb4hJ4c9WLnOU3Elp2QlSgUA11XYvaQ5xmk3O8u3AsiOD19fbnx567X3ugS0qcJudUAyAPqkbDELl4DPfsWIXSvOqGbY2ck9w3hv2RI+HRJs+v1c60NC+u53moyotyS8KvKluB+t7m9UCcVp1zzLRjNUCHNyU9VY+6R/rYryjOGSB6Qb5jijW/qZ/t+rADQ4R706FadDs0QZbALR4ErtuMjAfnMNSlToMP6M5o4juZbw58lbyCiYfVMT0lVB5vUl1KPLh9iHa07Zd7J79sNFNE+OOa5VPJ4AnUkIZpyN2QUBAHlRwo4e993WKgnlhcL2eJ97l6MpyGXGbASeIzpFjO1EZxM2OCy77GjNBXhu8dPm3chkrwIVrkowapvDFEaDu6kGFKU42lygk0nf1mcCOwAWx2A0AvYvhR6EazOW/6yiWc8CZJHruD57DhF7R7FNd4/X7sxWgLKBtwLYGkXaUHf2b3+Va5QRru35GiSXSAse2jsdSMwGQ+cNDIAoEsYFyFRVWVCu+rwIA/R7S2N0Odezr/NX7J75oxDZImkEwzG6OS+kKM4nzq8mkQgaYw8FpGxnnXlbARhJrgMDVxaFlBqjDJBJ8gDrVmbYucKMzefzu5bn/ehFD2jfyh5Fg5nL4LTVzel5Y2hkyiIYI0xWdqWgS1KUiNe3tyV5BFEBkbckWDhkjngj2yVJ9XpW/QMvfPmH9zKcUlmixcz/AowWTchgA8rsLYUjCJ91y8cu9gcaZ+EexbPBApu/ICgwFrlLC5N9Rl7iveqcmui05jnRrqDjYUiM6q5gffnnPE7g8+wCWzJmBfxSPFeZLnfNGUa//psFQpN9d3MkZ2r/02GoiKyRU6uosCdBiNZgRIwi3FBOKHMBWV6tOb9hEDByArvFm6KmBj/aMoGQx0UOZw4jrDsppLOiZqbkl9GOhdqhNdHeb7YZHiVNooUgs3SLiR9ElaZoS2YArsyYPYtPWUbhkwuFonMGDFvuv7hAEXXtmljQXtmXGz1AZ8k1lnl0Z8elTyDd5BTtG4m/SPkcVj4pPORGi+w/X1Q6aGhWQIOzpBI6hv4D6AvY/aeSmhX5xrWDWPhjtRR/1eFX8mr3AmipX1U+7wWq272O+vltbNwBxQvqvk0KxvBvavaoe3fjHc5qEOFEdX7DjWkPHGtABzPvlgbOtoT3S/RCJ3jYkakltQ51jJAyYcKcQilKOovxqHh76v/QYtmOehwUOCVgXCt1cXlcMkbqs7lak/hk9t+MmiwstIt56ygwHSPTKjCqlVQ3S8oSYmXHKycPTAtPMPkk0m5bK5AYI5TgzQTzi9uPlyNE4BYhRPtSp9+2chV4XwHQXZLBAhRikM+lb0+iL7x5GKwAqZvXBTysIOkaovkFv1UWabPP4TWsJ8lCYlZEUXUbR41J6CfqFGzZNLccQ7Zlhw9oQHFIUIJ0eMSrDwpvfuTK3+zV0Wp+7nFfVwZqREN3VpiEOlLeuzriYGG2zIJZy8ymtrnvZXm4wRWq6WcnoNOzfDJgg/t9wrzSewxAbwmhUs0scAyMrUQGnCvxq8Om0a5dWCI8Y0TSBFs/Yhi5AIvV8nm4uRR8kZKLGP1ebRRfDXWVDE6Qe/qHBg3K21JDnoxlRsmuqd2reasZ7WUR+qZTdE5cKTdQDmGSd4dlf1D/uqB8IKYvgBZZRN82/IQgH6k3hTpyN7J+9ngCTFTTgaTIaYojjzGs6NiYcxURWuV9bXYtLepAzgVr1m0ElYA6s6DJo6omfFXJfOJAMUXkVvIMxZJbw3vB4oOzXp2bFHxywVQXbf+yi8X6T3AqRRni/KBXak+FpLGOx0/F6V122LO8SllsEExs24m/kPvZWm5LGK4Yj2+5ZIw/J8bgrPvmWVrC6xvXg6X3OMEmvstO2kEE+JQiJzhirT6E7MSbAhbQTjRlczqsxEYpcXMXciD/3jDlfueP68e6giDF0lk1ZgVLjSS7BTswtVyxM1qU4kxcuga+v60SjX08z6qqNIPStx/QlSTkPIgV4lCTzsKPzs/4YBDvXETWLVuQgBBNlGHo06oEhJrOIjF08ZJjc2ysL4mv8C1Un2cbF8uE8wF26+bcctMZOAEPDdO5PclJ18apHyRVwMhGdNcAXe3wsSv+vUXwR0QjIxi4mX/ApRXY9c70K704GMqSevGCrPHX+FuArLH11tVX/R45K2msE2FPho/z4BCr40/lmJ/q/R5lrZ2wDJT1FGAfabR7MdnNp3OKuXIewWQGU1edZjf0QcqZNwpiGI0IyD6oF9eQWKF9EVlOWzZ/ASewnb1mjIf2MhMHbkxQwpYovZPSK3nbaW8uKtpnquabnmM3Xpm8t7/6i8jj4a3LBDj8vcrbjahsn3ht2Pxt/O9OmSRaTOcwGfdsHogtdr48psr2A2XIH5u+cR3qe5q59QL6QyLk7AJ0cG76jyVbYfwbMq01I6+4MG2rcZSmsayx5HW7XHAfeVylflaxrW4Ouv+MJXJRu7h7YbCSV1FRbLTXa5ejq+B867Wf4iS9ubBmXilS8pxgXVJMRhAC61mcDzt1jHRS1y9vD7yp9qaQ1ViRJKOW5hhHx6R+dxCnE2yRan0LvZBdeBl4I55XuBWQI+5y6Sl1CLgYu6KJ+lQFTD6F0SV/9JqsEwV0B3DGE1VJNznSBHg7K/NvPQgWWSq1yWBCJojApU+NK4RDZebBQ0gKKdBWNU3QQCRblFY7O5IbpQC2fr8nvcnbNDLE8l272axBNhushFXPc7lxCkoCMTPq5SeMQGGAo23g4bIj8xdBbTCQEMrry1R8EmbGolu5SyMnfFchVWk603HoFKnTDiVoK7PUmZdNFZeVJm3vS+lunCzkX9nq5B2tyVIymxAr5ilGMM9gduHNwT0Am0IRXcxEjhn6+JEpW9sKQXzAjQmY8o5vunw2wJImwMMxk9Os0r4fcgG8olcMeLCucnr+tsU5v8wyRopEVG80pv95Mw9w/hpQXcnpwiUXpRgDPZWD79aRCqfZn/V4soL90grJ0YxCby3e1tA/Og3+1GpRGUK/1gZIJ3UAt7Z4JHsJ2QQH7/lrSm5D3OdXoJC5hOOOOgF+M+HsFkRMcKsmOC9w+Jd9O6ca1KP9/t6A9yuNmMGmyB/2sO7xb+urhE3MpuJsQ815JyvvbGYGEuYET4HeaJrpKCWnT66Hx8oiIyD8XO2ReKmprdK6LNhACe2phjgDdKGUS4LMAQl0SlSuoIpVpD2/+82LT0k1xRFEpUxUl6es92jfAlBp/o8eQRPzJDyAPNIUDmuLBI4UcybFKuSeG33p24qMdogz9Zy81JOPz1Tvj3g6WUYAwFgT5aHwiQpVYm/wFmm9MVfiY8HV611yEHRPgxl/3TLaiNLPClsdhqL8Xx2sVzkG3RMv24ZhzmsYvnWixqMfCtJz364U/F8kfnzoMgfUwOjcIxDn7c8TlVYsU5ZG0iloIblGWETeoDSZYOzWIELcPkLSLtBf1B7VIF7uGrR+rfLfuqnN0hj3GHIJngztAP624iBHOqfrCrMp9wlOlQzEChS1nVHPrmYKEjI2jRSToQG/qX6d8VkFGSdZvyHk38kdOdGz5XURw3dByW5r++Q1rLIKk3ua5VBBiIsNicEoc/BwF3GgwlxgY7ELpcbFMc3g57+gXL9SYd9O9Lx7VtQX1VagygDh2lCcWCsHNHRi+IIWKFgX3D5Z4lS6eoTNQa1kPZbqeeMNmtindNPDGAvqZaUgfMztI1MJAkJgHRc/wTGNmsZfKhTZXRpKcmOIaxQO/M13fQVFGU4DYkNwfWZTNIgo3Gvlhui6hoWdkZPX0UhLZdPmn+Ze2QlPurYncW6KCeJDavYxlL61rjzSV15wYtMYNM/TXsj6zMjfwYKFg8OyQ/iRPAG5fvBcFC+6RZkQANZ9/wBHCX7Juwd8+em5IuD51ADxVumalZfb3+FNr0xoI21XbfugR59HoP+vow23e3RxpQ3BXrJKKT9sl5ucUQP2Ic9vF/p3XqSEkFy42zF3+0LsXiCAXq4lp/azkfpLSy4plKLoCzxcGbK2lNsPstNB2b+99S+b/mwOyVCq92IlB7o+fE1IhqJPN8xUFTaOJ6wsytFJHxGxTBoNS24DtgsnFCdUX0zAyHs6fPZZk9ixze1isHgY+lMBIYoFBso6/i0UkQRSA4/idJV2j7/+SiFZhO5ry75ej7/IWn0rpkFVHoLOCK9lZIHpiXu0JA+0CpvQypzAqlkils/K12iWDLgkFrQ7oKcVbePJoYKEjwUYHvyZD68ln0ZFVJ3oT90vn+vXZLYHMIbeKhH0T0pU0p2rjNbas8ZGvd7znnpIteX8Opo0+pRS/nLT5yJXP7SPL/Krko2J00liA0RkVJXX9RixQ3qyDIj4rWw/1rYmc8AJsWsOR/hddW42KO1rRL2S+U32eZ3OLv2C3/72469H5K3la4r76salP+ZW7BFFN2IeanZD1Ros6BE63dGTb0IyM4OkoNlRJpYF8VB2Eb6zZggDnVYO8zoBqvt9IPw17vCxpckk13BI1VlXiIuTRuX0ccQ5Oie0RDWfvk7MscPXs26M668NN8j+qSvtMGG2YYquh67x6Sf1AQHQN2SVfF7uHasyYRTnk2v/ni/URJ3NI2Y73z1g4vgjROLLaj4+t60BQu/VhkH95mGoPS0LKxFIJGNBqm+bY8ZL3Jkv4sJzmFo3vVnGl3UTXdKjpzcI6Rll07+9PFHyOanKndgUU6va960l5NI3ejubRMpf9EslJ+E7snGX5EG4fhsNxi37tffxLL5gx/c8ofBinJJGz+c6fIVc+4MMIV0EPyncH++gbrinIUfPWhWUQgLG2GGvuYDaeHZHy4E07pBE+UrmxAyI/hN1P/Nz5xwa8IyOCJ3oagmtpnSzot2187jNDn9+/UmyAk7D1ppqcrKRp4QVOricg1LG0TuBe5tvZ8VHHqXz+h/114KXurSRgmqdl+GTVEDB37SSiGzgJcLBuztGQB8RKgqqmI9G656OfXxCuLlDnfmc0q1GScz5SBKL+yWZt5ndPmJPtQ5bVfwYVXxs8HXedCZPtUmYOBDykbTDAp5eC992FJTgbb7gHtIOUjeFmCRyKqtXIg696Nggc0utI1nXKpzc012Ye9YlvMmoR410P4J4MlEQDu7GQNMmzMfDKxXkgT+bP4E0rnDdpC1TCF7Ifb8QXEp42Pwc9n48GGCduwSILFau2vqVQrQX+NoX4nXIAGaOwNOyqSQLp07oi8h7qjoKK5t7QLUjjQxFxDTtBUG9jrtJCwneEe70AKvMjRxb22YoygQVy4SA111ycif8zMYRrjlIgYzhHmSR84ahR631gOnm1kGYUgQl5aztD6NpDY7gAvsePa1vT+wfRZxydrYf+iByQ1tjY2N9gb1XfgDRDaSDPazN873lHCxgSDfT6DwOOr/ChuKZYY0oM00xeXz/Tin7X+bdx3kdqBEbTUIbUl7Y4lKosYPonS6P5VKdPbJaDD+Z8U2zPoO6mm1JRvyOAi8tjREVngqWOFBevKPPTFHWNB7w1/2JYn9Fcv7P3D7t548SVejoIKTZrS5zgtttB45Mv4IRxOCGctrlvl/nbEozARlomPp4B6tv1lZoxtoe4sd/lg3eFjcGbkgsDMpcZbLC+ii9RW5q6wu9yG7Bg2qTPPiArHhOYl1C3T48tYDJNDegOgSFXjrlpbZbJnFSUII6VxAjXw+ilDBOgzf/dAWGaoH5wuI2ENZUFYoJHWHJv3279zNTN/lG08kYxnsqZqiTRrm91V7ni5IvDpEGfVUPNGMYerA/4QYf/AMChvX0Gbh5FgQBvxgfdfzliD47FGb3bXx1QWtrXqPXkMPq9lzx+nMLmtQag+NI+nQ08eop/mhykE6C2qp7Go25ZdqTr5glRtAxYAZLKcrEsCsCRICV8qO9F2gaW8j03NfzrPg5oAGnyPY5pvBxB9bZq7vnAzoF+vv+D3YwRwswI7NhtihtcgAcxt8SFnghbYWVRxPLzheShkc3/XA2hfyMMHKTaZmcZCwXCbEeLJOvdnDvol+aWRfD0vw1JfrgUYLRgF153o0vKVJxTPe4UMozNOcsig6Mz3bei1jjfzmgE8IE4nnjgHhUsj+fQLpazH7alxsBn1JIANB0kYSA1qdf7EJU0PAxdMJcGGHwiTGPU2xEhu2+o1bvawIUbtZif6HaaQq8s8J825aIkjSXTrpYSjC9K788YhGN1w58olR8c5HI8CtwG1xDfu+QDtaEvn50Yf6xnOIQCTF6vqjWAwRvnFAQA1CMYYHHzp8fXg6DAVuPTSmVjxvl99nVsaWzPoG+jeq7XhUuvbWxPa3Le4RbRZB+b6HgxJCRi11tbSDOUnyVSCusP+C/QdK+uhZxyiqMmr/F4CFduBqemR/jMYdznh/KQTxlAOmMWmntlkHEsXrrOb2ATOFaljWwU2oVedz3mEsf3V+IktWUh+fswp+lN+6oUudyaw/ccBEQ3oyuVWeMhBWIgaMmvd2KLCV1UfbA6sKQmCKrnCG0iyo2lG8gwFAx2Q0LqgonqWxrd2+EcUtpYZIkGk8LeXXkYplBuxkOWWi3OYoxj5Dlh/Y7AsOlV14vyMMPkelL2d+X+lsGNByxIovUdQ/GgupZVuZYmBT3eYk5XSQdgkIwuMvH2Hsf7oWwG63zBYBitN2idc1jC0FF7xJPwqkNaPczNOpJcKsawpZlyKUXGcefQljz3XLiylMBfIcAdb1ZlLr1GC8MFIwvXT/6RwbGvo0oE6z+EOxgUSSZCF3UarN9aliWvGT5D6ne6JetSZ/zlXAt8oQ29VM2OyOsj2PkfrYXE302NikmxRIxBEzpcAgr5wOweT/Aj3sdcuBjEmyUwjMNKHeOB4wAZpY1PMBfgWOO9LIU5Hn4hXLdmUNqwaHLlwPRJ7hbPGpp9imyUvLa+KCUHMpgGP5fKTN1keC/ozjDlLCUvSLT6lQIt//L6Ey++G6e45/3RzKysDkghjyCrlug7uNfBnKWbq90sLINn2iezkN62l6zRbeFZCIRtbqTpNdATVyMT3DE9nTw1MYSmScpJHM51Iw8KAKpfDKPlwCcjKv8gP6cr7TivgCbkKFpQ9v51R9K+MHf2dEyYwgVqKOcAMQb+mtCSNBoHurQ5lIYtGJ4IbXQICOHPASXbzVz1rJDlChMj610KJXmWS6rHz2ODIsGEDWxLTYIZ9ZoIPmDJ0ofBmSIvohx64wzKK7nVNGHn9cAB93tcs7/20kaZaW/FotQJUcTKAEMF40Wsv3v6/BMgCP+jVo1nIWvkewkh0MyQwJgOHNkLyzagyP0QKv4BUg2ZZfdpIjSF+f23/8bGXyoNFkm0cyIsBc90y5XkZu90gQeY2ZiKzusan02+Q6mkGahuTT3pYCmYeMpXcErrA6r6REwyXFwZa/m87yb8f2G4DxUnBGWleBrDbY4PJVFlHQfByAJhYW7aVF2RjFTRJ50pgGCxB55/Y902W51OTZMRHhIW9H0T1DhzKJeFyDdm/whkWSSqRdiQ2JgN8RKlheQ1uCM/Zt652T8KwYxn6N4/h8o8GWIA9xlOySZH1VuoL8YagbOgpLiYDYCz11IxHGKrWvzgk7MTm7tiot/B2oMMMSuoaaq/81MfSCReLQlCgZWdZ5ApJvJ4d35MbMcg8ihmSQgF1coZpxGR3ybIH/qmcUxt0b9/XVAHU4rMmuCZONbNCDoBqm7De/Z+mqFeEF2wcuFPKqyh3huyIXvSwsLVOv96g+Q+OpmRftS60O2e5xjplAsHQORGKLnTsUXv1Xq17v3Qe5Czu6enOl4WIIbPIavTgCNDFZ9vXrugyg31ndRPvvqAJef7ZhQxkPTm5E+DY7ikVFNYuX9Pn6+XSEd3hanWkx+nAZ+CfpOtsaRwvqBGGXpnWmx+VutWCeCEyagumTfaBXJUp7ZNeEWoDKnK2vQzRDb9LptlD3qHEV9uPIexVdpY3HSfM8otSXsoVphGTYF0M7RQnXJdQ78yR4HhD0gj9lD2P0ZbWpOslXAnNEwTfUl8yLsllvan2x/Kgj6RD0l6zIMMPggTk9oMaYGvT4nYL38QJmrHtUCWXyP/ad9zT9K4BR2s+gROfB96c1K/MUqHZQJ4GSFJVrVWtWZFOYkQdTz7Xyp9nE6KUc0WGBERhK6Q26QxW+Z+cHHKVSu+xPL0uLxisvxi82oQMNbfJoMvXHg24yKYsVl6EcwgYIYssLjXnR+IKNrhM5/SvCId1qFBFr7T0lqowP9+2VeL8/uVYn/xEtqNPN/XvFrIbNODsAza1r+eTpU7RjeO/3G3mV8vUX9t0LhDdCfAmM6mlIFA03KDnjNr7yWOtT99xAEOtg2Hn8mxtjh1/e+n/gT0ukDLMGQSzMMTHj3pJ5gHC5BQu9mot/WstJPb0gZ3a82gxKezzYBSPgz3TOEo6KakDqhCwYXZcFG5dvaX5Tzk7rX2xZxOuACRNqWue39MWP3UX2IUYJTQuUcgiZ8Y3zaCrrzcbTqn8HxlB7r+t3XPsp36n0Xm6o/X4B9e9BG6xk/Zbh/j1EF5eY2gRu1h5WM4bKmLFHJeOYjHKASpvrBEARN9kdPguWjTfbFAx19Lgv4ku8+5GtzhnDQUEcBrkJUznzPB5I4IMFYGZbuVfndUhKaZbBLy3XKIyUMLhTGsEe09t6RnzYeU6DS49j1wyBQhhV9Dmsm6AaAzQQEqtVHoTBO71s9tw/1Cdzzu5a9bABqrRpmQDpUXfQf9rBpCqvokJ3MhblEsNf7VjIhe595rQpPqP4hcAVuYz56e+ZXiIgbDjaVXjxnCnGfSlvqZmCTwxa6YtwiqQe7pQZ4UxwAnJICFqbFoK6NlhII/o3Fn05i+aX2k45RoKUy4TzoXGPixrdqqfU28FOWSLKlHqMwxvEIzgobmx3sGZ3u3SzxztlDb5zmR6J5DK/9WYyTI+BpKrD1BVGb6sVP1SpiXQaqmCRzBzlNTW95/7boupjofAhu+kDtUtpVDZtfWafw5/2v1zFYoyFnlDVbt9GxbfhHZzqfEkyt8mrBP0wx0NIgAWd9ivsxtfpqB2QteC480x6bDonxg6qvm2wkGYr37kgvJvmrkbPRM3NQqYcv8UMxryfT3avfCO8LTQnrpPkfzrWvBZ5wfWWiDJivDEYluxaOpNmOftQhrFWteMhJYKdK/vg8aZo8U5Semue6Ss22s52gD9i4LcfYN16dqbDu/20bZ2k50soQEo2remVIkGwmWL31ap8UtWA+yddTEhsucilrWkIJVEdOhGOgZojG5MxQM8oIb+BNI4iba3STx8IOHVIYis/0bHLKLIyfVAhZGvVnxZc0Cq19/4/yAC7a5R/zd3sg0BuUohGNKNhQALT1qjYC7bNZM/23bStosBWM9utKtDIO3dg6zVLaa79yTJWdD+BF9uwlXOo2O5twn63Chv+s51Vw8m5yNZ4QKciACn9NgNcFpavHnD2cFneGPnMvAy2cX/ZhCzduH8e6VBPgFIdk//sBQ8hpLXRbWNcKDsDBh/rnZQ1dLifRsRAJxBBVCgeIPSddEi6dVVqcE8k2d3eDt3VYzuTdgDXmPqY3eOSR/zyhjSF5mJ8BmgO+LQR0uY0foC4YCKgvHqXIimnr+c/PU0cvTWsh3WOHD7Ohd32IDqwT/ldkJ485WTJdtSZtrVOaUmce/B+oSkARefi+xsXHAEEyJ/LIoSAhX1zcnwQsBo5PYgKpEO0mJsZfQ4X2iRBP8KO6khFvji0uoI2v+eGiqA2UaIv9laVurC6Bb5+JKCd9bft1wEALki0Vk20AlN+qqCmI7rNwFPA3OBtu9ZU6Ad0GCSkYTLnH7RGlMMsQi4DmdVrTwzJRI76qj2VN6fZSrDG10nzJnRhkFjwYmXx9vWKlXneq805stR1JeaIaeLNo1Ux+mRtbE7u5Z3nCEURXnI/o1GK2qAmfXsr4Jks79nJI6rt+rfyM03uiWgKwcCSiSzyxAtCmqRXaJrsd9rPiEf4EeVZxNrDpeSl9jJlHb9S6OLop0OYoKAP6JvfyVyga9hNYeWcFNtdwtoHzDDt1SO5eP470qzIoaZFUwvv9hNlq0TxQTTDQcGFlK76DaCtjmZa7YlCsd9fpGA0bEt/q2X/kydAY6SV/FCcyT/qDJnrP/2k+ORqzhaCzcuKAAai0WahbwrY0VIs103GAFPiYD/J8XHrmDINpke/iGgkLXQ0+CykmPMYS54Yqs3mCETauiMzwjSFPnfaO7f7Wg1y4yNakjLo/UlmtEkp60UGX6ggTEQOmVNhqmYitX2QqyEiQ6Cmio9nYofUsHsqZ5ZqF+uvY/AZZa53S1uiQ9AdbenEqBi2dO4ahRGsblVSWlbBRZMDDEzs/sydiBco21l5jvwIT5Es5K7n/oAIdbYpnhtEWHR/DFUinp6WHPmznP+RjRB+LaTYiDul+apeMBhJfIqSwsXeHeJXMt972ChXkxR7wH/5eqovOEl+D+V5uvSWclxY9Qf84tmC3Lk6KGJXLR7xJoVFhh5UNjoMvnNRJDREfzEgIguD2MTb4olY5JC1qlGx/fsR5RJ5oySHB40ZEr+wnzeaQotxu0v+BispRTFww1A409TgAXGOGZgA1zX3K1A17OSH+6zqOC7kbRZ541l3BhsqAGil0w76+WvK58txx2ekPMu709CXPONwTjRerSN2cWS1CrG/b9Jp8tR6ipDCgcKBSyT6NgJBpJpX/wwRtWwmFMal/xBtSVCdDrpyLoTbRaDFjrFa7D1GDqQRmAilBRC4woWTsdYcv8Rjx9aOPOoP5wwn8O6+MCNA5q48kQLNdUiGSGBjWXRrXUOKiNomqXZ4KQz0Wakk6M6IlRnHPqZjS4YKSL0tbnbxhOErdpd5JRAPj/A1qpSvYnIPchPCh3GGGlwQLCG71HUn13MFdtfUn3olDQLWUa+LypJrnkDmM2qmOVRYnsHtz3dW6NMJ3JFpgWvOGcytzaym7Z1omRpQydmwXvk3VB5dGZNKfPj71mB24wAfvCrFKYDfTLFH5qP8hASo07Mxm2AqzTt2Z28bhYhPrC11sEXSa9jYKzEOxXqklz1zSa8aAX2Q3WhFwieEfylq0XQE6zKWAWMSzhpK3ZsVi4TO5ztR0qUCzvRfYUVAhynBS1YVAQDy/6oJvi4WlMOHlTgImlZ1RG4iMjTQjhE9YDc6R0EYUdj8vP2m6EMtqHH4Yp6YUHGmrfH1V1pR7C7GcuDZq1550ayq0KVJpR8dEF6+cVOly/BN4GU6RmoPKF6hzePWfNnWEh5BK78DwdcKif9xm5uCeCsquXiWDD/KNpqQ0Fg7xPA2csR2IvrQkLMM8p6M5FCDgocZFnJ/QuKEsx1iUhiOK84iVRlIXXzZyIEaIOPQi4NdTMYtSPOZONRUs53O7I5bnI8E3UwHWXGTeDe3Wa45D4lr8PgJZSWWFlcJzKgPMNYwa5QMZ4CA6U0TysfVhU72wyToJxfVlZvbLdsdIihlMVtkiSqMjLQojogBsyDTEfSbpNdYeLdryAHRyDUywKy8ZjRYFaMkNxPWgAYVmbk6HtPBIUN/zzujCiE5gpVhaLf6z/WdLtOPyugRR4XuoDZSPLEwnG7Eed95QLc3GkUFdq+ReBxbIsrqn2wBxjjRxZG3kI+ivjHpBMFI48W+BOQ9wFKfQqfFW5Q7O0coLHblzu7sp2NrcRtBnfKnbqofVRt1cvplVM9mhYA5q33KCBPgwJdbVy36lIYULgst8HC+xBWsBgvErRPFDCjOFQ4TSo4SiodvJWgBpCWn08hGm2Azve0dFkcsPRMzd5ldokewFPe3uAqaVvXnGOH+oL9FuH0J4yEFfkfPCYBS4pbtF1KFkQEzKDcCGtP4dUuiZ2osWnlaeG+Yxev1/OT7OFIT1wzGgL7ksI+1J84x2GjypdZ57IsGpBWpnm5hfd4dSG5eNpbdEEWyk1zdGGubUQx8Hj+S3LKfN/RLFAB4JgayIS8XkS5icnC1ubA/bDAeTHK6xRz5WRgrKpGOmRCY19/rDF47XaIe3lzxOo0+6bW+skIFVE4U4CKe/bjmPRuSQlo3GXoC9EknxjrdRJDwovZkhley8c68nEPWNYqH4XdFLZhKM5bHjHqo9JgYOwzT9kx/7q1p5WNpMFHaJE4HX/eYd+Qbf8MU3ax7oYc48r0J6js/aNPNtbZYviHK3svVX8pmGzqDAlnRrhQCEBuWzLx1KmDQ1UJsS6wjSmEU1y2+qMLEh6xUK+K6JJQBWRpKVXiUgENZBqbofTjySROBopQZ9RtiQ1NN4tunZi/NY5yW4hVUNwEcOgOrySiPGgCJZucFiuoNwaFqUaieR6y4mO9FHlJYTuAX2uxy7eygpexWJHs/esN7k8819s5797X955Bz3u+rizMGVnz5XuIbyGE9AiAiIY/l5GwgwHakSKwoU7F1zSitV4Zs31GP2hyuNkmAc4sRT97OfL1lrxmf1uoF0OcE8thXzmlleSl3v0YSu9h1BjQGW2MSlu5Cc9aFKWqZ6/o+zKFCsvuc6WzdZpMTSi1g+I58axIuT8muyJJESWPic0HXubsLeRbo7XGY5LfD4QWFoyfGI8GYWYgi/4StGp6pF6QHGFNeUAgPAgupY0Ch7R2i012Q9flAGc33+L75vrs/dOBZaCBejRcApMRjeLpNfi9PmrRQLwdqJ10Xa/4LFTNA4t57euUsX6xSqU7MOZCfcaqLo8D5+MQVQZKbTOjeFQMSmzO26EOyBiDXWlRzpO9+2VmltB2wDnUuWjXppgHd6KfinT/3UoBiu2KsElHvXoCYWsDAjaFG3qaF4eA1tRB4OO27pbXnttVut49oP0miDbtIRNc0ZfKPq+wxjlQrokG2sfm6nf66yo9Ls9Bole7olghsXn6ORZpeE+s090/ZK0JNhPCNXC2SqUUvnsdppu74jt8UtGJ9YhR7PAI9li3lcYBvUPPobSmmcP6nivaCOh96886w4ujoE/cfMO/INifDEZ2PfV4xXYpLIb3g1K9u6oYHBnakZaT+oSm4CDEuzCbKsnjtMSmyQrzCE4xs4mvFgxGzifr97ObyMAjIlcEwv/tm6DC/lCYToKuFMxE0Vx7dlW3znYxOkdU5pl79yUuTX5zQDX6DGFXA+O+AzWv6FmewMHQyHc3bIMagx0sWPHNa3OntdmvUeNQJHJ/q9EU0SZspFMXrbDkenxLBKNwtbU12SmKJaiQH6tuOXAHiIWvpZ1Dn6JjOD7j3zNtaLEYnr8smBhUoO0fyvHvJIh7M1asgl6MhzfThTR39VMCKJRsGz+u8wPotZYv6ob0E0ZysdzJyuG0xNyNwc0l2mqXiP/7eIjCHWoWslwoE3FGBzUW0MTznlDS6o/+fXE2JKVRrNO5cmRxmKtHqsyO0aLOfaC7fZDRxUC6/1azXx3afkL9nO/OK6p1EVCueRrGqO4BWpfpFVC26f0xLGy/VIfQ7tKaMdVtc/r3xuGHCj3CiPgpmj+VEiKGbL1aVmgkq14olJvThN9YdFXJOWycnF30dTMOqyD++JtZGBmg9FyQrpHEIkS5U2WOFoi2Hk37h8I47plajzQ/A2kmQWGDznrFrImPahwls9gr7ZR570nl30y9rzbvXEvE1zbPp5fDUut8Oii8qsIj2DwsfQfMZG82ckuHs+3U4UJdAQrJSnZaCsh0u7Ze0SN8oh5UDoy+nQ4Uboovfg8sXR0KBtO2UK3S837bVuCUklBTU+D8kXDfWwMTzl2c8tCjGgItpzwCogugudd6+7WDvWFV9G30sRBX5/3v1TWgXBdVvY/AZ9Ikr9oM3W1W+eEAlSRha+Qwq3U12kOfaCFxtPXx+kTZZ/RtzBW6y591rCmB0c2yFcNjzqaFGZ9nc4vmgGVi/QRO3E6srDHdXHC4BHO5LlqAgfrTZSIuktDBUKco5AetEbt5/nOy21P7jtHdcChfmdnBLrUM/8O1ROCbm6wuzi83ycvL43y9MA1jrRIhVA1LrqWHX3L8afWdE5nkUEar2JnPPIGNg5njP6eH2wnYTHhDs7MrzpVhPXyskN+rK0IZ48SSxMFN2Z1PyUEWsnbP9SZ7D1CHbwhG9BTKooQHbWyu/MoyVadF4sc7F0yUN0llkdFwMp6jCMCKJ3iV2hyHhiHixF/ZLxFZi2hbHQPsrvbzcdgKn1ylHeYcZRKqSuWYRp5nhRTfsrqGhw3EqvC0Gd8FJcKEwDs1Sbdh6HmVm+ML6c6VFeMEpVwTtVgwOCQSmVP9MMwvk3//bPwY5mhB0e5l3Hgkq7hvlI6cZ4FeBMxzD/NjENZLNkHfUdq/RJAbkUgHuqK880bUtixQOkN2YKOsr8tXNyudtXgAXFfyaep1nkVYpekmtGtpLpT0YCGyuFLRzEB9j+kRbUtghtp/K91XQ96CpgEvfcw+UYRT0MKsgOlakcdx8jjRg+vOzQyPkowsmApkhgZMKifG8X85S3YRLzFKiVYGGqdAfjLuCrBIobCly1B/YGI2NLZoYKkgwHErSkE4gpLsw4dUrTmxAJjW9iPaQbtrN+AEeXAqJpZTIqMnbhBx8NiY1ippE5oKODqzszC5lrgeHRkPGqZiqns1tZRpaQybd7+rNlpf+xRev3JtYh2Bjzn8VMqOD0w9iVeHMpe+n4+PGQMmkM7W3Tb6TfA3X4wXuwQxaRThwVkUoGtSitjXIpC3GD9aPpR6gB1VJzbdYrd0TOIb6AYuBNoABSduNcnrg9uCdMeThWmXV3UYyQ3c3laaGoGXemSOzGZthqCBqpwmOtA9pwZbNAdJFNDsUNNWla3KStkryqXQOBSYF+l8rNRAxMhX73j3v71tgGyRWJvcVj783CpB/N9NbSkjlanAF3O2J3cWQ3zqElVwIdY4FKED7L8ZAN7EL+ZhbqwWyUHZqv2zNJwtMUnpXhZnRkUWPUp7KDccdkbmpHJTdJdJKCRo7ptjV9cdd9pHFYj2x3NCIk8rdM0J16oAi5uMMkmBzPYDPshvQgu9QGPxuvBRCRgNfT7WJ6qOl976kwRHZxGaQKVp06WfUhX/YE+qs+HSClXVDZW1mile+qDt3p5aHvEYkubLoMzfOthCU4zfCp275+ACEsdKIMRrAFYuqmPoUx8/HSrtbI4sn6ogYuHD34Hp7SxUqzNlhsPwo5IJVij5O1+gv64RmA0H0qvXU+cxGmpMZ3Bqo06tRx3mLDrEakPUWI+eI5iBRILsfD6Phz/zHGMn8KINVp3YHWQ/H87VzusPkyW4rW4o47SJWPO4ao92GiB/2fAe2IRpGdgBbWSlwaozQeipcwx2nWCY7Nh8Om0eHW6xy6Y5VSBrfy/wXTg1DOSDXj8zHbn1FBEST257JBiCcFVWfU5y5maxA/MIYwi3+fq4qGuMNM9bLBU06YqjZa1i8AlK87XQAWz7UGSE733wWUqeTqubtX388I58oXvlPwQbGPb48ZVJLQdiOH/fvkJC7VaN1HrFMnjHygjR4HHfwgWVt5c4gbLQHnl06azGMeLSKJClEsnL95s416JManiHIj/Qn69JCxdTz8Tff5omjFCKUph/IUkxz10YOqu2lL2uQXr83WRH6E1TXZ2C9VGr+32aspCpNYb8F67T+jKEYFw9dLYyYvhWthLoNXmPHLtvNZQXJ+FFR7yDasTRqBBug/n4LGukDaqQPanKdr9pNqxcLojP5aR5pfG7qo4GJ0J9i+At+ocuqcKLe+3b+6Ty2RqbGUHfdZJyH/s4C6PTesg+OFh5U/+e782j2hg0+27egcjis1xIu+VixhcXKX8tMf0Mu91To6uvEGbxvTCbJDJdJ9MlwmyCuTU/Of+mQlSXVx1dAlYyI1/x5farSZgRcf7GPJ7rS6wMdRiNtrRV4UEKxNNQQsNRy0UsmaYkxiEF9OeRQnKxl0za7cHaxb1cjbcdQvUcKgKAL6A/y13oapthp2tDhggTIxJZTHMTs/TmJc8FO0VVSUJVxV5vw8r7w9dLDTrENexkEP4bBZKP0t4XVpu1FdoPGqIPF5Y53TZuyCcvBb08+UdvyeOrAxo76UUVk3fTBQNQBdzCuB15m68YlaCXZY1iEpst93ltlwER//qrtPj3WAmIcR+CKR9ul9evjp7E+aFUFLRd/a4BnyBlU93EtIxBpX4AA3RRYOkuzFvOlEjgwq1YZvD441cqw6tAdZzmv6JgkfbG/veCG25aQ6hKqsZgKTo3SB4XSj/fRVACdcQw56KiueCCQ4TjY6kuaVi/sHxuWW9HfwvYjN2cSosBMNla5tOjyOK583V+QJiCPI3sXiFeQQqiahKPQc08RN76FH6XpUT5vhlrlaDZlbT0WbnmLYFRODhEoFdjnh5Ku3NXcJFEDqP0G1zfdbD2+1pgfqvvT3/L+1z/2CcyvVqLN1iM3F57T4Tb7IM5ra2XeavJ+mOTteBUUGxeHQQQKayo8rVes14y8gAJxvAmK4G7RvupLmugPN2TmPW3YjWuZhbZjzpEDO87TgKfPJ9uxo/P4weJrmjwKDDeGTGuauUoBFA9cwmCLK9y7Wvf0jaHCLUVJIfq+o7RLkHdf3YfN7a6MtAk17GtP2gpuMduvUkIMuE6uSROpKVXPQftvaWKIk/Hl3B+EdpA2fEWIJiToGT9zPz2bxQhLWvT5xVV+X/+gZi60239pMoCq4x/7M40i1/Sk+joQ/KTcP3GhkOMXk1NSP+Lag/qZn7HMUTGZSkWCisj2fyOTsBVY/wgNrTRUyPHeI0fpVwuD6a5T5Dn5jlTnlzYhbkyAg42P3OTjwTJS/rHyNb+41gWkpndCkwwmxXitPUbDePO3gaLeZ1xlUFOi3QzhCw2aPLTkQrjX9NKZxGx2UKaqkmpOP87GhoLHTUILTCiEnbmlHOkenFHUVttWQc/rlD1F8zXa2hIUzFHBCrbBU3+TFsxHet5xMlkVUJWEeM5m722V3Owu9WKZFa4fOqaUyyd+xic/dFIsPQ+Rorend1bYJANuCUWfcGy6qDwpsqJdnkhmWvxuyl1to0GVKIIPrsZotmb9WeM4D9JL59madLMbjtmj9Gclh26d8wHTCb5ssOpXPSoHvHw3wF6UZqkHSxhuUohtAGjZ1MPmyC7fshGUxBNcwH0bKaEEOGh+da8qXM9jufsDJYG1YnOk+m16qhV5k7Fs9WyeyaOSdILfaxjH0kXxX9Tvq2HDR5FrBv7dcSFI20fReZF3F1bkhfrDxtY/qi7rtFT+KLNdALYKWSepvP8ijexyHAbvjK4hsUiC32H0kdVrlgTBs7ha7jmfb+op75edfD2zf9KF0tYymaD8L5LVMMAwzusEkwOLN5ht3rmqGSnynWfo5puZQr72R8eUQAPzT0JN+7F7rPzJDaXfwJOeP3PkmZxJ7+jD3YQPVAJeDtl6Z8XNTj7OCRxxM2QHekvXdjpP8yILB/MRPg5/egqfVtLlAiyQzpCcPOjIyyToUP95A67SaGxnZRL9+9MCE446lcC6lv/UsBZvG/QVK1ajK1mzktAuwu+2WTF/IEj3gz7SJOPlgC1DxO22+6AcYrilLoyEhrfwlGKY0j+AqsnM7+KPHEDdRxX1EkX57eaaPzn5KL74OTM+/C0qokXunRBq2U5uFNKO8JusW6KduFpBfVw/JaUqnKBzFjL+u6XytYLJKpFERI88+ZgBtru2cDtYAp7Cv/CsFegcvigTbTJRaI08nzBazQbea2NTOup00ix2BHZI5yqcZrfTQfInySdMz5iA6LYObEedWcvCr5rV9DsVgG0vElpdFTk0vrADU7Enxw2y8dkC+41zlPLKco46DwE819Ok1ZQgRQ3WgtT70Jbmh9UgvRvUo7BrKrCGoEkQOeriCv3kWI9beLy4oPomW22LRkBbTodSDMLhOMi5+RqxrP8V4DsxHGF4mfOLTE8oZVGgx/Fj7LMWI/7l1+ptJpSNi1XjnS4s72mIh7Bjw/AqPynE3HLdi1KI7V7H7TT3NgJffKlRY2r3m8hTt513wN23a6qthk0+mso3hz2ysnz2YlEdBHkwgqWS3+cuUJMJ2gk2Aml8eE0CdqIga9jpCPb4uLT/qRlp9cB7DpZIOSkia1F0WTjZtR+bj4BAIApLQN3VRKQxDT8INGKKZyITvs41kjMk7mpkINlAW39DLCJHy5mgRJQMJji9mtbjD4d0E3ul6S+CZzrNrS9NSK4ZvdSEv0QPseIrlnS1ar2GGP+ok0R6MT/KsbGbKj6Gy7Hvz4LVZA7gVDGDYfrUlJ8EVBqDAOcFzs19Z0ozHFm7PMwQECxiFqFHZTy5LHFDdIzNFG+5/7rVBmAe0HbThH5pEFl/LTdvt6YWDMQjXbsSsdBKc5rYz7V1xAClR4DOhrIB6ts2fwFX2BTcInLYVRKTqk/fCUFD7wbjL97K0FwiUCs/vOd53YbmZXx7Vd5mVphKrlOnvsZ0rJB9NwehgbKsTFKcRgIR/zV08TUjP76pSbkAsMVrgYlGuB4vWPj8P1xTX0HuuGRJ4yfR5phW0qjrBOVFEQLNKYhug8RueTwtsQnsrH6rz6aJSj4DlVkHvYu/oGEY61zlrrRzJKB1lFAABlI5FRaAF1akoUrz4gZRkjBUoKNVbtQaYOlG8eDkTQA8J7MpF00bJJvnwDWjEP7k0MRULnOtAaieKraojDJDfGnTfnUvVMIvAZxEcwwCOWQbcQG9Cb1QcvqwLyLrQd/dMTbVOVSPnUumzAvNg03WT0+crjamCG75O+VeqoIdqXYGNdbF/ujaLCfC0tp6hrGSHdlrbwe+cldhfazxFOoNFItcVPmavRwL1eb7yqVHFyKLLzZUVa4Vf+Cs7oC+EO9RCnoR7nWbXY75YihmJp5SZ590pFLH4RXYDgMVIkArUR0kAmBd5fcoswiKkRtjyCWshzdpa4YIOPO9va88YyZIWHKU7YASSZabWDQRCz/+RXN/zBy1C1cPD67ussG9zCBzSpfPm7pF4Ks4P5EOidnDiNPDE76o6jMkYJO0U8Lj3GCRAYJlLbOa/OmYxGvI+uooJ07a9ZC2BGtzBs7NNAt8DD+20A+/nhP6+odAZHs0IEOk21xItnnZf5wfi7Udui4SntVAWITJNPo685lqX0Jtql4ADEV6lP7Sxl0hWVrFV7LPUvpKjHT5F3SWI+mCcDPUiOoU3A/tWTOn/tVI4FxCOs77ooOY8rzqVZEDc4Ruyjd97xN9neSU0sKPyf+i8jtZaYoeA0ika563wD4Ags9vPaQJhmZnMHmLTQ3IwFpeBf9kkhS4jGFkRxZTYTUmoXqZCKjvCDjE/2msFiTr1GG1VPkMM5+MRGZacbwzq7dCR1mKFdvz6TbBHP00qpnXxbDzRLiRgSHgXO6LULbJWb0hrd4xssKDsQBMw1QX8BMTijTSMHqULp21zl5MR1/vACGCTNzV270pLSztw6I+DJVb8Nqpb4EcTxgwRnU6pxqHA+fwnQuYD2QgiWuZDvNQppxSwfAWRkj4kz0fdspMBo+frWb64TTSxrRaGm77hqPkVXkT/GuUoev/UpH8h9GC6kJvYBw6dEqmDHtWi6ycEVc/TPBQLj7rD1kMKftF7MVEPtljICB2xm7HEoNXShVXkBLUXFLEIhabUT2MRg0Wq+L15um2iCrjVxPm43uEi+SaVIbmHyWxpBg1Ta4EB2TTll0YAmr5wDxGv+PSRdrNufMZqcqB2c4ndRCUZOdqIhodmJI1rmgqjv7yYcAW/6S6cMxRrBTjb04C0nUudl5G/bZ5xOBD2AoCzT4GJqBXyZgxO7LwHlSQq7edBCSw3wxN9echG/4xR5gaRpHPrtsJ2uXErqTQQvZz+qC21hBDpVt320hApwfPYradywF6isoJzjnk5tL7xACiFP0EmaH4w+VUOX1JOHZhtrI0gtbbJITMTlItdEIL3FVrpgquehFp8I3NQUm4cFfHOrvxBgBIqcUXVBvPyWkU6UeSAN4YZzk9w2knxQYXeU2MWcizc4d8E8JTZcBq7WFACk5vgQw47MqOJ/L8gGBM51ddzyjQAt3sJZPAtz9kxA+GgfutHExq5d+BgMyNwRnQP7zqsMDsxx2FBjwHTD4cikTtvkJzrN6wajPvUx0v8G+QOxcz0sz/UZ9UST7LoWEC1DlkDftl2qH+E0/NJL+yanQJuGPtQ/yF75PmndMCPnt4PxA4dAG8JD3MnNfVwph+kN2bhIO3iNOTWCGAn/JfjwRDysv0UG4lvs3xeqN4UpmlyXzLClBgdA7rT8hYfTuIqcE1hIenhlQzVOBcbtwqQ0yzw/b472L0XE6ybufAeKMhForgVqI5qCPo+vNLjjtWhvvueRLNtrWQalonOgAppmoM5w3qIpa/NrlL3UT2OO3cOCy3w+b2wtOHcVXtOpza/Dv6sBCSTf4ow7ZAdKP1757zNvaFkoLu88xu5Cg2OEfYPuhYc7yhrg0T/tJc1Hhkucem6yUMs8zw0fSeO9G0v/NmV9Kkt1joida8Z90bTkfJ8cGvFluHcHZdNOwAQtSRzx19rMLCrCG2x47wQbwG4OqknWoV12sRhx72o7cP1tOXT69BIerLaF5VLwaQNUWniSKLii+2gVzL/MGVrt+usSOpz1ZlvYRQnSw2t2qnYHP84guETvmM0OHR1U+/M8UfFPFUGySjYyyLGH+07vfW33FXjUckWSBVNqftpNmxME7CZu0EL7dqrGhVzvvcuCOIkcHLXHm60ZYrInE4sEQnqSXj7iBp+gS/ykBb0XrHOm2nnHjIrnclWJzEMGIGaJHHlA/0+Deko03tFnLqEv5Xh06JyfmwrHsIq/Ppp9GH6xMGsOxYIktX4bNXqcbGZsTY6h2v06N0t35vY13kfwGkbJLdsr49f9E1qQPYbVuJ9G/5jSmVsMVd8W/Bncu+CvhpK2L8rJFkXa480ZVtOsktJGOLNJnqOZeR4jOmSS2hn2gIgb04RH/pHNy331d8hLIg7hloDkJmWgOK2NL6eaLpy6Bq306+nOtpaVck4V8m/a4yCcEVuY9oPlzNobN/AXxRzLmPZ4k4uZCrAkdyh56IQ4Yf+LZi2c9rOjOFHlKnoYVHw4WLBFIxZvm/Er7+pprOG/mu3tZB5h5gqNcrq+jH1HuTlkbGQBXJp4SkuvPT1GORMXsDVayfpdDG/pZpQpVpwZCvXi4kPB1a26q7+iEqrRfOvISxt42n/gdkccgnqGolhgKJTH+sixvcZjd+BtdbTEYzmNHc3Hryi9T11Ivh3TaJFMgMQRXRbN3rjWhDtgAeveCToYfUM7MnnKI8rAOOPv7HpAi64ZssJ3IQ6FhUIrTB9q1GoIIfmAFoH1vS1+gkrAbbMyocSYsmhhC5yablrXl9m1Rir05YmKGHvv3inuTfRwEf2R2jkIjHGvr1OMhGuKGwJFUvrJfzwEosuDNHZPBPKFdlZjutYzwzfAZjl8TMcma7pyReeHzg6xtZhugPq1yGtCSL86xuo/MmQoVz4ENvgd91p4sSx0809SSCbl772bRw7vYfxwclHG8KHhk4s0HjPRMaHyAybMz5aFS5C4JDlyljoVfcmdw8X6BgV7/H8cj43NsMnjhpqDSaVuyugfk7H8oF29RZjrMrp9+dXSK8UzH51bbo+P3lSsR1excDfmd3/76euALRo46OMvoYxfYIJDIkUhsWqakT+FgJRHodvKqwwYQeNPtXr+pZbxpXGcs3px3+Ucmu7iY91M/BFWPVEms51PJa2siZ0VM3P3hcA535o8ogX2aJOoGYOE52Al8LCAhl0uNGhpXthZkKfkhKeD9rr2KPJiNXCW0qn3lm7a+ImA8UpG5l7eLSQEidBOaMqhFVq4sdQ2rPszBPqcfMsIaVuV3rwcgNlB5EgmyezdFnZw3trHh5XEtrNBSM+ezjm/xhMCdlSYCTZwxDK2MuHoV99MgcnjEcE+IuqWOt9BPU6uzdcmrNvoEkdjIpScMl4xu+1HlR3XSaKi9n22Ik5KHRYPHUYW+L5RNOnGA6lTWgbzeUg06Q1UX9fEQlIESm5iljwHp89xpkdvWF/HYumbg36krVm8wws5qjv3nbrE0RYEoN2RCaLaF8BCeiyKUXxxK+Nhx/vLijMRWvX0srE0zfTuV/caz57EVUaVAqnEthtBIV9JQCGk6drXJ1mhjYlYKA4HooMHM3dbcEgsrokABZMVcq8sTdujweIhZuGTwKT3kZl+d7mTyv29mFAU6M2Yx2PZPauzSGzx5PtBlE1IQK+4O5v4a989ueauX7Ub3c3svLb6AkHlc6guFSgQitC9mA5X2vyIVvJiZpthH8rtjPbjuHQsro7tDs+6o0fNqZszuCTAa8YZOImI7MFIcR4QCmm1xcdD6nDtw3H1nIiUMX1khx97tD2xH/F22snSf7x/kRN+qZEDgThUdpZwCGCRyfGDTP5fr/3RerPJanlDe6lVeKtmiktGUUqqDMoRWNvPUZhedjDLTHSjQ8q6S/N9CocR+88MZvVOysHVg/wEag3kR5/laj6Ka2LrScz/+02lhYGcQJQHx3b3gAE0eF7446mb8fQT4Z05X15Jm5TLkP310eRg8rIthSz201ZeyEgAXaGDJNAQTQXv0Nno8aOIIxT/TIkApuvxizJLkEfgA9HiWEi5AwGvQo1g92ledNrIaUy0tB0UPB7pND2hHMQGy0lDBJqRYUlZrxlaNC3zRRwYO9Iho0wNlDmEuBxcmCQfM810CQwhp5U4qmW9RXotwVLzBX7Jmt7eKDT23f3DDzk1MgfaCluuuoo/xCvesYpcC2CqghAAd/4jvYv0nCIlvsgRZqwlCZRZZcMG0IwmzW9O4ZP3dY9RErmOQCZZbgo4cY0ib6TRsaXgYpCJEt5p3JO4eZ/EAQJH1UlEkxrI416w7I2I6ownblwiByljd6MRo1CKaa6j9CFQm/A5YDqcgwZ2pRS1UkAvUE6WFdAU+1++GbreoVXVBU9kRxQ2q71l/OEWt+DfUUpWY3NAiMM5BgJj13GUJx+J46kwfHiKr3QzoQvSaxT6QUGa0NWJHtvSxYL+PWBxNdQVjdgtvxTrOnC1SfECF3/27Yacvs7q6hjDugMudi1dE3SgaYhxVWpF6h4f7R3GueQB7slmqBDIo4XHSS6v4wvT5vbAVFovcb43Cml5y67lEJT0MYIggxpkOb48xXQuFceDXBWoQEUr+V59a16kuaiIFrqShvRarNH7lxKOADNcbTokqT1bAvV1ZLAVnj4Fh+y7/g1+tqNkQDaadh5qjtV4jpHd4zpgk/z2eI+KnyosEshegomDZizhGOh9N9uD/1NtjJrSs+tyWSh6kGvvwaGv8kHYiLmowI+JAxEGta/a1cT7HfXKIYGY3FKRYB8pV+kpbzWp3dKUHJxoCKLw575QYsxlRWgMHk2Vyxcu3x+MbVBINF8I7J7x6NtT9p5ZKmfFWjQiuMp+jzTQcj9wivehtTKbG6dpjhjvFR7W06xxAOUS8Txl36OJKi9THR9NkvPcPx/ZNKE93vUlylHuy8lTIcWSEFjYiJLPNnS3lYTuZAgryguYrq9W2Dz1uMVC57FG5n4G+uAEmGJz9RVBGIsgNo7xoHtVUbaMXp4i5hyQ/+F0SN2Rbq++DX9JjLtZopIKEvHA7kLRCMSXv+SB+lV+mNMH6HUOw/f2wQ3OUnMMMZ19q5GE6q6ydorskVIbQsPMj1/Wq2B0smNTl0p4qlsG/yNlVtEJtGy0riB9s3DtKcuMq5b1B/+lpIlTSDXB2PjzxP782qIitGaqqSaZJKFzfI/ATjpVr7nVmFdtp4WvvU/BM2F3U7oKZKj/DzyzTQLGL5frduoJRSqvu+DdatN6NgvN/rGUhJ4R/iYl0NHPz35LAfVVdLbf3qrQRjkfFn93ASIc3AcN23QpRSDnZ5IRqmvKXdGdWETpw8omo+gIO85IGRliep6YtDEOcODdguoBKiEiOcPaWy2xBxljBFiyjVhDdRDa7lrRokFFLDSWqcKG9jt5as26HzU/zis3pQILAtGUUxa99ojjx1gOVw4S1K+EU1r15pph9rAljQwNsmgHR3+NDOOWjbQ2VfiCUftJ3jsA+9NmviVxKq2H4oO6/BizD/Gms5Gj0h7vczhrIZ4uKIyaJ9n23C2BnawZs61DdfTL24fTNeqTNWv/tEsV92IW+YzojP5tirBGfPduPt2A40uIC3NJlo7rU8kb+fuGKfaLwx3x6v/nLlWh+mg3i9wQcChZXXFLorbdVzenrlHCazfkM6EHpNGmE3JmYlwb0C/DzApBpGJXCXBIy3TZiyPEcSRVfFAEa/TNqtqYqXgUqZzrqc7fQ3AqOIXI/ad+syQz0diFg4ySb1rZRmKSKb3t14OuHakwtqasL+NT9TQfslJoLAp8N+VrxZVpCj/CAOIC4iggQ02q+h+vkChTFJcC4R58mUEYGeZSAuC4SKFmX5/JWJj0Gk6oosAWtwaFE7lFUCKNmrE6LpdDvuIVX/QAncQt7Ak3bxyZfeY3XcVTsyv10Dn8sKneWaNWWqynGjDg8j1YKpxEAoRaL9O7ux+I2ArPhMEo5Z37Zic7ULmg1DbQRPwwH1JAknA/dhDpFyGFia8IeoI+yidLUreUbHavqtCuwbr1HYtwLNgjp1HcrsR4/J7+194e0/N0CEmTMRGiDDL7IIUoUGIuZOhMEiGVXMcb5EWgPNIsEUUty2oztSgNj5itz8ECdbMlV4GNYDuL/AhOmrDYFpXiUN5PFHGmg82haY3LdKzVITrLxKfPNp34SmHWWmpzR3k2OxotXf21N3JT+aQhpxgu88ds9DnjQOaQtHp8IS3fy4ToOCEn4VKdiK55dkk4/IFfMYDJxT9OkqxoE2kfAnOe2npGczEsiaQWYdlpItZyMMSeh7a3s2X0nl4bwr4bGxihsW1aG4HumWMqhXbtN0wwHkP+D4XGjX0HoAEvLM6Q0ou3e7ey2JgHxS1DXc7mn/Yqi9F2j3z9up8faRdCdqY4SvWqJpijQyqKN6dqQPkHPVSDVSzIO00pQhVXPM2CpFgNTReLehJu1StRb0t/9iw6zMtz8ui62l3WUtgUbcQOsXiLAqBPVehvEIxDhrYGOnfWZYtY1s9FOqVIqufKMNofklt+62u7PH0mLAfIqhhL73Rs+FuOFW3Y5UXbX5ZJLF8l4dbT8yz0ArlT2RRwls5tXPIOs8I9L3DwYK5ZKaOcLAfVh4L9aXeqf9necz9bySQJ/KV85fEXvR45XiSpvh7O/l7iQK8NjHUI8h3UFH6Zl/5pzfKTAZa0sfpuyA2nXPcaP//W+8gb1refbBIDK6ZQslMljC1AmkNxxa9NjaSqHP8D+Aet5ZVqDJV0d6WsMGVqvZKNYvnBjv/R/+WsnE0/X9g2vhdlABJYTMPjlshiJBnhsNSHl3alI3xqiU7x9Py8m1MeaXfoNa5HN5lTNPgm7AimwMrSkewURLvv1FETjGre+oOqSTyD4bg0MM6nzOnBkXBmYux8kq/SzRuawkbIlGea9wPmR9JzDpkVBawVDWKwAn5rValg1rTCHuzdaIk7A43VcnOJqg64530rSHquYeMlcbN5g1qtVGBFEA16hZi3oOIg8g/zsBtaYB4pnZYpaJYlPXehxiAxH0taU7EikYr1Sv8aU7Ma7qw0CYfBVt+TVcmwGQZmg+3P/CiC8iz9J99amj+U+EA19ReyecRq1o+C8Rfmdfsyy4V+fcmgfcbNWCTjjRZPoJHCWQ7s9Qa2d4ZS8ai3BjAFGqfN6nnTMzNCsTPX99BOnHjugLJpSCIm8Nt81QQLhNiel11MTzfkzFNVyljkDBS3gtyHRHrq/PalEJsI+sxjF4MFitai5j2Ksj+c5nzdxNMWJ6lF/4gbapT3tNGZmAEj2XgngYAU4xsBH0HFcUOBAFQYfmAezxzoCf8D47tIRYCgVEBp4m+XKzthfzaiNc5k8xfUI+WUFREt5mZE/Lt4vKCRPNqrhYYwWih4rQvNqfwsRCDhQG/IGsNxtu9Y7bJueQJ9ieuMGvk8y6zAzusq1P5TPcn9xkpYyIZxQUtKFuZItDdjKOHMyDUTogWFtLTDxdg9v/rPMt0fPkoqtPahXkNrVXHTqVEbOr7F+Dqi8Iz7IBczRfTVR2qN/bUD7pj1MiWqVVi1WeI+519hyXoWRx7wZWzAijHIIn3HoSjLXrz1xtqSuE/M1QGJ1uRqkBOuOKgPHYSU74aydmtvaPo11ArIMg+gPzzeQG/vZRWuI32PVDQEk101ey2LtboujMwo/l/IpLKqwB/6L/DQny6IMPyw5QvyYt5Sa4Chy/ciWrpbjHqbF4lUrMlafa/8DPsUOeMztpjYgZHroqN7VekGi47rX4ZKcVN/Fj4e43QFXzURnWF0ETH0J2PkfwlXdzGAar0ettNseQPLOjLGJlBxVNfzYtYUioMZ4Ct9MoNbqulc/MKFyc9GO3cgzvA3UBIQs8opRN5z0ZD2k22foIiyG9g0jac4Wd6WxEu+w67fpIJ0GmDS9lo2et2g8lBhmcj5vpmKEhi2SwMJ7Goayu/x+77epo0ZyneI/IkyLavMxlkZDkqeq/BN57s9KoaHMp6cJPNRAKg+RBxTy1UCDno+KMiFAbzUWuuyteHV5omxyqgpoxP/Aa5c2aSbXSERl3JzwBXdhAqNKwWmCSzn+oz14a6EqecQD9XBNj7EnywqBZK7QIxqoVXqBHdSEXFH+8ybttTOYkQIoTJXixsgsYlOqYLTOsKfoDp5nI2aeS2FQJ216J22u+4dJZSF4+kBbohQhwZoUVCRdYQJTa0X/mBeVhFIi2e9iAOqvVdrOMcha09KKvzYcLRbKEiFktF+VsirxinPsz+EvfC88bMR2UrOC6ENfxplRwap2jQ/rRSz+FeWLQF6EYhPg9Mhsas3NZStOKKDy9UKz8P6vWVwX7D919ftCxtP/3Mep1f+Uc56BGe0UlvlcEnskbpYuchC1+hDVu8QfbORV9T4CPGtqIGX3UGDNKclDBlqn7OW2S9ksyzVYMXN5imG7Uo7LAV0Ui33bOkSF/11Javpjkei+AmoLEm/CP8kWq3pNZ66reBNYYTSEZji4nQe7+BZ0LsUnSB4CB3kf+pzyMfMX1bNpUIiGm7WPtnRZXFCyvy+77p1KYslLpaH9/mDJMhs+lh6LNkoYQjx6zDVevgBdoRdPEvLwjduccv+MzCaZ5Jy6G2NMC1WzkpwKa87BozteCFdRhh2FAfdFdFC5vryYlaFspv2StpM841LsKjEEGE9Uzdr7exRZ7sNiH9rCwl50EN+WNAfVlHudQjvdlC1yVydAROGeZq4GD0qop9o88oI50gPllNhZiyXGoOhkhg76LFE3vJYn6/XTdcI11bQWOOtIWiJY3T0W7XPPHx6oPMLPV8mbqflw1oQJFKu7d4D4rv9Jc3zscp7nKmHiw4n7r5MuVjyn90btlBCaR2wpz9Dkf71eLwFiF3iVnmqRBF2V+/AuXrnRnLAq8hY3pKe9p7fq5HJgM2Ot9KMu6BO9wLLHb9FpnZEmdkefVKB65CWRKCrljcHFAPNhr7HMSGI9t+Q3DlQk7rKjsDel7VSGS3rnzkB1Oz2QHId6R8I/sTsLVNrq2O8xHZC3sxAMC88aCje0RDmtMfsLCbICAFJrvQ2Lds1zFHGW87lRxdU/vgdpRElzIliJGfDwL4jfUAkpO3C5+bH/bvbBC5asc4l7GGZcF6MVdb2Xibv3Uwk1zO7FNgwelhmqc6Y14N1M6qcnwCuS+EZCkcGnVlrERjDAyNDbc0QNNaQ42gg2fW9/6qiua0BhcCfUTzQu9ZSfU7kGaxuAXnoGchSSvK9fftkBlte5fdVZ05JgKfgPLClxOVqYQkRVfqC7jsaweYYQiz8+p6mCHcnXsGH62qjhlZjvXR1RTmXYPUqvRERPKroZfjSAq7HWmRfgBFeWVPYlqLztq8/OE4s8PDlkgJY+y+CcYO99A+kDF9m1tMtqhkIU75rNR3Z5Lcgu0ooRmKihprukf51gww+qCbXm8gFXd0OUeCeJrHd3SfZOjIRpJNWo+XDN58+46vUJVquBraW01b9rIgLz920SzRJ9UmlUUGki95aUL+acXiW+AuS/P93+lJe033k7N+ICT7tILTi2X2nyKuUM92zo+c/NVZpQBBov0o2+J6UGtcA+Ogf9kyDC2H7RmXquMp6QW1m+Z8CuxxvoOhegoJ8rI711/m7Dg/DoGvUTa5yW8LUE/W00e7Ldvpu3QWwBW3O1inapRfnylQcBvXLozLm2V0I5tC7pZzXIxet1FZCMPYLyZzZbV06HZuKx/zXIVV6yRUOfgSdG5zYfgqPIPLQ7q4d5dpcmhrTwOojClfE8PQzZuqGDODTTXn7t2JYu05g+cD2BRkA+cTR9kCmkAePJK72XeRSPs1ejmQz2YTDVqXeWkbIIIzeAZp/h8aRXvcBbgRaRNFZHolM9naD1Tp2Auu5z+MoCzSGCdD5dlk1AK7Zb05Xw9nqyhMDWlOPEJLdCe3g/CWeblkrGgLTQNpRIiVqkLQlRE+ZISGyJ4bGGvC9/C7SHEDU+JftM/ik4q5sXRhUEDq93W7TaD1FIqY3DxQl7xmyCbP4R6OsObhRzeWD01X/YBun9GRTYu8aTPLIUOTKOs2CHsZ+fkz3mFHP9oHhu3A7XegIJy8VcOs3ZPKYYAi4IYQK27KYWtmrEt0maccBT8Ahnc0kQg9n7tfNr714BPirBqKR3CtXI+amx6HYR9Y+WQ0OUt4eRoqcH+r1H1blpqFrOLIdTvw81asxM8/38vpm4oPESeacsTg+c2t1ZYSFvYsU5aEKoTwKj3cdNSQQXB3K4TF+mhP6a/Y8EQTMcdZxN8HS0K7l81Q7GvnuasAjqdL5FDGiM1VNSa9o3buOrQZ3DRSDZV7HXuR+XFQHuM85ZYRZ3rm9UykVYyFhMg/ddAuuDSHcZurceJIvZUNX5kAkw3aqNwp7rBWO9DYGYwMiGFQ9o+smPr80WAwK5RHkX/nmWOylCzmKECyooEk8SmXTth0Pr1yxy1nK8K8v/K2XW9SCabe+GtiJKReMAlFGcYzCTKBs4nD546WcH02YTf4V0n+SkVZAs3Gs/7ywbI2DujAS9L+IsXlyMu2F2f96uEjZTj/JAAW8lS4vmV8cq+gftVwCnFfQQKanBjGQDJeg1gr+y4QbvjDmvC8OVEYhE1IBhpd2IWHg2Bm6e0H2ksO2/6+Gmn9hw0liQojzzTX7BrztXzttKgdwUk6Zz3Xt7bvp7CepWkYAqEyPimXupEdwAJ3rdKksrqls2/OAFo5G793ocrPZ5y/A2WBjiUR/4uX/rhZf+v/6KiZagbnF4lXyEPbqk20uYSb+j/nT668725TmN0AHwcJvIxL2xcx/dKHEPv90/k5MCdI6cBiEzLpYmrz7yOXa+z22h3Oj6f2vXBsX+/Rnp3kfP7hiF4+8cg9evucNooxUniRwHWH6U3KwEqX+FKIqvxqZPZ5s4PUORhvTyEhk4qAxtqVwCZKzYHKAdzW+h5ueNqPUCeaA1YgKHLirrQ8xgX0Who6AV361HROeTM12dUo7gyO55Uklwrk6OiZemL7zE4Xs6VGA4+epdU6nmdgdrOc4M2d6QgmjH5pHTsD3yeGciuly9Vc1HgFYm8Pj1tc7t6ur2GpB4ZBjY8HH2FRVFad0J5ThnewkiOU0A8wqx37F5B2HqseF/vHszWAYsj3ODQ163qHvBgKgcgvYRv2ji3LsaC/cMFCl65aFvkizGSHAkIBRmZtT5nWP+dTBgSJX0sznovNicX07A5c7B4hUSZTzuw5MXZWpVt9L8m+VKJAyNIPPEY0P1MLW8k8OhhQgBLNEXE+FxgRBP/dar5fCDmMY8ObGb/ItNFcXK7ShEF85LSsXaXVlYgeCZcxccYYNUhRkiTTDZErGG3rqpLrMiUrppqJwJflxOzkRTyTT6byXtSXoFTmR28/+gYT44QaQCtQax0HhbKAHTQQ7pbmlvFiea5uttm4lzswo84Ca0UxHCwtwBH/iRmFl2+lyo2lUqL72aDkkr5XXbMj3JBuHF8v9/wUYKch5eWfRToop6klaZkV3NtC0bJjDfZUoLBbTJzN0/lXDafGjKuVdos1psPmcaCHPeKLNcfCPynRYo57O7P16ftsYKAgOWz8sq3UhAklHU5ekBLL7gSURGeNJIfi8YBl/l780Zhe9WerVZMbGv+9swd1uNA4isGdDVdRNxhDJQh9qNrx0FwLm0S2IXbTPMqKnSUkzx/XKKkYAHloi72AMIM2OmAygUBlb4iSgqKD2/8FM5csrt+vz4wLmLF269czUAYuIWCYYS/zGPAJimCUJqU1VHuY/XXuH5iFOcoHuO3mlJfshfRFKFO1LnAMTupRJptzrUf9IVFEP+fPLWesuVx4X7S4YGf9bn4uc6unB7Cf9JzgQqk1SVC3qxp5Ih3RkLNagOlQJtTTvWgM1y7TR4GBeR+mOGaW9zNCtir0ZVjZrI+Uxtkx3aqPRT+KGve3Hct6ILm4Fhr+03l+Xm0lCblqDdhiGE+LApTgYvuTaRfXvcIAsKo5FylQL5AXudPL0NwR/otg5UmCQx/lgbHserQuEUk6iutkhGHNS4aLIxCYlZsjfdmrGHafy/1IX4RHa94U9veDYDtq5GxR0+De3M/39HpAyTEjFrAPOd+2ddFse+bLUmhpjUk+ZoHcQyRFE6b5vaASYmMs3Rucyxqj+2hR+YVGWRjAKAaTAwmBFvqmUaSE1Qv/M5nNlGiwIVa2qA2FrYSfALRyLzUTiBwDGl9mjhQIKtVSBAmGiyZuJZSL8aDt7meZv9fjAFHZFiz74ddimK4JpdGczYiuHofzm3w5foZexOmIpQv3ZWjC3eLg8sPAmhQfVH8iqE5q8lz4K9JvgoD4N4Jxi9y2AWjVqkC0qiVe/O1RquyoZmWWIsNTF+w/vXBDzGtfySGZedn2H77fqWHLlijmfDeUEohgEEA6Y8k49G/LRaAI82Ljyl4pfS5Rony/Kf+jmRh9gwEu44cfoAXuS0CrbM1RGAS1UqBOTTobmK6vpAmHW6PllP+gQUqMqz/E3ZnGnWqzC4cbkZ6lvW/VmkgrCeVvwvqJqgWYz8EUSh3vb7UhdTv7Db3kIvX0PrWIPkvcxUUeR8sBpEobgMbOLSEPWLLoSZwtu0/l5v+RTAUETxFo23AV05Ta6bXyi7Uc8jmea4xbCOk2clv35M9UsuubhmDONClpi+HIYuBlQxCm2y7fUXAMtid6RYwqS8/j90ubn4Loxfo2yw+ss27gvdjG8fOGLDU1+weNSe30oG56ai/H/9rJ5Ma5jidszE9EI9JAjLrItdd/+FYHg7dTp5NxbEmqrPhhzO0phYAyFLA+7toSfrbD/gd9ZEog+APhNRL7BM/59+kHGpA+QOrwOrMghw6BibMblUH/ZlYm0WiOCtFsGFTsAd9M7JM4w2aojnSs5gCt6ABcxC5ftW3ZDhOjVRkdo5QCJS7Yx5gV66QjD+r6lPQD2gJ/VuIgdwKGJDd5cb7yIQ+MwpGJY0umhXbPpwneguPAXSWNVX5WIT+rok4qfjgcJ7BqrpkYFkLKpmB0bNnf6Gh1ib0MsAgJzr0il2T814R3t4DqSIHakgXApEBf0efum93IfK85yF+/K6qMP0zTPnW4hG2Tj0VKQiPhTLEklbbtDYVtOyuBJ4R308xng4MsQXha7QKbTomHIypbXbIMMVP+jKAhxuZVqEzJXzWryoU8SHeO3MEMpFJnA3zp0rtaujgFPvLi48VVo4ZiZoh9eae0ldy89MQ1yGOkdpc4jTkbz8H1v7UKNesjlwgNqXF2sBB9zCz7hp7tXBomLFMXpFD+rQp47h7ZEZt/3V1ys5lCF2ydGzV37+IAxN/Z6lgZIrXc1dlJggVVdkWV/+IU9bG0gHNs+uZdEqGaNlc6+t0a1oYNS2IYKJN/XDodtEEnddXPr5f3uOJAMfG794Lt2B8TfZ8UWuO86YKj2TnXNxGfeh02aGhf+hqB9O1YmlPR63QyTT/kjSWWXtjmopVYztIa1VqH26kHDzmDeO2VsZUqB441VLa+lw4vAI7Xw2gJmAdDsDvI3DnlxlBVvL688KibnSVTN63fU2sfrfvRjZRuaZxRPCJVlr5gU3/FPcDEpmE6k4QhfWN6BrQfF0YvL3hu0mfCpTbraNde5JptXq3L2vEhgE7JEABWeWTxQAnXxUl7L3gnPFC7jS5VlmTYk+W1FR5GUaQ8dmcEQa3e+bBBaZA469gVSu8vDekjOACx80NbAsaplF24gvmXxcpc6EC+MVYUKuA8LXgX02ae3aIy5npVW28lVEEgH962V3QgSirBbugKtFjLdHVl9gG46a0h5nKRC1h0CKddnXigFpw6CemvIglgCkdrlKdjTTiu+eIkYjcvBkQs0ovNg7teGfMLeP8kee442N6/J40PlTNbRXfda1n0PM4FX58JSE25oP+rVaQIX5riDQjs9fbhppXFk93IETGJ+Bfj9aTIO7V/ZhfQTxD0OfgFK/ET++IXEChnH/ASxJjy6PhN49tjr6BHfTo0rPbuRdVOGQ4PD7Tu3dTTvxwFgDjPoxLmmOMcbNKP4Bp3Z83Y0sDU6O8wZeKuNSvfEe1A3duKsAEisUQWcOWXKKJhi48FCSwAiI3Mm7foGa34jZYp+rZ7Bcy5OJrjAw+H0BA2OEg3HI8aCKrZfRQZ2/7n7uiRa8T7SD3q7YHTYv4OmA7dEXRQe/lXFFu/mOr5FzXOISxCdrOExC3p2CEgEScT4VFTcpdU43EkNiFOl7Hytzff5HHJYUh9fVuapphqhAgHs5kub1odePaePMK7QNaoinZHf1SKFldSiiITfo1dEtTvlOXz4ZURhYZiQGAtCttHG3LoXQ6qcRr2gosRa42ZC1vy7LZuKrx2jTs9XFu7i5RpfNNHqFc6pILMvInhkBPv9sd04zJIW2N7uKXtfyxATuSSN1+j0zf04gfVacHcynMpG057YrXWJTFbwLIrP68PoINXWFt27Jb8nW449YRNXeKWKtfH55X8gp50f9nuFptTnL3/pfsfKLoUfOKBJkyndu6dDZmf8XJIT9UJraTfoAUPCRK0oIlYNdyLoo9PegVpdXwuemhh6ZQ2VkjKt6870+6Bhklq64PRjG6jIfDNLXLfO74lRvxYqJXSAHrz0eGh8bgGwjdkMMg7Jw5DwDrgAbbrH2OqANITI0IcjrL6S3cXivz7KcWYFptZOeeABazJQ2Mv3TuR+LhLESzKoHjzfHreseIooeEHE+NMfawx7CGhwaF2uhw0qcQrjgPAe0lzwTRfEHMLYdPEqeRDIM86CUx9h6oyPhqpiwf8QM6RBKGwdUNSmbt/3ZznlEcKcrAzps2J6SBRin74fXuxUlt7YuzkYjaUwbwsMXC4b56c7yazROQJX2FWXvMQngJX8SDPZseCflZWaVE7OaE+XacWsKWJWcnWGjG1joa1ENHCy1Z4iPxTuA8p3E1jgaFBOfVRUDP+zmO+RU9Kb955pXW3nlToEmBZIW7WSnn9gF/INjA+gi1CN1LRgYmbCm9bcbQnPIigZHp+VHyohgk7Tt9mTA9ZMMQ1zSp/2u5rgWE7BeCSWMN4grUpSgYuFDhkluvV7RpggfBSiWHBOoY6h8Tm1fXPtMOBGzqBv/erbJ26Gdr17PIhARTZd93lW8LKWCpyNrEYUjrAYHEyTwInkBJrdo+5jMMr4e8ucSEy2Z5OvdhBOYLNNTlAXxW9vCAvKrNB5oG77AkErf2ZyiocrKNZ4TksZwkNO7dE6GB5fbw7/6Au2aCZKXw5fNnlSkot8LyV5xEARvGGKT82dObI0FERhKE2vmgX/Dmisast4CCKxs269ejcUe/NiUbn652v773/y4i4i9rZzyJPX9QJPzHSH7EEpNOZW70BWBvLas0+qvSlAJVgol5qaYzCyb5ky11rwqlAJkCQVzGaOmdjxs3AiApIImRPZjrWqVz9C0GhN8lEO+R3wrvX6CP2Oi4dMmPeRmtcDU1m6pQSrPa2pAFv/K4qzg0K26dtXNPsvnpAPM1Vq3Gyh3Tox75a57ZO/k8b4/cSnblWRMFRRP01w8VKKmi2LLZqTASqkSwE1HKtFRRFYXpOLNOgx7xGovqcxAfKcYaAizkU+r25sRDfJWMvVdcouqrAR4PmmlgGeF++iC7k3wuM/3QMpmJPoG+iSTcCV4m8zkv8lweoJJLKOLZcR5cYk/5u3P/78d9Ghq9/xKeHal63hYv7ez8jVBhMZREhwqdw0zwFnluode4Jajr55+yMFPQ7uiYsHrixat6Qoucjq28mVx2WF7xKDjndHyPNQF3oGLuoqOtiRlkrzK/WuujMWVImZCboLH6qwnSJUtjAzuEueTo9S6vCeaS8CH6GeKk0IYZ6l4Z4/73JCI5Lnj0ss8tworcusiebBwqGtX8Aym1R44Knlt6wF+rFVD6HpsrHDJ0shtUxsNXXcluT0I6dhrMEVN5+1FYcxa8lCn5gsgf3rr6sG+0GIH8TJqBqQZ7RR/R1pkfhcD9bdUxanU5N1Jr7L8lrxBLEtPiUXkvN6EzpTz3kcCDY4bYW2N2Lce34iKk+IfaqgzYrCiGUz/F1Ea5s6mxyVvqRbOk0EdD8dQ5tBrZWjRotDhowDTkHfa6ofHR9i+8bHZ6bMS/XjCGQgt8ODT1p6sTa1XMA51HEBv72F71kU+ScsP2dr4/lY411LpAKrs8UTYOdtSsA8th05wyeviPwIug+h99e2g//BqlrGOCeh87dpj/iKt1UeuxJ//laAWy82eAbQ30dFYvh0PHZQd6kNbjbReyS2RbZfwQEUQm2tEWvrbzCTmpJ5sioR3KfJH4FskGKFbVnoKniyyWOjjG1POk2lWLCSrIHUdLZsfkMkoKDqaGvBDduyHNEW82NX/QuQT03cEjYrppQ5C1gtvErALfWkLbRw1acG5n9wNC7iGu5BeyBNue21jHYzSATj4dL7cAmTSLCgU0i585frOV16AuiuP3arVTFMh/VTk9t9SLTFCc9b6sR7zBGWTxE8Fi3ge7DnJZ91rImCeWmVym4OIoZKd7I7sOQwAtwEeDOwBYdKjCx+2B1KpsKUf010x/5CakJEQyVMAmAm7BQhPsVPwImCDovHRt068gyuwNrEi8vfP5XSZcw1+SstEWcoOkouvp76MvRCpSP7/zvOcMpbFNDHIgcID8vG/BUniqnJoGMrjcq1EQxqElFX2hJ+STAieEm7DQoVkA5L+VV5mBFVibMOgnDIrrklqkpxXv+Si54q0uS1zkFylxSrK3yFl8rpG738m6lXlL1irzR7TqVtkxieha/8opPZ+OVyWRnTXFGBnEA7Ap4v62vt4dPQJBFpSYd8CLX15zCZ9jAhOwt5F7CzquRjyXzV0p2npvqMkFrsSAKYJ3hhcercU8gvrCIVrvJ5NNM/ESX2RPHtc5BChiv8vX0/xjHTuprPysegNUAiOa/b/oMhKJ7j9MyZgggZYQacygu2HYO/Y8+9UbOSU7h+xvk/Iat9A6yKWRjhQKKhhB/NIQF/NXQ5ce2PM+ay3nb1zmBro6KRpufigEwYuNcsLPWmL14bO7jd6fRBhq93tlsEoW8wII+Qrt7Ch5mm0GQLvYwplMvpC8KzLP3gXYhIhU9dyGSkjBh+Aq5yT8cJ8pfIqiYexSAjX+anICK7CUQeYwboBUJwHMC8LaLbeDSj0Gii/hqDOeirYvpgUq6hX8Xx5BXJ1Om14xe0A6DDJSRcmHD33MKtVUnBa4O9Y2Imvvk4WZhD6K+v0oqZhOKthXNQzMXhNkIjzqqoorqfbcAoQcI2TgDijyX5QVUPH2qIRRUPjmqIre86I8bJGk1KN3T6Nbu9fJ5euFrCOXsEfX4JrvX+S985lSzD3WWskUnnstNbWtFt+KgJFlsUK1XMrLk4uU+tLk/bmAQn7j+L0xtZDPDeJ0WwTE+6eR8RlG2QSFeTL7wBFu6AkhCNYeVijvEcctB0QT7pp+l4t1aziWSG2mptxE2hiNdTQ4eXngrudr8YDNsopm6T5A/cxpTRKHVqZfC03HhijcT0Mxo54X+kxS+d/GsSlB1TkhbgIZLoS/4q5zqeU5m0wYf6jezrtydiG7F2ukFJzEm46WsToB9y3cblEpU5PclSdiaKuCddqiEEF6P6hgjwYCuU/524D8V/o1y4e6BpZCenNp/iHqR6lJoi6I93jAFfNZf36OzNkWM+9IhCDRrKJmFlTuGtcnUxD60/BQtk+ftHHt0ubPqFRqXiLa3Df38Beb2Sk85TV5glMJtZCr+VHqJARC/s2LnjnPyNElqhLWzssgsT/mxFcZMZNqpmDMZbSALk+u4xedR4cjD/SPMPh37G52ZstPUtqDvkHVN0ws/KVnJdcL1ivlKNdAJCAcV3MTgmF+B6dLN/4S8sENdzZcqLHOBwYRohr71v73x+cuKcK8xyB6cFkWdvU3iRdlGi7LHRtvvLuD7LGUqU9KxBIKLDcJdWxGgvkWE3r+U0plkZ8DzzOC0N1Ogi/MteWnEpsjReHS/BLCKTCJiSM/1ixuzJjzhTZ4Y1+Aa33DOe3HVg5iTMo4wy4zg6cpiBLMqpO3OU2k68VafDtFkp3OI2rGGAGVJRv5DqxpofaoqMWuuEfVa+sNu+i8ZEAJYjgp4TuDUAEZJcsfr6cdw6EgrCsY+eELLqzbCcE7FbYPOWmzzurDhT1o1Yaui7ros/IumLLGQVP9P6zTp/ejC7KmWBlh0/whVUPL/kfOXpLls7d3IwepKQyMztr/u/gqjn/3Q0lrc0as6rZ0ShygpeSRWXO/bvkvSSnX9FBdHSUrIP0yaZUHmwar69y0g66XDQB+wtEy3ZlhxtKeHNuTyCuSvcxX48WPSEWNdJCQqL/pXjdqYlEtUN4Ue0c3RKQFQA/BbZnO0APzp4ZpLDjk0mHLmM3P4hZ+UkR+CbI6tP441Q4lcmSlQwNyKMlpgxYT9jsJ3rn54JEUliGF871CgiW+/YAOcfsyQgxuoykxtBnizrONxUg1Z5qbKd7xehjc6MHurnRWA/zh5XbVmKsfuLRaTKXRpGNrvAw3n0VJ6G0XbmHPHv6z+eoCbToQbgdo7QxKqlaLSkropZMhc4amFaAJnGqhk6yQ//fWCR/n1qfHqzH57xic4t1AdLwcVt2ZCWLGUq01xULin+hTdwFNE76fdUGNfBt6qbDmwp3RafX6g//qHqfW0BCHbsT9GNooofbqgUZSpf8gUyX8SQv8vQyXqQkjh5SGZTWeP5vl0T/6syomxng8QEbk3wWsz/RhGtaoaSfqflfSvvqEWquvH54TptD6ck1gMd4JcYKI9ev0BdC4bp6dKIVWydx1ov4r8Ut/VFt04vCBZddZ0edTc0wF75ZLChZLpOZBYvI+2mPdiB33cZ0DA6gmVSEvbNzZlnK0G/qg9cscy/oWPGGONsCDXD+V5kQ9lat+tf1f8b1CpgmGsrcckAk8Eh3lmWq32XZxkDPxD9Gw87jHXoY3wlsbSxMDYEwichnovxp1N4yuQo7hEbEym+EotQp7HETar6WlY02ONj5Imvg1cZG+geFLaEYPQhGQPpY9YdhGm34NySMudxjoxTwHo/sWNORrXSdguN6gA6rQw15HHmm8v8ydgu+TGXhTLaD8x+zprsqR0THMpTT8WJLIXtdCljnMO85oVBpP+MlGyIYAqIyThWDg+CUAUWDGg3LH8BJDF0dqvyui62kZjdnCS8R7X4jltKC+4rnrZsBgBbXHw1hUO9t5eZSfqxgiyMocNF7glMW1ibgPJZihvtWwF+Q9G8zBUOkCth77x7rdRORI9DdNSfE1hA40HsLAVsTE3SW0Zwt4w+9a5hmcXeEFKb6lf8VHiRo6s+Be5E2P9w2JNoyBxGH+ofMzkLahfhenVKQmCgAGRNLBIFztQUlp7bDBnLjq4Af+L0STE9dBrIhSHRS5sOrgLKpPvo083+pputuMuPocyJo3Nz3J0tDGZdw/KEyHOSVoMjHxjft6v8dm5Z0xkT4aRJfMkw1g51BLMilt2SnqvQzeHZCaU/1p8X0fC1Yznt+Q8JHtsA3GkmFy6Bvayumlumx/UhmX16QZoOkQL5Z6TltuLUTvFBAA/LdCCOy2sKCPZFzMLj9TRG3bwRHOPZyQ+d3b2biy9qoaNANVzSv63rrA5WR/TIpmzOyVIkKdN6ReUozkY75Jx+NALpzAs+YtKoifT1hNqriwe47Zw0uiNw9WBLWB4OkQjy5fClBuflQpVrbAkg373v5dEiayf5JspFlYPRvFjEi9DtDZYFbp3OKf1Uk9TeKkh8TrmCX6gTluMEcygBsqwIE3fVsZ/wfa/9G1O2bb3t4bPofdDrCyQxHkjam//5uM5hiaRTHJdWJqv2sVaob1O0PyTpn+n3NaQ437/vAdRINHz0/nDq1XKM3+aigNF4iSvANZ621GlOle87A54vqvCRbhzdz7XVkhvIdQWCo+a84idGrb9JYuztPXwS/ucUyjRW5YfH0ybUwTN/ti1+wT7rUjJbZWP0r2WSnqf4nq9RwbgJNGc8cHagQMlnAmG4si5VQb321Bjz1xGXXqpRwr4zZqGbth68Znk5IRxaKAB+EGUoysE0i0phLHu/5c2hH5KcNyz7DKZn3Hcu1fFv9vzYL0wAllmylB0wxCSnQyII6lDrBVhi9bSfkmb5v+xt7Xado2O3IdLVsfDS6nrSHJN3esiqTQy8jaauPKxoNzdu74DzBe17amcuGrWKH77OemIGeIL5FHruTOHxovY1jfFdLVwST/j37TELumXwtGsaNwdL3dRst0DTLwMo6cW9tn67j+EZE/JWc8dpScVbF3vitTV8328KXj6l2w5BzCSorZ8UiKXneAG5QQpJxHmtV7sheDBVedfXRtHClqey/8owUo+UJeH1WSZi/xtQfmexB+gLROkmnIDF0N9UzLOO1dL6/3e30ElrqHggIn7DJhjyXSBxVyrvDgyxBV0iIF4xBSyy7bMasn8/1z7qcwYngb0nsxp5NDz4QAugYP3Rh0poUlBfoceJtEmHfhHp+GmAigPRUs+5AlXLYNeAaJkevTOWUnHjir+Km+dh+wCs3aiD+9LQOynZtx2VWVOCXEPzNgtv4DrBpmYmJG11JqiRrMjo9hUAVaAsarIe0lhYx5FvpujwtDsJ65wh/hRdSzsIvjad/khma6Fh7ywoPsFgNn/RLP7p/M7fSTRutzvbYSWmIlT3Zg+VAvmkANmfSmR8lRUqaMSu/uClK94d/uOzgHadzPPaLqxGml1oSYe85w8Iykxp/JVaSe2mKRa0f7fJEfshvlC/sqf9OezPgaWJ8GGjTbQNFy6x4muo1DqcEwAkQdAcTvGAG4BQbUVtfDbOolkomeGQ96mEEXGjx0DvtlaxtOa2OTYpJFHh5YqRKfGqt+JX2z4ngXyRwfhNJDOv5TziNDdA21jET2cDXwfPPTQZw/EMqlcPHT6KbqqpQ9ZWeWzEMs3aSlmOlA4sTQnV0wXUGGBz6YCuEvAujkVHS02agbPmjqDIajrofYXV6UJY/v+Ob79/SIYlap8XqTVF/vuMuFXH+J5PA9zHnnyrxMTajyBPkk7+k84KlVlsqxng2B2W9cAcNz5loESBk2CjwAPWGuJP3NKTzpcCfDXi/CMApBxDF3URB1v2CO4yHohQI5LoL4xgxL0J5bA3KVmJB0GZO4//koWTnuTslj1FgV/VgAxtROOmRv7WKTjOc+txG88PeDfrLep+1q5fStGePAEvTOSddHtzyng2Yp+7G5nvv+SJt/r83gr0eJ+TTjgOguasbOzNpAFG1whGJmnKxyUzhJm3fVvIzfbHwcHy2jXpv7JVyIIU+OFCzufIq02uNvAvnyDDgQL8nsxG4D/WRkI5G0by+IT6IiEiRDxoejR2N5Iz0vV10UNGu+vpszw4BfwiaG6pSfT1a1rbEZvOirEG2V1vzFuUcO/MujfYsO3/GqpVz1w3Cp3UvHRSuCFMgMUJvMFfIZ/QiubiM/PkPPGCCeWHwfXBC4hH7CADIoZ5AnHx9zGKMBChI8dIgJRDtRcnvIeaiwIjaPB8s30M9zrg19JsX1wty/sRV06xF24Yj7HUwei13zpN+ZP+7Z63gAg1zAZRoqcsJ1s9LJClTEdR/vFI/RPTUW1JtLZw+bK0kikzEB4rYLh0Is25OG7y6nT6FkmwExIJDg4XBts65F9fcs4+ekGT0yW49aJEMihcN5g22fMR/F41mSG9496q2/Let40BYbNV/p9RVhjZjOhroL+jogAGqHprukE7FxbPT9f8IhOcxErVZVxJQkGfmzA8auUeE/UmzTrkJ/DbmzODnedmH7OCmpkkowHHP7k3MliNggu4OG7mID6PQjGihEyYgZv7PovIEOHoX7AEof5QP7A3SFsyLX8YW8taT0uxdvNejMW98IREo0NZKUAY4GfFmjjVPglhh8ZSiCyGWHpnTeP96enwcsgpGZOMYL2rzzUagHffbvU1tlVBvqH6RF863NR6F1K0IuOIa/Pjrz42hvD5GEgVThntXwyP/nwHtTZclltzvRR9y6ZJ0rCU4ex+at9gCoHsDaQ7iAVDaJXKU5aGs7tz7oP5TGEca4MyN3hwJu7bo/20fuunTtaXEmGBDeKTDPZmKQre4OZiJmqjvamnsCtM7sxZXzsUJXXTtZHfqxioNA0202K5+DLlAqNRHQmt4sbm/6z9E4srQbrAahlzbCvvQI1cJb3aqCnre1dLvOO9rLn90Eg3w1cmVxMfk3i35Y7M78P0HYNDO2jH2kdei8Hb8wk5J2oxKwqbdgKrz9L0bh8jWEkFoQSsodFiN9XwLjr/j10Qze7Ya/dzchSv1omnnqa09G6N3NkNz6d8i8tGckGaBArFwTxuAO+Vyk5lv5sqXv1n4rpCePQhHybHSfPwP0Pb/JHYnAPH/mP8HB4PpzjLX0224xPHx4QjQnD2ucTgz+BAmbVOV2QQpuYDTHtlml+655gkL7LjGk9s8KRsyHHp3AmrmmoQIlFmOehoRjBdNTwx1jKps/QNuDgUL1JsusDf0R64zFDxm1uD6PLCvoY5bioWqryLQCX6DxpocAnqHndx+Tyg++PErUXs4boGIo7/zq+EvNYn7/4PcA46hns42upfSy9sKltYc19rXlv5Qw8xzkMyT9x8HqA+u6ZMunSptcbfS6SvKvJH3TwYNf1j1oeORX9p3D0xzte4jFmtyQP5UzdyZnvgIIy6WN45JpMGEula12k9e+tOX/id5ckjCefuxqFtiWUHrOfsah7dfptTKVBZpCEknoe+50uAA0SotbZUG6/BzVgiTKFf288x8Z3cnURiH3tF0AEOgh2PXePTLQS6xlcU7KSTXd61G88uecWO80w88Kbk05HzZN1L4cejp2eWAuHkhwO6Qm1mMLd/JDYfut7Yj1Eg1ozGPmKlwYS2QPAOskG8gR2Nau+H2LwLXPFoeV0sw5YwYFC5B+XPSqmGBu56ykccLvEOSUkq/0lcVnVv8Z8N4SKbIfL7ZdEjOTuQ18Sf3BuCTP1Uvvc2hUcq610eYoFGw5aJaq5yFQ+XPaRRLjNWJKq5tBG4qjnUPqRQDPTlwUBmRS5geoMAUakflVP39kA5HekSLDn9u47tIIuiy4/+R0Wosgj4QQ+Cj9He6Urzfi+N10hd6eue7iTXPCRJIlWuXNQeWBtdj5hp/25fufm+8Ae7Vfqj8+H60vbJo2jvL6EaLT/sC0qQIeLrHd/Uhueu2MF/eKH4mozsg3HPJysAUVcwczYgi/ku3w7QqNoxwcB5ZhYWimdMb5YD5A3ut/ddvQP+e1U4MVFuDpTzrjLaN/LiGar6XlIZKkfeLgHwQSjT2ifR0vG/BV3zwcKecTPdpDAf6kaeX3HoFKNobgn8jofzS7VR/RA5boi6LDNStzhr4ZP+go7doe7lPoBaAjGL9MJBDoaAdRk4AmZ2jDI7My+EJ/0UCmKdaMUNhYTWbZg8ufDR5yRJAWHwhLsJoDvLK/DpXtlt+a4k5GeCJJZNIeT/GyxoUq4zGwxB/NRQpdCnEX6My2Gab2LD3x60IcYda7sVc5SM5EBGSA9C8PSLW0Kd/T5HC986M9dVfR3JHVWuW5UDyCxI0D4FwFkx1KYvC+YMaNxf/w/gXQdrNA9aYpKF5vk69vgEcwAmsipWb3AxqhUZu7vOXaFuafUFlVUE4HvMxcfgJiXTLGo+Kv/TEnHdexi91/p1imYwoXdJ12b5ZEgiJvXBYpKNNaszIKl39MnxVigBOjNMUJ66g7W2DdOoWZ7WNgFl3ClV2LUQT1NA5NDeLi6mQFxc1N43J8gIQesXpi12YR5at5rUx0r4xKYhi8Hxbx3VqbM/ocA5sCaq0AyxkbkiB9bNyWdKwdkYhr0ScnklqmW21ERORFQGkcEsuig9JFQjjZ1Rdwt94G9fixEv3hbwkBMor45BKTx+z+ZTzeT+SLlShXtdjXa27Su5THWrD3hiFAjL9U8drjyKcOspcbssoJNRkU3vhjyPvWX3DoTbkPK4DEysn/91HLqa2efoPA6Hi3xu53rPlLBf3yfMyN76uvQfNh8T1QxYhKbGoNqsvNaPVPmKkpgg6lT2wlmx/YD645mxBg81ZOSxSfuJ4VFwKT18o+F6KfMUo3qm61Q6u3IYDsfQOKu5SdEvMKWNOfyOG8Qcg9gIKU/0TMEKLYq3J8J1PlsUkt8eGyr9X3oQ/SSDyU6i/mMhagUVq00skQPU16gEuOmwpaTcKKZcHBIacmQib37bDt49aGnBoTLc5vRuO93sIrpm/ZvmSEWWt2IJ1pUC94fBTIIMOi5iT9Rm49Tn6XLIhyy1Iz2ilOlui/sJrIzK5W1+mW5m7bnTErWq59vffETpsFFPLxYe7cs1fzkn73j2s8RkWWmI9o+MsspH7SOHGV7DKDIrmc08+QoMg4kVk3Zurl5IETWEG0qG79X+glT55pMYvZ7Eqa37aIGsKt2ShaY3EAYwIDlmO4tuNgTCOPYaAAZ5fnZC6XlcsmYDoOT8vkmgVabcwQRbFvXMkr1QPW/6rmGPnjDzaA+XT9Jl+IrHU/EqoHbBrkp92L+5D0OLH6DUeD3/p4MqyYcoSJ5vpvUjy+bHvgBUWU/wfRwyqwRBIOwlJkKTVQwqeBHpvxw/jcpXUSrvxn9p7nF7QTerB0Er9W6XWXZRKWQ2X16e+Yz8CdUDv5hF0/KFMXtT0B+WU9r/5xMbSC9uDam/GOiUdGO0MIJSm2x/VnzCdSvwDxMCPMMdHb7YjxF7RrcNffiAL71+yN1O8PvMW8nIvSPKu2wk6VmpIvuddljbXMcozYRnFDNujmG3M2+nOyf+pv5oCwanGj+cXxP6JRVg50NoDB6UgBuSWJKTkuXsC1UzHvmE4mUo1Y82rYIXzUSW0n1XxbHUG4s+RfD6coDL4haV5Bg4lEcmVEL3UWcLltaEjpkrSx7VBYf5P6kjJ93qyZ0wfbjRi7VJdkTQINGqm8teM3Oj5E6iSN6A6w9GW1BOBKCUBq/A1rSSIeo02QgBOUudubw4Q0RGHI8l18TxFU6DzoIoetSxY/8/gcevQkJk13PeM8vo7k3d3g6fm6mbkvmA1Ut6QemWH+7kaIcgn+qJWCfrFLWy6M5yyG84CBOKN0501I3kco0jcEuTuD1JcZ7D92jO1dpH9hXotckZj4uE5sORQeFr4FHrl2slHipS5bEKxLlSn0xdzy+AtrL4OERjB79ZDnA49RJxRp2VfIZsfBw/muv0964foHvYZVKYJqMLUUgrP0FNj/HTegRm7lrHZAYJ5R8Rzl9p9US+KICDPL+gYOC9BxN4hkMyezwk1/r2kTeZs82LJGEYHlCDvykjCGY7m4+8YpSQVS1iTDwImelKn6n4DopE07GElHVuaEVyFt5IvH/RFQdC1DrzT0/Q5UErLjSpLwlF1HIbZwI101Tu/G/w5F/kM21DfuwTqFgE82GE89XY8uPdYtW7GU26tEzKgtg6s+2eQGJ2Y02CLqv0JPysGBtREWeNcDDV2GR8brsQLtu9oXlWjbwVLIkNmjpV0otUgu37cmIXMC9Ma7lAMwTh3g3Vd+zAypPaA2EdJPZu8jygBRUqS2H3T7skePzcej3vAbxohHAtHeisAlNahDDw335M/2LvVqTec/g32LuK+FQ9maVwZ5PMrsDE32Q7E5dushyWMObbDKQpnP484rdKXE7O0NrRHnv0IdzdA/ydiDpiFrR47f/xHHeosRIR7VWVgblxi/seQRa1i0Nr28xEZO3iH/yijKDF8va1mUnRvhjjskZ2eN/P7BDuRrBo1iBRNn2sZ9Cria6i7v1NmWJnECfRDd67YBckAYEAnBryySoEigzWnVYGAdINTIVmrJvO3+Zt262IrRh1VbQeEE4+Iz6uxSmY9EthRkvPe7qWso2qOBzeSVUoVnfn933vIUvdVp/IMO9Fx+SLwjTyAcAlJbitjiBYbKAKQBVXkKEVxRt1lXuUArxhO0fi5Vfsp8mYcYAyJU0K/6oGnh2E5xaB05RM67X99pORZawU7PPcaYsCdeb0DxUPyy7vqXdtBqeay3lYRWJLyT7o8wS1Gzma+2O3WlJiVWOGncQA3nwHVf+KROqYwj/LhknT0z1EJwmd4dcyGIyRDy1mWE+2ypjRxIN5z+OunKHMFpXoPcEzyCXoMWkCnWHAoB9lLPlfSwDGH99Vyl6ugUNFa6UqOHmJQka5ccCojzY9Op3OquAyG5u7ab70g6gfNR72Zgk+hkjt17nukZjvPHI35HkpcFVNPMnlCQy4r4EGXEVsGzrda7CvSes/KfIn9PiwBkHxmd8rHobJduZ+OUvKmcFp2v+OXPjKtfdTRpAuuDKD/1kqEsKAnxM4KO7JqctSjvDD7NT1ceeVQmQNwW8zw9+bsJQw33QXNJMPXGDmvHiYBzJbnzc/eHq7qOPlDce187Bf17kuM/5JgcIxQsFqfANO705vjLbDXQqrXhyckL+kan7ETxFbUd3oMGv+csfOtbZ8DX5bjRFaxYg0IUmzejbgccJnDz4gqRF87+mgQkny0o7OzYJnHFZieu7FL6MvqZIlXC0Qgl5XThTqk5s7Qi1HqRkeSP82GkOKzCvCv6Ax29zT7Zi1HzA6a+XM48ZrChFeWiZAc6m5BnGVovP0aB/TmLNV16Bwo3Xo/pta3Ii9DKJUf76A9qcIkzA4HB4BEeyQ8LdemMPs3QTeEEzPgFxO+cRK94qsQiPN639/dfat6Yr8J0OGEF4Aa7Hl1zi12xtPD5OPS4gwrKzXCbFNIpdQNIPg4Njrjme3g1CJfsI4RjBV5ZOn4XHqXmW+/KTiIDp6IbUFVeORzGyrUk63/LN3UgV7S8RoIMXAAy1sI1RLDbOiQKQBaIxx/7K0PzWRLCfk9MKwWoTIhWrY+FnnrzqK8JrHG6w8G99kIo0PT2axGVqtO6eDMtqm3GbvXl9v0mU73E/XCefU7RAvUdEl1M2C489E426rwNTl9M5rLdxUUXTrPUt5bpyLXshdsCLV9AUlitIKvV9/xEFqGEgJUNTyBwq/+lFRg+rdwguDrHLBjhI2h7hS1exue4kvfJUdevqcigcKWa8EjqVQZiueJYxN6FqEytrzc8yVVULX8IosOHkmimXBYT5dA0I8HBp3XxbGdzi9PGi3lnMrZVI8mgibr9qTreZ+lLB/wTBHWE0zjLpRPwOTPaRKw4W6/ZQL77XwbhvoT+204ydByx93CUMVsMwI7UWDManhdgeQntAoLS9c+45e6/6pajm2i6ei+6avwH/dSmWzcC+F2QxLyNmsDborQ588SBwdPKXZYnhcw5DhtHzVlub53OzrRRoawvFou8wViLUB9z0CWo3DWmgA="/>
  <p:tag name="MEKKOXMLTAGS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BTFPLAYOUTENABLED" val="0"/>
  <p:tag name="MEKKOXML1" val="4HooU0THZk28POP9trq+pbTvvzd/gcV8t56cq85kb3NDTsUhojRA0EsgEHHMH7oYP1SYpn09ysXVivguJdhTvfyVMsBLTGvcX7WPTor/CmWiWcfk2RmY+GE6Q6T90sFUr0lg9IPP9y8umrse/9AoLT5R0GKq+XM9pr/aTyOTf0wptcuHbHxeyqBm9svU01qeeEM1v0hpSHUgirOnAK/wuuzsY1X4RJYLFnuFttNWTiech32vNhQbS3mM9Tt5yY/lt1dg21b/l7RJMH60i2rbvKukI9cxEdZRFwVe8HxlFl0LEb/guczDsHDXAhexu4g+nf0mcJcV25fMar8ifNG3m8ivROihGyONSUzFaNBHTwWniyAALawW94SXeCoXzvr4tK5HzuByME2GgHxpXQ8o5VOJ6isvu14tM8flKWpgfV5e5SL3lLOG7HtpSkRrQUy2PceWsWeIMPFaO0LBu7m3q3vUp2sfBpb737+7vyGrfeuOSUxqUUZ2gZW9buy00QSLKMywJkYWq75PHhnSd/9wkgnVmQ6tOjq9NVMFvv/6mXLcjOL8gpF6zIORM1mAOctMZ61Py4wUHSNSULETS4kw3R7j/4DY4B7ovR3V4D4/CAVcd3dMCxeO/2KhISZsgAzadrX3abMcSiRs1eGmXo5Dxg1hC0uqQJvnNHm74RTs70p2plM0M1RKZwH6ZRdiCL8fAH6FBDs9fW1rvtHInQi9tc+YC13/seeqBA2LYZDIvd/4Qv2lOsWS7E32qICAzAAgdrVq50HvVpKL7LMEWiebBFOd3PJHKNGtjzy4o8ioW6zVlGrtNuWTMo/SvUE/DlVk83Rou2/W7ZcgeVa15Pey7TWoS1fifQMFpSDV12XCpRCRuNF8nrmT2ztcsYI6+Txby3t/LZxW9DGfnsZ8ETGrCNvfiid45Fcn2x+daCfTwLLNN5tVH6vKMXsBTKVxkZfTc+grRp9vlgWdOBi6voG+CjsyD6Hko2PV40bQSBnwNWu8bbSGSz3JALFT7cA6wkSvZ6R/D/f9tGMdb0+IrGFqA4yzPJKABaZPmbPXF0RoUFVClfs48uQDbtC3NlSSg9VeeFZJH4n1q+gjCfosmuZtw+sWrU3LT1apcl7Xq6SSLjFVOj7CqzEtBI0rbfJLpz1zD5l5VUOvk28qHug+4RGR8uqkTaJPARYUS04UB213caPYZn9Q1LbdbaHSFK30LqUDfMqYyAHRAlJBiIyNz8X67/oS7TvDe73o5DwfkD1U8yffR2jk3gzen6Z1HA9T4NcSB/jf7e7oRTkbvwXYl8wvkuzlv1S4H/FZKUXaTE4ncD3yMJbjEY1sl9VUP01FG7EjJpPI0YHbLyNvLbFICp8uw7IwNHt9eRbQT6vs3yfVlt+ko+UjObnJj77qyVWC75Givl6QLI6iCKBZ1loMTHfqJqoQ/tXOOEQ2HF13qXrkQHjrJlN7DHZD5JUJUbkVYus+4fD+DB2O/HsBrYk8/1rfrW2Rnu8S6XPBIQw32zB2IVbKh7aFaKAmR2DhPMykyTicp5BPoKOdCrKYpDo5Ht2iNj2l8kAtH+A4rb872NGCS0dx7UAQuROAZuDxKY4GMkMzU8gvRTYrq5cxWixx1yZHpDzaDkelA3dfvitlmzov6iunMlPv/T0+2bV5F0O6au6as4zxeUUKmvDI4ydzrT0kaxPBXaRhv3H8uBfyatXkuathxcihMtiLRNJfj0K+DTlFDPerxJoxywUZFmrhI82Ys14I3d2dmOwhUHDZ7M/cCaABIP7/1Ick961tq4hc60yI/eTcXD06zJTlR6DX0Z5XqN3GacMMCH73iSgIrMnJ60QEZ/ujAOOerX+hd1+u23Fksb7eGldmuMMhHLlTDpr1gMf2OXQkIYHOVo3wAhJuw2Sp0XnxuTp+TP0NFd/Uyou5PrqjQA5xadYIo3b6NQ/JscHuephmO0JbQkhLaXGkQd/0Q8IdokeMB5sdijJ7quSwHvFkliBqKV9B4fQ2CX6EzWe7BaA+kocV0wQdccbJw06Lz2898azvCrbzc25n2eRfc4m7s1zd6DukiprvfTixJ8K03cTl/zbCjvyHpR+Pzs7EfdUBrvZ9ht+PZ7MhZi+4o0HoZUQ8eDAU0WqT6XHAEyWb7pnMD18vTal0+WbLFJzr99OS3lkRqmqYqfRhWPbuCquT90XR+P8OzEQBgMfdHbrbMGrDg8mlnSv7YWJaUlehvDKfj+HqngiIk+WmS9MbuWYyUNZKJWUwFZgmVi7F8ZM0lfVaJp+G0xwsTSU3te13PdDv+RHWTmQHxGY8O2/89akRk+J1Zamtk9VzUyu6G6O1tu5rsmsCIfqYuyQUtBl6hJxeNy7Sn1bLJ5/XiqohscxodMW2yb+qFKBddNw/ZaNcTjXuuLQd22XXGClUnHpagBrzxPKZljsnI4kmE0RCQBVwlxbFmgNKAszyqKNFSyNYTYligcqOUyrdI1lCaej8PVm5qRojv1jZS16t5aJosTlNA9tKjGOAe/gMFcB7ZmxA+Nc0fVJY4DuY1bebwiIo+aKiaOBtXKzKsIdeJKfeX0mTJIygYAFpcr6XhbC+9kkXgBXfranNVq0qPICYR4JS10vYF84AXyi36ZdJtYHMbG07SdMFpfUzDBTvH1qfZCjVt4FCkxMbxkEPsbMX/NZSJKV1Jz7Xk1RxIaVRgHXC1bwK8Q4duyWQLcW0LJt39OSMP1pqwNN+LREQF7Rx7qO9v1PdN5M8kVmB3ahu1DqLuGrp2wskwx0SUDQd3RQrT4YdAbo88JPZrUNXSQLVc4PjyG7hAWvozecTi1udHP70BE8s/X/4cpvlLbXOQlQKJRpKN5lqCYhD8co5uZ2oDraPtHaXcWL3IhzRBhH7SndATPLfrYtW6fD2DKykFLIMTh3ezokOrc7w99osgQkBeTolTKPR79g48ORk6NZkDdvwq53J/YfPuGobVXqBnFsPWLINyC0hzLOG9K/lPIc1mI/RnxAHzuMOYIJiF+tMkkErcT2/HAFyOjSOFJ3OTV7do2RiaunZH/E4gv32W/BmVqVWPfRljZeFIQhvm4BWTbJ1QDFnxHxhpw1uUseEJqwvK+Ra5AJlhOhMWcpwzFmi7ELNkF8ic+3JGX7TZmYaXJxTRspHnVgNS62WB2PO8zaJnbk/jvZhQGganAXUpZohqECTeO1goedh3laD9OJTBUUGL8gSwbLbKyA223te67Y2n0l1y5696uAl7gpnzkc2zNZPQcrN7qPyu9dI196GG8hAotiJlHuIKygzUczkkzWulBzrfGVyw6NGKy+z9YOjE/5gA/PXkJnoqc5DAal7p+SFOqTfqelUi1aq1Bh5Ll+ans4d91sgZHgTOgoeuWtZIBsrW5IMyFB6fI1VQKfwPN4O2+sIE7effbfKlwjOjoh7EzpDcwwGZG/OceM1F99evs6vHTFhWZno2nSEkgLF3bo3R+5NHUNgP+y29NNgXyobmwjYx1Taf1gJ/fbbprGuTxhU+f7BXSvQ5r0UjxO9sqqucTvUbDTGa5w8tZE03lOK8F5/wetm+ki/mBVVbWlHAfr4ebrMgvXJQEWoUSY9IeOoHFpD6fWnFf57kHo63CltOIBCCVm3U8WIMRBZIuuYzRfafSHFIcDXay0hPzYDJpqA5QtehBtnMA6FRCY6N0wBpexmUKfVFd7WwiPgMfQPUhrORUggAXafDq8CYK+sKOg7MjHJ8q4lN0xbSnxTekhLK8BtRta4g1OGrPhBJMuPqFBhiRPXFrfeSJOzQ4oIVrZC8duhG5hXFKlmrzr90gxK2sh1JyqZ+H3R3S8Api/Wj2eTFWWpwZaSIP5R+KYNxsMv1pwlqxG7poI/caNvuLInx3C2SkVReYpMol8nLOUUEh7GPH2n+8pHk1Tzd826puc9SBCCHj0mV0VGeV0Ukd+az/h19sfsOFyJywrfJqSsnP5ls8w5Hadw3co+ApS6HWmJHAAiX4lEZsc7hz71GmUHPbY/+u5Y/CuON8XnOXNoVmP40bHwVbjl3NbJ+ifICci3+5HkHRX6jssTEde6js0s4RmSLp57AhHbW7hiyiq+jSJbTpjmZ3+c0+6oei7wwigLsvD/M/nVfCdSeOdVa9opzduAbVnXjOtvPbFXjdouqbJTPZ0i54e3NCTd2CuFeVOl1SNUjQmxz3MXEULtglpngTlCFzqSDu1SOnvDWnAkiuSM8UqJIis3xPKRt9bAy0g6iG5DyysmtXYGbFjXeUQvWHaU47Mza45qJWzbtCWxzqjnYGuWyil0ZhozbvjpGE+59bQhVs7+C5CoudTAnmj41TNmjDvxlzIC3MJPWvGiQqjAhZ4/SZsHIzlJcfxFlof0e8pwfBIEcKq/Wwh5gE7SYxmvcVFwne2t4h9jquQIw3b1n7jdYVQBGdDvpmvF3LcHUjQqyOBqtSvoavstRKXT9N0EAL9y8p2pmgNBXgu6miTcPR9vhQHsw9aaFXL8P2cLVIl5l/cD74cy06IXl0b9lNCz+m4MxRp1tjQ8OtjsFB9EmB/qP26PdjQQIedPC4TngugL7kE8wNx/QM0HhNFLfHmD25fVuF1ELA2xQYptwwgAoG6P+pV3ecTRNlP5pwDlD5CooqxnRvviDb36g2oZ+rSc5k9CDnEeEmgiwZWYJqjSq6JWql2aBrzFZg9OxrFWg2ponDzcjFS+KrINHL7gh101nYKjZrol9EFh0p8mH7+Rxu1B6xBtk75PJhd4nYrtFATOmocdRxwkCIr6HtGs5PtoMMsml7y6tP5D/Us1ilXIqboZdfVAYa9LXAWEPPRX0NbX49CHmIeNkmuHLUWQTfuUTHfg8wdmDZyiwbWcVMcX/ki3C6+3e2GSdqc6ZsaFRPflbJFUHakIvSWqWEDsdQewoie+neca4Ha+H/gx0iWMW8IALohz6rQFcc5ZEsc72xotiJWhS2zAKExEJI5CuGMBCFQ3YCzXFJ+rPsrelQR1JparrYqhqJzvE8ZPWCZYoPf9ZKxfS+Q0F89bld3psGGKK2HyHSYUWSgglz3uYdUY1qZ9KnEPG+GZi2/OW6jwx4LLc/5lLC43KU+Zq82mqevEUj+Mn8dAVfTOmxVf8YC3e5oTKWLs50v/jp/wRnwoIWVFtZeQP0mNsnTojjY/CnCABYQhMmC4LZRHrYuBQg10NwwlY99xhU3yVALapHEsHlc7GJlEIO9OmacD+FUJvrRFCtscta/4mNIp1x+CzPUAOLfnw9PXxMWQdHhrWAuO6ZdjJJBLyXCyMTHzUhLiqxOOcKDGYEywsimOxqYO1JNi6vh4q7uMgjdztJPjVYeBUzj3Q3i2N8ifWBQY/jNtZE46qzZ5cy0j2BSe8/FFTY84s6Qa2KsIOTfVRCe7Lq41CtinZpZII8AwtF7GpJA8eTFcF6SIGtrASGg47XulgGSwHwsBZrr7b1SEDt6MQhRSNXjDnx4XJ48gBAWm7t3/nmFlr9zXrYe6rB+dyIaEsKPd2W7qtxfd5XwmucmopTmFVhhPBdNe/GGeg6kYdS+20rewiKjchh0tZmD4PEQ64dAiXvRu14O4jm2FXuZMnU1PCjmY4cJL34AARFR6vqQugTx8ex5+PFV+RtYo/qQuwD0uUyWmYWA/WxR7GdkxNtfiWJo+DBvUr3K4mokHckTCHEDeeim/kfQp1+sd3b34UgtYlmzWYdza3XAsP4SDpSYToj9wLBz3BQ8I1gwcvD7a2Z/FDan5ndZoXCQ8rZi1jwkiE5TCqcZtem4JUGHt+GWdKuvQNLQrU8skLhEG0GKBEcjo4dGNhhh8lpZvEsZevLQ9JgQamgSOQmSTNLZBYcr+oho0ZLpy8jNkInr+AI0BX/SlQ2sEmYPZmCkkI1+AKXHk+SF4Kcho+GQ0eyXLgP/kHZQhm2QqjhUCny9snopeS5RRxdwMqjUjSJzyYJOmZapyYIawoz5eSJE08dz4e8WfHvGJlImtFZUZ4NwgKZPyE54Zb6Iyi8mulv/A/gU10rSSjFNHP/Z7/1MqNV794LBm3XyvrFJRx4BJ+UL3KBMo0nhaUDg3Zaeg+Jzn05HMBgUBvaVUpD4bSItATZmJ011Ub2FJYtJOM7erPmBhc+46dZDmDBnqx4Ry+xMKDpF1k8eEjcAFSPA/3Rj+M7jTn3MxC1POdvsUK7QIcraUSEVA3LeiUI1rgXGZUf6Ju4pJScYQ+LmDBCDyyTkMYd9+0anShRmYYHBvaCIv9yyuEn6NYLqujaspMElTYnYYdXD3s0cJfzXSrk6+GmMWGmOXYdJ4BDKNv/H7Z7iXZGtKUujoNAx0axfYqtuOIryrp6Wwy2MlKuEPr8aQ1PHWVPF/oRqug7Duqz07e/nfAkym3JnEtNFfUQx2CqX+WmttVeqXGFXYZLuRtU+hb1U8me/OXd7nc1hyyjXOTmOP0h60S0xgAxCMUH/0i8rUYKuRNf/kp8sixZicZ5l7bu5VBEniCh9vZRuDr9fS0MMZBGpAuQhczEzGfX69aT5/ldiw/QZbrC0yCB4eS3gU0i7XA0HEh8ux3qBele0vpPAg1cyhaIFgzJEkHiNihTSDfsUg/60erSmRBfugKsUnErIw/BZM8O5yB5QhcRtVCJlhHNDRnuzxT0fLdefyP7rJSLcALvr3iawzu1LGv3jUnkCTZPQ5F8CKkRLbXohFWv+UXwJBUUPEzaMI/gGGujpmIq1z42hT4hrS98iN24Nv3MV3wIqGV6Ko1SI3t+cm2mE8N2b4MW+KneUSWBhXHnEaqVEYnOrYW2rDHhJnWoqZ6DKWh8haal2c+vE2SNchrI9gdmCkMQXD2JkoVGEASnmd01i+fyCnZ/YdN+mfp7SRdVe5zKWQdEYjOzK58ngppe5xuFqAuX3fbYj4L17g8WeFJ/nuUNxxfaxtYb5zr+F0gOeRwnFdbsxr59kF8peyJ2cu1dIzyEltXDs1bC3AqYxBeVj/45GPHTASE0tdELCTF9K4ED7xkM1xgYTjccVziWoxWp7bXO4YP2Ui/Jy9KJ0jw3CNciGX5lEDjOZVunhosqMXk93ZZjwxZtzbwJI+0KWs+v60RogSyptYS06vD9yb2IaYkN7qqB6ja/+g9Dx92JiJ7bOL1OoT1BzDANS1ARDpV4xNJb+/5sORk3lE2Q1UhtwNr2nxZvGK0mCxkldbJzl0STVpz8mjLh+Vpo7piTjetGtT/mB10DxeG9L66ERGh9aPYQ5n9BLufcrNx99gtt7Az9GfYA7uXND3ht6K1SR7VIUjZV0VnJCDEsJHUmiY2gItWDs5k5tYb9nOVFpLzHpZj+NShb9f3vGbA2stlywnaaGxjrmGbGUsJgPlOiRGqg9++sGdp4aMywZvWJEksfnFigDY6etQDGhR1FHIkbVXbKhkIGD8irJLVphAJrVFQqzjdS4yVlPNexI3cVhWZmlo/pLOPVAh2amngcg2oqXuaHfNS1SPpKCTI+4JVnZI5jhFyR2qdp8j1FPEklzP+2xkaZFkSgd11Q32rs6RXt2kD44hzqUs9VD9f7YbfeERmujRYJNj6572AqkQpwdUkHS+PHRCaGFtBTbM6YSbmCRm6qZ9UU+P39lsUEsUXTJDu8qkK4ruv/bGAo680UDfjE6JyHOZ8wi+FmUyQSZEf+xll67JF5eAvi/z5dQycEI19Dxu6vvWfuxbPltux7JKeKhRWLw68VnemmL23SngLY5+Ul94sV32sU85XHgKfax7ovfOI7KemfXbeoYDjLHvMb6QozgrN4D4m0+wTNge3B1tUBdMHpMQbLinLuqrmhsdqlUTIXRkOK/EUP6InRVvBwAe+ZbzVn/MkkQqqgo1cH53/+1pdYm9tbdBeCJmkte0SDWyPPLYn0tSK0eLaTI51sia5aDCkbrlj4PBjFvOplPkY3P5DvOA0JRYGxWFlqKArXVCuXYlDUhg9F4B2MZzHlcY5VH/cg60C9FLx2BXZfEpjC7Nnt8gVYyGI0JCQHl2F6oh+AO7p9jSRGWlFcE+ZByMLEs9eSzyrI0iKt5TEHAHW/Cu1BZrdxt4/ddypUmDfS4sqBGmZwePs0NOTC/cHqiwbaGy4+hgg9BDtKzqEx7RSUpxhPIlmx9J64ynF9jIwP/d9SPSCw3n4cvsAvQs1zL2SnuT3m102Y4NA1KuioyCvqsemSVftP14/a04jxipyp2f2aN7NJCkpKgWyR0G4ldDhxDg6c+GLwPXCQTXK8qfXZddjaLFHjRFzrVqv0Cev0Q1bofz71PAficwm6icq4u4+Txs/+5vIahsDS2+ol+zseOSnDFsz7DG5efYX034Wnf4MqieXrx65VjVjNQYEz3HEr+E6aUfeGnva0S1xiS8X5b+XN8uPVHZP1iRq4GfibjfFeNSDCC8iMAtVI8WoKhQ4xbmyamSFb6uQtXe6El1slEOOnFHqC+v4hBrhxtTsLsPgeOy9yo8Vzo/Yp4f9x+4rtGi9/VzZcjDpvFhmBNcnzHk7OazTZ+MAs2t+rOXQlBWNLlhXU36Dzb2G/vhfwgi0IfmqbWAh84a+d0x9sdLofnBXZtfHGv2hewEMdnT4jcxIEMBNatC8SbFc28wGT04fnhbUcBJ1JpPh5hZIdRSRw32cn5FH89YzFntIQRnQ18/Esz1xw+iiqabV7q3i4G1ylUzkTWEw4KOBxlvxbJDNA+6tFHiPbQeE0hvfIlj1/jS/TLP68QOv59rbMM5ucmKFitPU9E7hEhT97IeCCd/uTNxPi16Prjmg789aU0etI+3zx0UzHdMf3upisT/stVrA7FfMNrdz6uFqSL1l8A4gFwgh3YdCAumaKvUzB3f8uFYLu1uOKIj9r1Mfn4eLbLPsaFHnIAp9xrX9s0iesOWV/Jw6VJ+tpB3c2Vzhs4RktXjCtO29S+McGhl0HUSXW+pbD/aL0GENqgOND0xWIR+U+FZc+h9YjmiZ8iCnyW+6OmXoHX90C5jHi/S/jcnM7u0HqxnbtD/qpNL+C3DPbZpS2kkwI/zXISSALSsavCnv9nI0yHUPFgb4aZMwDA7UTPTNQsSYE8qNrDy9vm5NIaG+0jh1d/4obDujDFYIl++tMTlV7cvhTmywUU6hWm/JEUjPDvErQh2hkKNqf8PYYAGn59OI/k4YuegArx4BNd/tHcGvQFWHHIUjRceXU9RQUooZx0Iey3S9N/kd6RBoDOEeN4QStHSJt+lCDfAocRsRF8S714JuLpSQyt2XJmk5BoyjltmFK6TpxCGIdZOPzRc/mkQmPKViKzYjUP2cnFPmSJaTGfkrWJq41bPLYiExa4E6z+zhXXMuie7h7KWkErt1M4IuP3Htqi5y8PhoF3e0zjUQ0ENHCO7RNdhXIUlOoGICu+PqXs2oauTKRG1mhr9jL334QdDeMS/cc66kLsmeBQQx5sYdxzCtKRumLUNMVzDrs9ePLZI2G3RcsNMG/Q5W4RL3LZvlP2IJMimR6rIjnTDON32vwx41R1E8YQwxT9j0QMM/0wJzuaoi8mUaogK0sbMGYItr8twJHtSuemJ8ZW02hgFwEn3F/zfCMsPbyEaO1lcobonXSJQWkiSDde9LnZgnWjdethWFje2/bDrLCy8pbqYr7rzTaHcibTL0TjIVGsLvSMWCNvCfQKJTQ7bjjDDIwTBFzA/EG/6i9CW9Lztb4n9Fn/HPfMjnvYuuc22wMLbuD+FKdHX7NTPa/zRO89IR3beDAqEMzDo87lZCw4PmErAR135uXknQi8A3eBgpkR5RdB+zkrB/xB2emlOAq7NxHDxdqvyLpyitbuXMF4Ujqgr4vRToSRAyBsi8zhtX1ZGiGTct1EKSrgqrxs2nT5Ze2G1n/1d8kzXST16BcKCJOB5IE50LrYB6vWkE55Sg/VcPAe/BKwkoKOX9Q1ZLMZ1V3oCohxv8Cu1ThJbKl60H59ZsXvblZMgv5aS8PasxRac8MdLbKJS2Tfw3luiK7kCzeOhEXg0+hSuLmjPwiFyO/sCLPO2p2Imkvdj+NWVxXk8FROTRNwiMiKx22gUKeH+iCh0lOyrrTmkFtUSbzo+beuiJkvrWbF8Do2HBuH63RyeNcOnNuJqbfOprR0HDK1jJqzXkaoKbGG1Uae9f9yULz//mYps79D7L8w5bLHgCZXZqfITvLZu7BWU9JWXx7KDmAqYqTL/Bl2uplHp+DDxWiuKxwS1SrednBKZs79IMbdEHMVQJLWmSwFubsHp6mTYPI+9MCplUJP+hta8iSqkxopyJyrNGNMiX1mNwt2j1d9QfR/Fj4zSpzK5bVSOcRfY2EICVY8U/SX3WZy0g+YZFi7Q5xYRTZqu3JVcuS3SD1HC6vMZxqc0LfVqrwKORX8DqaLVgSspz0yD1MUyte/273+lxTZDb1OgOe/3I/xADFplhFg+CCKAzKISK1FNo8cBje9EyjR60cOPEZ7UZ3XzHkoKieOaKC+RSAvbdCNYadVfRQ0uQPNFzvD16lqfWkENLphoSzYOOpKngoKy5IergZTumn2hiYStisoDrJq3N4pvMsfvrxxdKQMnLOMuSW5JRkTtuj3gPTsOWMdM8OqAlnLap7mfjldE2dmZGLKz7ZC8934OBk/tPI4gIAGuUyZYS6JyOLbKj4nemcyhAtW2yqFuOa5D44yJvFz6QmER4I/UZatQW1Eqd9Vt0oWx3n80cOqcRQN/RWGguNqVjidFAh6SPJhstq/zvEGlsX/0yEMn+5g2Z5krTL2Op2C7mhZDsOz6rL/XZhy/WywVdsTxlIghcAmFL+odKfohmunYkfHelLRQdwaG70xPDhqi6jOKVeKA5RDamA/tg/3e/CCdipB3kNtb0YjOd/u7fdPKF0qesAu8v9IQ/IZZRhm3cciWU3EglWNcnCb/YrRgX9jsudYBa4CfMLYfP5mNLdbumDU8ur7t2sUAuKS1l8Cz6tWHu4gbtfPxfaukqV41Lm/v/j/4yNvokY5hFysH2cRg+QHOxCXv73ao9VyYfaaxR3VqYD5i/pbEnIJOq86EhRboOu8mjqFIgjNg5F79NoyROgBVHoTps+GmYgeF97yPGIYmy7iLck+GwzMrGzPPJ0dtBugjCt0LPoLy57l5HlmBMoUDNW4B5zwlqLsnRvonpq9PZlJNpxwcQfqYqJJpJVymhr9LAgMnz2czagxp/Yj+d8LeKBQni3RA73AJj8sv+ZA2LBaUptGFjJbJFKbS6EL3T/cGzeT47NOWW+ya6Iac7J3464067PPWvWV0uFW64MygtU/I/jwKk25foIsf9t5FzzPcarllYdr9C/Jz0VWNzvlUL5y7DhzKb/kBCjopO5k250xE2hassQ8Cvse9KqOX8uRxiUEr6ajQzac3JIPrIMIhSPGf5P9dcuTxjw3f3StTjYibo9DOFjKbtxk7gzMb0s6Wq33+hD2bIlI/T8afq4z0S9HiF2vnixxv+2fv+oWdXaMtaDOxpTwpNSi/xFkhLh41MQNjPvpyGn3k+Z8A0rZQ/PUHa8o7f9zIHLtg9YPXJn50EJfLcOCgYyQaAnJ/YQGGzt3GxkuTuJ4EF8krg5enU4Gp/Yp11o+JYREo8236iv2fpFHsyjRauP3NCKTRwzgWLjxVQSMyclLxVhwxgh08R+eaoDyvHVKBnPnVH/MgLERj2Bb3UxYdvnDj68ihlFiattIoZUOS/+JbEhzoj9Hr83bl8zogl+DnaX73EfjBX5EGJ/nDLnCyR3EI+Tb/Hz1UXYSp/FC1tbJnCCJeoMnfAa4HOr5bJ3n6uD9eO7qmDNnUmUL9O/el51c3el4Whj1nU+8QRrMg58XnADu5XOHZx5GEmvBZ4mWDieOJxlQweVYYraQzJ6acTp9nSZv4FCYcd1NT7hPw9i/yJJ28BUrNnUjNVCapt64qvHdPP4qjQzG0SoFLR5IVz86XMfivw4fEf38BSPajniCCbST4mQnmCbfXBlMoHZL58UU8N361A+RwIJ/apINtGRykpI6P6KuTNbM2sXSw5ToKJ9aTogvzduwhYLOW76pZe4Go0nX9QdIz5CjfWOMQAY6D//fWDHvhHHKyuKLXfW2tB8QJrWVK7FzWYP+j7UgL7KIHSxeEZgpvrkn+4uBxAw7ESblRJ38vl+vqHum/GWx1a0x/Nid7/CyMDABexRlourNEo4O0q4f+X+NlIaUrmR3NZvV4TSXzE1lS8On3w3sCctNW+oz/cpn/GS1joHSpY3qbJVba66PMoJZdxyQUIv5oxc4ijm//lCiUDRkcaYLl2y6rnBV67wOHB6ziH+nuMdVYnQU66GglSyDfaU6y2Lv2WUfArVbqtg64RTog2GcWo1M9vJtn5ezvAWaCpr1m5lZa48Dk/e3UOcvLiv1PYwgWlJDotJE7SAzmUThLramAeLsT8Qfpi6M1RFZdF7fNrREDWzrqmxTC4kIOHU/SpyCa1rIIqCoS6Xb0QAF00JEcYDiylvRn6tGKDQJ1T7jwrg2MfSLY4i6prmBPWBB6M80nVxsusSzoO8WPV0mrCugh3YeDnrN7WL7GNHH/BOzFTGXxH9vwR7+LjsK6JpAmIU8/WgfAiFMjhrb70PBiFwDmxlFsgQkxhRXwAbz4tXiwACU/ZRgOov4u/7Tq7epL4DNsui+MfarHMcPKxpBWKh7dVsmgYAxpyPT3G5H7C1hht/E/MpekAIlpVvxB6NZWPp0LSYtbsVaQcqsPxycjSW7fU661Yu119Vo6CYqwgV8yrLcStJYix4ddmSFPBwOPuqfa6DzAyHiFpe04IVulMe22nbSCnC3xmZOhgGjtUS+7ud7IsgR2hBIh5DQvUPsZVvpB7qXBjENDje2FOqieUK1Uibqh5mlMQ8e5Vl+AIvpvbg2pPcm4G/iJAeQrdYfS5qp+JFscvTD1GB5vQLPRAQB0TlH5DaxrYSdK/ibpcHRmgwBH/sTpYEnlxvg0bz61uCzheYyK+skhbv/LCo1YDIOL+dK6Hs17ISqpCsHLfr1cfVL976xtf1C6acMmUscU1UjAnOZA6PuLqqCBVk8m/n5Pq9gxFhDurFNqCO3akAnpA/De57qUrS3fE46WrYh3HiBr6o9GB2fzqV1sYCWyjIoWNUbb2yF3JdA/cq7vC7bIZroy0UFtSZyUZZhKXZ6tmSEoXWxNcfjK26Rs6NlwjUTs4Fp/EYjf7IfqY1tBYCMVMGcuCH3tqiAE8N3Y6x6Alxl6Vdth7x4RKJtEz5Z+SpwVL2E2/U4eUr4fvLFHWcFpx1pi0dMCvNMjedFiVtkIbRD+mNJvOIrqtiOk1nrfAqlc7NrIX0UwYriUz5VfkKrpyj8JIxSfVfDNpeViPFTo6Frp+K5irceOVvBfQqSu+yEdxj+OnQKbCh1CtRTFRB2/Mxr3/L6qbb3ocYc+TV48SqrJGjorEryWasxXD/EY7p67gO2tnCLSL+tlbgpFNArZvNKa9fzGzPH7pDModqDPTYgE/5CpxwMhyQdViLTNMRX2XdqVtOanNFslZTIYFO8GljSSoaTkBFC7RnyyNrdH+iLCsr6sEPQBJn/8tchgm0Nge3vrpXIVr06pprCZWJoo4GT2bvwpTuIpkBvWsOh94LW1DwCDr2DGdg3xvOvz/iD1hgPdgg5NE0jc34qK72StD1kv9f01MC1kZlPj+esh+3spA/wQ5LaQo3D3mGzN//aWrYiaudfEQa+9Rp0yL4vb+cubMQGc59LfNwSnQgv6NzVWAQgBWBfRwkAYj/iBTXkDIj311GK2dBSNHBecqTuTCEtsdO2BBoRdPTm33xybuXqHzDyQg9v6rA1alcxwlcXFxqtUna0nticnTXEIB5pGmHGPD8b5SzbmIN/07+YLrRjkPdipY6u3OPFMYFMvIQac+gSE7GTnIOgUmif64y4A3DnVs0PXy58pbeURfkLmV34nxltEkBqD+5e0SQJr6JrOh1GHRA1B4i4bQyjzVK5MpqkvgI8ybwhczBcQHXqU9OPuFHtRdZd4VPOZj6ZQbD+Ra0pSTiAQ1MpRTO7oknfEylsnEojTAqNe7CzJqpWSgahfNw4qqQu3D5f3+edricKatn4C+oHLMezE5na4KVybao016nV1g/FmX4q3EDjNLUucfovENiwFFzjMYyZd+7nXOTLwcRpKIouAXWZX6itFvLv9R11KOwm/XvdUvJZ3wYSZrhAxZiXPo4eS2xcyXCbnZW2ZoWTjFpg337JKVkaVTZcU2YuN3GgnGLIvo9vuH4rEQDyVx+pYd8ruaO5Yg0aT/pTV7pcuxotr4gOEzbKzSlsvGfnKAY9CFXmNlROyXF7WZ0oCPcMuW9oZ1woxTc8NacMfTuFrxLhAbcfZFO9tbLe8AjNFp7g0G7nn05CIeHYSPU6eEniQfAlu2B9+7B5+nUOvpGmgOT62LbLHVAFRE0hy/k3EWOq6Tc3nlo9jAHTp53OvtBTkExyXeTbfUFo7/AjE4baiMkupNpnTahbPM80GHtnHxhMdwF6AEnkAXnTh5/8cvWk7yRyEgT9+qaOvAtT1H/kQlbzFCSD4uI2uf60Ba0FN3nta2bpCLmsBKGKzk+fvXX3Rlbw/0ZQY7RhRDKEhsBEsYZVvgyx/9nnB3cvV6IxUHMUeWdg9/HJBJVEQ6l1avfjB0at/amnu9qBFiuugX0phv3tFI7s4eFkq3uvrDOxJEzprteIF5GndPyS+PYQNDutt4OEEE9sIvuk4amxN5GIwf4hnDb1j5njmHWNYFAkK2n6cZKrpEUsRJFnES1CvTFTz/FTIC7XmAwUms1JL5Ga+P9Zoc+AL8gXZa1tA32SdQ2xYVrWXZrXoHwJMufqj/HCcYSjmBD9pJkgWxlue79ao4DO110dp+kdth6ZWIbnFY9+RwJzYCyJlnti3X/XrFz4SaSANEaPuFl7rdh3kMRUTFhGNn5pDsA9pE8dWF0gwtA+R7VhoOq+j5tD5SJoqC01mdK8Gob8YlgCfq8Vx24ojizqjqs5S6XPGAKbQ9GAaDnujPFVElrSBiqdKd/J1pQDQNoOqJtRzmaI94kZGL4BN61h+s/031Pe2Gxiwi8ysb9oqOdPeA2OKcAb7J6sbh2Og+10aDSIsyZe7ew+hf0merOV8UVRz6mUwlNUaOLunPXBPRwcDgYqFxDYsLTMaMIQMsxbulCyhMFGzQYk9mMKDG3zYRl/ELDe1nEPtnZeCu2lv/VX5H6m8nAAktampNk5zkZzjtoZHCIUn0BzohEeaxPR3fksLmFGx7rRrhP8XO7XcalS7mYbrNhfPJMFiO9U9YzPiOeUbGqR07Bf31yykfmFozE/ewe43jlitkBEz0kJoYG+0SpQZndLilZl+Yn/qgYpma8BseI7y+1kkUoP4SnAiSLj9BqLJhE7Ctodjdh1yIIh3k3cp1AZRYhYaFstavY5HT/QRS63QfFYC2KUubvGAhycpGvolyCA2wGvb0KYMj0yNWcFObUKDdsMFxTVE/ZWKiXR216P+jjm0ih+QH6Y4nc3f3ciSGazMbhBtCSFrYkz8KwZ4reY3cOt9YOMREKh4VYc4IYaS2BBRiuhYtLEBq74jz3+ki7Egt/doyx/EkqeoxSdF9vr7i1VH9rXAUTsh7e4W2J6YanZBZZ9NUX0BKN3xva1Fx6SRSP3XMaTYxC9Ot14ZRryVirCwGcgfo5/gl05qilRN3/wZlJs3y57dX1BaQFy/VaSfQnAm5uosd/KWqMWklBL3nGfDsxdThDX7lmSJm8OzaiaWBlrn+R9bhC+JdfOktFNrSkUKN1aVsEYjCihm61+mmBvnjhTthMJW31vBFT154cnID1JFQuY3kglgnys1GuheD2ya2sUV0891RK/HvSAzENw6B1HJ+nYYTGOd3DXNAUv86n4fJXpvfEnv6hwUIGnl3HAzG0fOHMA/svttjFKWnQp1xAVmrAmz2jDMbPr38xnGzcuQPsl4Nvz4/chnICz4bv+4RedOK5N5gScu/wJ7Sbsk44Cf9FZ454pPMeAUA4l0mBdM2J+0Kya++pOBH8NQSBXRjU5D72200YVWGJo5orOWUNIqD4a/bt8JjZcqcvdC17MAdcR2d6wjIxl2v8C9mQwvJ8tN8ygyl6Q9iPni/Q4P6ItZDj+qQ/cj29NdbITC1TKn3+ZKgg3a9IenOwP6ZBrNKMuIG5i+vVHBik2fkcoyuuo+Mi/YWBgEznn3OSKqjIMyP6kXGTP0Jxh8pUHSi7TAdMMOBoxyY/CABOmdJvOh2gWfnB1lB5+d6uOU+aEntpNPNU9pLEkFxtFCbd6QdAPiTky3QsnW93MWubhsKBVvGzwg/hP+TeGjH507QOPtCdl7SVGU/4W/dGkGelzO7Q1YRRNjhpj+sY66Cmjf2ArmoKlCUAmQwTiCtVwKEUrxHBbhmsr36FmO1lXbnEH8rWs5WSuPzmaTq5sYk4SbWDCHmA6eKGUS15pC72hmzZ1yFGpV1RZBXp8uqdpFxqM+TKsSWQv+VUmyd4qr2o/fmZNxNJraybvchYWkra3rcblUbb1v61m9C3Q9suqmDAoHjJXVSPxNwhEbAv4eHCMI1tYPvkBtxJC0AoLfPCXNOQVp/FFPZ0FhVqr2SszJW4dNYLIi93BuxW6vw3VAKwDP+J5ea78fUy/VkfLEjslhMPQ7I3tmYYihjEB4geVS17j0Ixbs3Eke7bhxjwBkp8X35MXJ8HDEBQcXaBYOqv9XxZj3m1Ey4Ly5yKLPgvXCgLyOSm9FEyf62dUdiqxENH/jOohKZT1wNA/MzxRouJ1P0GiJlh9JEwgpEaTIgPBOCjTs0/TxMO0T4VwCX8LaikbeLm0hepHrC82BjZqaKv4oI6pD7IDE4xE24g1D3e0K6w3kXaVRfF7oRwQm0t7QtoQI7a0JZ8nONlq/TpbGFoha4lsmgDXq73TY9Lld1Ky3K63lE5y67AkvpiqW7v41vK6Xvjl0k0wzNRpoP3E2STs8n5LNKxD85PZJOOAxM06x6zmeu4ymaBDlHg1RzQpjdCmtIE2647VEarm+Kg67P9TAmn5u2OiycP9CattxipZzTKVnDv0lc6HrpBlAbcmDhJDru8RxhJDfXZdQ4W+5e84umYgVDThC4QwGJ+qsztyR7vmlTobDXQp+LbPr0nT9tirhT8EZ3inNIINmNpm9Bzw6pJ2h7EH9+ESSXqmT/Dy8cyY5Zs18paPKOgHIqRpmuZZIWFSHOCqY4sY1rQ2a7MkvsIzn+ru6/OCvUYOruNIrAboD+NwRj0kTcgldyvQtIBMvP0YrdrbK78dV7tMbEqY8M51mTAZ8WlekwCkuMwhb/xE2xyUpU8ACR3dgpE2ns/vLofr2XlRFLqigOlb99qGHvn0mS99shW47cy/gt6caiftJlpRKTYXJyQIIzfHnizPwgg1//RY/1FcgH3/Gt6nQZkXU4oJuzZiNK70d2tikjWvR8P/rf/4lXrdsO2+OAPp5625bmaM5+w0VdgIgKBHu4zyZRBTBKFsSl0gadViFOW6/02EPAS1XlmvF/elR1kf/8LYZa2lh2wreJLefyxLf50mivlCGanZ3S0sTVPyrCA0ycdZfWoKSvnwN993mOhwJH6LRFfB7vctougHMgCDb9IHVPEnpYJwgpNZsjCIE9GPddovk/Jc1ZhvKYhs2xxKhidR0E/58FpYjk/iaHtoyyAQ2A1anFnDBLoofebJhThT0GcMxbekaxKWb3eAxPGhTyNGLjbL2NdMJggmmGJegKyDUmoTJozZ1khAItpbJ2cOk9CqBbMBxoTbrdbpX8qDYnZv35AUHFbuhUPrwD43kmQqm1Bd7jpvRiGGx+/J02YIcaISyC8cD5vFviE4lxZD1JZAyqt+/cZKKsE4Uw5t56F/zFygwJtoRvQ0+/sQ88DmC2tSboWoTV5+4J1xuexu2r4vu9PqHLxJ45kMn/4ZPK3mdwplma3tGymsOLzYrIWj2hRYT9kxb7S3K+O3TzzFq68MSqXa46M+OHzb13UM5s55dlmyIWrWxOpSDXdlcP0ElwNSuMPc2hD3q53CWPzz3M7SEtgq6u51/WoXMxhALdZjcVYDswi0KkR3582EZGY8ePkTttGDzspMt2PVRUUzvZ+zWN2r3Y79NhSyuWh/8xS+PXeLCRK2+0beT8/lxKahxIg5lj1LuXvSNn8WB95r21e9BBn10MCB+YKfm20xtOHGS4Um2HrhB6oweo1ATQ29X8Qvuqxj8rwHj0pYpjibalx9DXDdUXCgVDuhYTP8xSxkXFYMi5vT5PSkekPosEVdA23SjuwlZdPEHa61mJVcdlWyPlY20vdHFcuPH+MSBTJ7GrMntfeiX5wDV4aUlC5oSgSZzXBaJiwsPHfuJkpmjBnAXeqU31UXq2YuGZuu5kR044SKX2xXHPbb+Yy9IwEic21JGQfy8lwKwFg3eRwACLMwpPsQSFoLpcoUXxUYkRwvwXCItDVb0PsQHawB2tiNOtI7lUpjcyCAN3oLM2ro0tCfs8gcE0mGduKHHe0o7U0ZqST5H071O+/q2RUUuCx/wgDuAPDWzNj5+dyrsI/JZpFoOUrVU21iJFvfyRIOJb8j5WGA6vwwEqGiL3yBs+yhpscGyVSGiDz8K3Y4f5nTQtvAFwqQtrRcfM4uNu5g/32HfjWkbW8+iATSghB7/+L2O3tyuxC6VIV8+yOuQY0KykHls9glcjUqBVUbaFfAytAv3llIzzJvI/RSsOTTHZTSTAAtdh0Fgd0JGAkrLbzqmPJokjLQBEvzj5jUSsWOJNEh1Ta8dsTJmdpLxcBOn35uNOmRYkF5srfgK0rGBNFsEX/03qMSTJwjpMzvagJ2SLVHXXSxvl32HBTZh1ONQtL8xbtNk8Dm6VYadV6v8W0Zs4htJwvjSD4A3fqBzYtdVh8q0OeLUlD7j1T3XktSyUYbcgS9+nH6zjfVOalyJEFYSby0aaZkCLKj/HswiyryoMmWxIVOBy8FyFMxL35LRLKAjymcsbTSxmStKATD4d9wKN1fmueYkDWEDByTReXdAbzfKxLUoloJuaQNEZTwh4zZffwpus+Yxbz2vHkQjmnuVz6i/ZeKYHQnyA4H4zioCYKWUe/zsjZY28cvMIIXi0lQphc0rFvMVhPMmqNZe3ZWkOZ7SPHdecTUO+o9YqsAoAV/mRj3Ip2BuUXA/fP6W/eeoY7Yns5w2h3y1DfqHMvQ2wO2YoDGY4PuJNJyVgvZac7OOWVeHfvg+7fw/1ireNVdIAolGx2yTL108hw5Rkzumbo5PE/3bjJJux8p9TQ8yGizquZBJgfudBnRDieXAjrrwoIgBquFaxBvZ1tYRxH3jJmaXkTQPY05V+SwSxiRNJMVhVibpiepdjU94kRcqb4gwUZgxnNAuPnuJq54IMINBSMC5PY9XOeQANNhyn2BNw9xokRpwsNJ7CccmOdg6Xj1Ry4b2I1EwHmdtaDr2Ax8qJ74H+w92wfsURZ8etK1TvCBn4Yr/qnXlqLstEDgy9SfGV8Wy3WdAVxnSw1bVOSriAnez+vEVjNOkrpes08kJR6Bwxy4zlHY6v1hz9spdW+Qgjrhp6V9Yutd07d1eHmLmNIWK1tV+nPCdSnqi1l6zGrUdyAOL8XUsBfEyqnf1N3Vjn7DJ+0s7ImSBVYjUIrhBTMF4UxCYyTLgUJ2oUbdrirVXoJvRtJ48e/uWutNj1e//c7I8sh2cXO/jZsfHMLxTd/W1G7q/CsB2gF/YjintuZaJL6IB8yK33WquPItRffpm6tt2VmZ22quTDJWoxS30PSMaovgNM5gBtl+XGzxDWybePW8HJNVHl+M3noZw4g9Y927qC4L53BRXtplPEzSMGeg1A0hIym70PBebLdx4sAp43hJAgIabKHe9p6EBPyYo08wCEKGKz7bA42eYokcHBnUajn4HPrwtqHHmRvOpkuKz4VsWURMgjqEQ09FbHKZhhJ3mDtF6ngsadEtj3+uxJ908Ay4EMStGCJha0LuEctOq0tTwgu4NNSNdrGFoWlrgZPUMSwhZ5zKh+YBMU3A0w/+B0W7h9aks26oQrrewWHI8ooIZ90k2vy9eK9tkv6PLIsANrOvncTmCPLu6NVBaSAYRhhXyU7lCZw0w7sdm+z0gaaBVmDx1zbi1ZyWJZjKrdXxT6vTimNe2qQpnjuqaEl+DY4yMH3Ut32CZPpdyDEwQU+3r5bO8hMv1kBwRjzM+rV/2wD2EVUFXslBqMQH5RoZTLazf1H1o0KGXz3K+wLRhXZw4qpAP86aVVYHo9OiCAEbwdypppb4nCH/SU6yq/pPswp7h0G55nB2rJTZmlKx7bymzpxM2V+drRbRhwZVw9PxrLxnMOXMt7JMJZVocY/k6S8Ui8spxeSuWRpLJ6+CIBhZTRqwpfX52O6IT99A9CYroX2TxyYMCmmfPU7hiLPEVzDf+bgixIdGqjAn9JgZYfeOKNeVP6Z7SD7wTJn6bs5FLyYFkGAN+YTwL+PZJClDPsOI2DdC5YjYucfSqJWwmzzb0EFws7iBKcM7yxv67tvCe//1UaWq9MUjAOyJnMgDqmqI7qL0VqZx2sd47jkkpTFxZcy3e0Hk12P7vMFOeij4nFM3vufSq0xAcOXVpsMUgU3NVc2Nq6beXVjZLRMKu8kh5+h787nBVgEEka71IbU0FeEWmE4bLj49ZvArbrd54apjB4jJQaMuwkAO4tXkS2Kyu9n3WZF690E6Vw1PQfjjfvB5cu0HE2vY5rChqEL/fQd3sOquWg1jZMUZ4mtoipDwVd/IZOxvW5y8byU5NLwWUPjXv5yCz92Di8B9vtkE28Vlq45l4Bq7E/IC+h+SSvEEmUbVpIdxqqX37zkg5C3l66C5OpmAe+llUYe5cAIwKHLRCtZ6c+K4JWZ9h/6Bx+fGH21zjNY2/0ISTOIHK1uih0iW8qDAyPNFyw1jNV5OK0+yJ+3og0fL7JUAuvo4I4gFGl2Z/pfUrdpVARMBU+30nGVpc7a91rwn856xLpwIge4zD1IuvsrvLrSxb3PX6PTBD85axN7fEwekqFua7NHRsBJCC/QxvpD1/nDwzpYB2gFIPGAkMjyZQZQ4J0U4cmNxN5ORA/n6Vql3cJtP0M19EZSkA20SSuqBn6BrslcjvGWh7RmtvWmodAuZQmFypauI6yo8kTgdBuWBjvwhB/RPLroDI8B1IA+FO8RtW2HQqsLIJTt8oBVz0efr2qTocZrQNlILnifDhOfLLF1NdCV7/+TfSq97Hi26rXqAPKT0pp9MOD32r6amLjT4Hz3LQv2pC7wPSNStpCApk9+jELWBcTrJaUf7bzGQwW7E9imB49o4oOf9DngR98+PR0PaycXqLB3KVyNMksyj9lnxuJxw1TBNDAyTexDdpm+SzeOLIxX17z+5SOG3ruyUAydzArrqCrPbqPbjMf65HdfYh0EZYZDb9JDoEVEMWshK0MDjqlA+n+AEBPTiIpySMy3ve3kkt0CWlFWUSF+B4rFqiw/CiYVuJoPIittK8s/cTtdwfbe6Y9xDg7CG07mjaQedmqDo2FJPX9pzloGS8kuXJaiC20yGWmHhm9GIqwahEY+ldCbPZqe12HBx8xykN/S4xi+TqsQYELp+Fk2yw+X6NlhorKqGs8palG2Rx3LlQqaDJYQDxr/AodMptKiRLkA7jod+nBpjm+XtoGdogdjnS0fbfD9o1O01w4AZzd5lKBWoK3g1nNdoLjP9ONlzsusVwu2NtfJ28y+XFPoFrFuZXgM1210PonlwDMZMuzDG6eov+k4v2jTQ8vrMMvG+SwxMh3hEnkJjSJhVCXxL34WZ9keP1SW1KZipWrqp4GabO/6y5f33JP8mnC6M5KWom1EWUYE0fakVsgMKgfIOyfQ67m0nGlbZbDS2S1ifG4YKzaWg5yimiqczcdrvluwg/0MfvVXgiYCR7nHDkKTf9289iaCrjLeWMDT5diF/FITNXxZ6vXVg0b2mxVjKgpGI7CfRgMjNjCmltAq/di+kdTzkOKRGbYlcIPMTOU2uWDR+FIaE7/BFwb0uQhTc6AKipCw6RqaBtTh9DTtn2jUv2CY8JzV/UEJ4dic27URlkiG4rMIKmVopO6t5oJemQezvHA0onVkUmj951T5JZs1WXydkE9Wz45i3HHHi+I9MDR+sC/az1DR9oebvsMyuHk8EbdLmJpzhDhifON7sh4wkuZEpipO7QLXe61EDgfNaX+8fmFsmkv1fmcvfwQValr3cqZQ+52/3MoUFTaQm4bhbMUldmC8W63kn9GeI1oENHeQF9OqTHZxTIn6lo2o4VCZq5OO6daGryf2z5FjLNTb1yCp0EfIko3vFzicCptAs5QqvcuA1eI/vw+wzp4mTWbVsV0PBDwDz/J1zsj7pStqvDvsCN+2nzHNX/Yww50NgDE5qJcO617IbHsYJt5lsEfSt66zHShEJ6ZcCtrFTiaWkA2Xwnx1sUKIH2CSqU0Aw8YiMqQW6ePuYS73wB2SKQQKbvQRHQmnNcxiMwNQN/C50uOQfrWPYOv5+vuGkS2gTLcREUcYzx2yCH3kOQV0w0XKvm7MrPTB6C89LQ+QwSVV261cuDPxXIZ5rvXOSomGWwznqBsD/a5qma+qazacrx8iF4uofMU+hSTYoZ549wTUwWhcHxxTLWFvt6RTOnm8Oc4lDv7vxjxRAxW7QyTfUDUeRIoPlI0USSTwe89pvgmFxbZWqx1NsApdv/7y1xrlU3znP4+kXLxW19DDeo0SVjtFuCHAr3U5Cld/dlMoCBplZZHTP1hUqnCni8oZDhxDLqPJ33aMW0U2lhJyQrjI+0mltbb0RmLRauLhTiPpwDpGQdd/xz5SpcTZLpojKLZFUcOZmYiDGs1LwYkKUNwu2TfkfMVQ4SO6JDH4unJugVpS2cXJyVE+FfVClkPVsoTINxfdyvy7rSJqbTtNTxSCuQ3E1h1cdKCIkmKJPfsRNfc17aCFdD26euv3NuJvyrhwDOlMynmArj15uu1a4TavhMy1SkxtIvAjWwcvpKTNrwLaNOx7udkuWeYScdP9Bj1w/N5rdiGxyK8ji00SrTSEcI7q9Pa00I0o8LHiiwt8sXCDtEYAo0x6uNcjZHrk2GoSbwHpZAc84X3zcW2jDA/KU2oe8v6ZEysydOXVgTvvSfapbWYLt/Yd4Zpb0frEtY5Vcccd798pTbhRH31Fb970QU7zErfqPf8RKrSEYd2D+2pJrGY0AQ/7VxOiTjaqmu1J4PIE+sy8s/Pfycln/uKZlLa9XFu8uG1/A2VWLz7g1HRqo6Gk06UCfAl4t38/R5xrJ6liDjkZAGFjWbIwD5gmGxx/bdXyrnj8UHCkXInFmMcWYcNnjpfWKJ+XTBU2NS54wGUK2p8oG2dAm6lc6H8LN27nUvSeBRvHuVNSpuEHfING14udmO3noAkyFcPaIvu/TXf33BdVAZKGYWPIjo7R3WkZX3Ok7y+YS+0cRJyq4ttQSUoJDFaD/FqXmN1+O9TLdcPbVt0kLBnojl9miJoHprktqxFzfnUhuox19VmOJjZpJQw2HQMLMFh8yt+t/6UhDWqNfQpPwTpvpTxU6TMvn/NLxhfwLCy8AaiOpITwGzoxOfw5liNXkooh1HWTDlkMywQ6nTBkhtIz0Yuv76zJj/BI17H1U4MKvmYLLI0OUZS+MpCJo477FHneExNDzKJR+Rwz4OJ45b0db02QHp/7r4kYTcA/Pd/GqR32bYUaMlH36Vf2+TBTDhy+akclDPXotXlzOvOxynwTfQshiTGNGfymtfcNBphtlNKGSuVDJsYRnnYIU0fblnC1lRFJZCYdIl+ww7RjmePW8oeAIFY71xuds/ixdV4iVWlF7zrbu82RexbR5Bhx75tOltWgJQxYhocRs4StyMPkB8OIP+hxdRSQEugNbe5NGs5JdsGkQZyv4OvjbtMrGnDhyLX0StlGeRZyNUm+y6zqDKRkfAzSZQtbJFp+DHVLaTIKlp48lvgmgRDWeG/TaFVgu7XVFoFHrf2C4IP+KWi4zTdus9yb+ISmWAq0V6E53aO+8x3YXQQKJnhi1rfCbR0uLpD46OfKcrOV3KRIefTGKsuIaZKQ4Nsb01NPkuLvgNw5KhO0mYFmhAmlehhc0d39TeWygtN7EZZfzKgVqqNHhmfsxw7D54z2Py2hM4G83lEdIuJltx2ZVOCnzrWGQcbpt9EpCAZOcb07Yc/vP55Kqlv0GK5OqYj994ZM2yQ0PtN7OO74TbPnezT+/6UObA4ffgxKKQjYfEmgDUQjfzyhqYz3x3vKxBYnr2th/pnMtmt83HOQAeFx2bK7FOQ8J4/6Dv/l3yYePQ5AeRNACktSvdWVQEOw6b5g+KMMVW/elDEOj5qlYcmhdlkTPuvsAXPZqpBkjX5HH4IHsZAuFT2yjr5mP5+qN0A+hog8LE1rPXUzB05yj5a4y4u8oGikydJjWg4ZIq7vwHJdKX08YBE1U1ThS4gM1xNHQZILa/IMPxvYUiRQvzl2bEFrLJU7eBU8c+iDxFKaIgE2a5tveUUknSy1vnPafGWEXDfbAwJaNA9+P39MejrvPXAPx4XkfWZVutUsbVmW70HsVOTHX1JQrG/09wPuCqMa8DaRC+Q6pnaaoXTZGRa+RXLb4odilgro0yAY9VYzRa8PE0/m/7gLehFJDPwR5bVRi2tjoQyywYplfy4r+5rlBKae7GK2kqWyWW9uIOoMWDP9069kPrFUos0ssz/xIkM/WDktAzWgkiNM7zP6oKHehBrlLpm9udRxR0Fy7P33zmODTqZ4D7hoAHvcvHu3f8Bsh9Upw2iy0DWoC38dTxfK0e4WFTrAHKVX9/gXj0IhA91N4m2gsh89rjIGzCIs7ECj9MszO9ppw6ckYMvS9beK/9lDdByPWGPUw0uvlVWmtI6jpsacL5LlXvhYwQHODns12QyaVFQ9DD/f5tH6rzGVvjij8Lp8Rvp851RS6qKMQt1aVbMT7dESA4sgrK2XuhDIodbsUDLclO9KWRy30utI69gAq9LNAF8K5+64XNBGappzv4vPn2kPsbP36yZ9+ZbJk0n4hHS3RAHMi/EHrf9HANalpHyLxo5Y1JHxc+99D6Xexe6KRD8N9wyzcufNYMGDqBOON34rOAw61N0QmULmdWCMfuCh41NiBOw6HMWDV3wf3ln216zZalcVG07S/6kUmdSMv73XPXN3msVJhorK/61b5nSACAxLImRaHpwf/7pvKbKvv7vE6+2Mn1AglDkkOqm1eRlsqAZ85axviG/bGaKyTpJj9N+zK6+Ee2cjZiEcpuatennxB5GzhY+HEB5f3F8zsTbw7fWEkRLSgNPHgdUDmUdO9IECDm8+968zDf7PVDpOzI3+iJO19PYBiCFi9wXWhIKRVeBv9NFCLcYx7GNmV70/OHadHHAIGl+u4PHLfiBOBzxAhCpTzS9EjSpKTTFcoJ7WNQnRBLR4E5pTE7K26vWridSn3UgPbAnYDgWXhH/pYcOFvrrgoNQKEpAif0OQ25hvrxsE6xxGz4KQMjOt1ppivXL7g1kYK/cT7SHadvHF+8JFfEwCZO4yyFuHjx7LDwZ+kkoVBS1digzqeOu6Kv06rf48/orIuLzt2hZm3y+8Re7kW4yb+0lXHOC2rmWyTJbVSXWFUTGjYdxkSFKtQwmr3ibuCw69hf165xYU0/L7ifeIhybyi/5maLvwVaTa6VKGsPGlckPsCcsiDDgMF2WbHJ4UwC61816K2b7If1v0u8UXEfi0rChQFSMvM2wK2oYqfk2EfizTuyksBpzw60oIIolCoTSo9IVshfoybbq2IX69xJIkMnbqBsuFyl1AjwKOJj+jQLHzpGMeWTMmoQqeMJ63D6MJ7QSgLklutDj7uC5wCIlRQ0LNoDJe8Z1bFlFJ0+BU51/EPOwZbKhq2W1+Oby9QXdoob2ONR+603OabbMoP8Zhj2jM+CfXpsjw7A09ncaEg3gAVKwxK7aTMdxQewB1sTjQBRN4khhbuuzI82KBIio1eloih9uAt/hLL2nPsig097hKKluDiHEIDqTgIEll5XeuCpYhH4ADoL9W0VJKfyjgdzkc/z6n4w2IE/qiUQ53f37LiYkDoKHjXlYbv0CFnZ78wwMfM8INsgdwgLP3V+AmWAoClcGUWJaOv160m25xaqWj2pmQT9cXSgChbnZ3mc+vamSY2KpT/RRtSUNS705dYjBMT7neoRpXy9Tn/f8DhLUhIEkKNdIhJBxqkQ0otId+4uKH7Ieu45sntGqcCwKXOxzNond0A0Ukm/KtEAzCX2SHFqivXRSETt4uWlik9LEXR2XvbCSf6777PXE/L08E/yT3vKmVWu3ECq6O8WzF8Xriwbp0mcySIF6ozoAwzo/3fRlZXktdg11tSP5h+wZLa2MOVz4HVd1DsHq0aDxmzqQMgoU1oDasvic1QfjOS1i9MYz+TpTob8usR9CQThNAEX6a+Q8ZKAM/s/Ci0vI61MH2QxuG7CdOJEZV9FGfSQsVh1+RwABpAyCgGf0pDz1oTGCTZbMVDvIhUGplKfoUY5ruSyx2zNbcB2LLVehyOCcjBua2I7iMm/d0tGOXYhAiKJ6fl4cOMjenVi3jNBddgNam5Jw5yPp6dzNZgi7GxPp78RQ+P4AQzke8HNwKqDNqJBsGRoOZaqYhlLeokr1vD9kFjKMnHwYkBLIdpxYtrRryA42RaGOrC2NKvp7SBocsrT07qhgxvLPeu3KvxZ0oHNECWp+j1r1p80YgZTbmFIkV2ofMCnEMqjVxSkse5CEDcOQ7L/m+2rFSmfoOaVvmS8o4PTLc3kPQczweVYP86uB/7mhOISYmR3P7L3b8n5ULXawq9mZDIwsC+vP705SNhjUUpQ4Vr575LfaK7IBVd5TV/zO3qqObJKwoo3cke/b3Hw2W3wBrAuNKEihWCT4hPmZ6ta3lLJWl30lW0rvY3jQmdQzfClHPyqcN0XIFnr0nwD5zGu6pzAzKtW3s4dATzptksmmU/hzEDlAYreUz1STwvyPxBDtRjLbszSs5gTmfPObk6FFm/kgvVn5B3jHhVvPZsX0zGOVaSGnAuzKZezt/4AYCRo/ge+HUn/66bvoBu9R1yg+wuGMKpE38dQXXv7A2GFY1wv2Hv4bh6C6oTfsgUTgkUnrMwKBxtbJ6RZlRBY7tAXfdkjU8n655wBzDNrlzvh34r42qkjcXWSzvP92sfEjeAGbSxSc8iDNqxStv53EesVT/VKQWv2swNxYZf7m4qzYMnfW5s0WCfO3VA6DFiQhK9g0LKtFxY+hhRK1vGBhIslPTfO8PZFsiFp6oBLRiTW7zEvWwFgp1YU09+kJeu4oE4FMc10ajB9f3iMoa+zLe+w1UZV2rcyID8UX/tQ8MSaS5pgsLFIk/mtM298TA1YsEGJveP4/iaDPQgC16r/Q11GJIJBEXIP7LvDi3Sgja628ki6Fho0MH7b3G5k5kgsF41kJOfl5R5KMzg7d0B7ZlrjNvES76C5oEoTKIqYCIkloYR/RNle5jRnepNDmF4MQQ4lWgxBw5kWVpz360n4OSeAXiqiqNPu30GX+4QdBzx5rcTCJATam3mtjHyQxqOP9+epLW1wyRIASVXmfn4V6HissckcpTdMqB/GvzujC1xqfIz26Mgo0r2RX2ERlAmyM5/YjCgSI17wFxtBqDMsk8FtVoLu3vvChSpqwm8mmTGIzdQrM1gNzItC4UO/wp3KNkT5Ue/d1VX0hQnqe6bjcYZkT9HLRJAb/QMgQArGBh75tK9thUNWZGgFMRvWDKUZfy/+prB07ZXZTvrwC6unMAo3xu5x0vR7ZCmjSBxoqlVlj8V8ZKY/gQ+YuvLeUBt17wATFUZR5MzzYW05wvZQ2YW0eqyzpjO+669rQRSkYSiVHzBhgLKMSAR3pXtdWQP3k5c1sW7w9po813sfjfMe3BicO3lpGncUpJh8nXNvXubpTg0U54JgE85Wq8ERmr5P7Cfd7vTuCCEQEfuL3eFIEwXT0CGoG+bVkQzdbcjUTIL2DkV0ka/68zzXyljqVvvpKIosFyXm4pa6XZSopMaZnvlRu6y+ceJLaEq8g4rhRJunAR77csY2sdG2xOMexnbNE50YEzBdACePu+5HLTA03LiD/fdfA8+qLl0RjGUd/Ok/QQf58SZocxKcGZ8qeo+LIO3ZB0FSztRzrak3W5pOwmoaw4KNcdFJVCSw1Im3sPNiFdriozGMKDhYIuIC9Wlz5ed6MEnToKvJT5kyxa+5EPkFbZFLRTCuTWwcjr4vuUus/MXk7oEp1ZJKLF6OZdJkpoLDRJQ2IoRzLrkEH8DbUjna2EQ5rghiFdP/XnsPh76z3tv/ul2jCf7tEuTp3cXxXOFV55/7Fx3gvbTtI7Z8QMEIoBbp1pz4QJ1cUsV2znAeDK0E/yTuPZNngT4pJmG1VeJJna3eukChbGDA8F5DvEXgH6EyhUOJ6hXCuIAib0b3jAAIunP+Ertfnbv8iF/nSnKi4M8kPIC8vhJdVeMlqQMi9W2IMwWkfyeIDdmuzVWAPPRYq5nXOc80ta3rFDaTWSa9h0JLGXPkIPwp6cfUKw9CFg/UFrfGdoVckOCY1ej7chfXWXXWDURqIbnS9gaaLDSpu9DVhoATafTWEMu/QsL1hQlrLL2LdFaEZKX4urTVLC/+GFsQ7niWMhz9QQjyS69uCbx56EkClfZTUCCU3j7mmJabzmzR4oV+3eZ63+kzS665yMAmi1EgRz+uwp3zrTtP0KX46zcX5ckDhvfhC1y2mCEhZaQ12od7ej5uZckk1zp2nVsQN1y0lo8lBcs4Qv+znGJymX6i0/dYdyLddo1L7KpMG3AcThCyb5FCWbD7365OON2R2gN65LDO781ozCBy8SLK23WDtoxtM60Hqg+QIeYlaQV4jjHvVXOXtf0Ncg6ZAR7HmmXZ0/QzrGfEA+YmavJj1MlnXU+63ZymaX3He9oEaSkSAdLKOcEkrlvkApB51aYrIHuNykV26qiNlgHd5/pnX2s7jnwIQoOPcTRswZ99bhxhOCfDStc3TEdMtC+mQG1MmC5UtPrvgq+8sXalca/pTfKOl7v6QAR3mmE/TqBIoSoOCPFtEx779aquvpp7xkLgmqYvv6wNPzX5kJ6AAc/OxCQZQsXHFyQ1ieFRs99AqOYpxVlSLQLycvbhgB5cMFwdil/WkWHfTlo2C08+fRZ46IdKbmlXlYL4I9Xgt2Ckb3aOKzH+zVPle0UqlWMOkSL8R4pqgvU3Bg0AMGYz/PhvLkcb58uuu+ox2lE+xwvOPnd0wNBXyj9zj7jmMC6xBWUqFjQ7Wu2zJfVv/omqrzLNHDiehRrHYm7adcrI8QT2+GGgVJmSb186gJh1w9XsCDXw6BYa8WRleC+BsbMIO49L5wDT3rMQHv845p4qQGLkYY3+Vzoj9MzgG+mU1HWmiqhtQaawzrVMyc1R1kBGVGjsm2ihwlWniHsEnCb8QsdQyC4rB5S4rsFsvz7hJOsR7J7tphVVEjfSn0EGg5kqCIETbo40Z70gXv0AQikMtF3CSclJqT6W0lgu90sbuU8ZitbUMOnKwmaFVrH3w+cqB1hXj+gcjbPaWfVP1CAoWe1zYQ8ZkS72saCIEOvIbeN2iVB4muXYknaI2WAbswYSLYoHb9rkaxjrL7o5K75+zHRyyPWh/PDbavNE/LEItUnuOX868Js6ho261+CJXwzyhKM+K8meZ5+vjOcdXpG+1YNEosvBOq/oFcAG01hAgAnQem+4Mt4NV1gJH0r1ouEPienW4v5C1BwlctPNF5hY4wmj869nx+5ug9LpzlI7MwTr5L80/Pz+J8hw+PKU5Mxxfc5XnSiZeINm+j/OLbqm/QjdX3mnJv2F/QJZV5rKhbzoL9MLEvoX8Au0UWD86Sc38ewcBK9+DhGt6LVB2apbpncr2oszxV+OMhD94tkD/8MFNZwvGPh8WF4MwLeaqmPFgtF1W/g0vzbJkcDXE6ebNeXRvARRL2dgnGCcrjj7pybfeVwSGZ4WAUUhFfBbmVPhY+v54cY9OVpC9I09RrWXy9Mcz5FIIp+hqxc4ib4uPnnG638L0fymeX8yGnhw9lvA7vY5xSuS2D8u9hGr8giLEyuQxdIDlFbur+SOCnygZu93UOB8WzloSobIXUjJNkgX9QVNV6zpibH2KN6fX5hODlG6pn77bvsjq35nb19RrzAol+aie3rxocgWQm/2pVnX4aeVuoi5sbEJEVZCyiW3BvlTa781yiVBleNNQhidlY0oGxVSJDjWaZj5pvNQki0DA0LBw5IahcArY+9ZBcpaPpv/lNBkRgBakUoCckVBz/Ln5pn3p5e4fLWOvg5NP8N7d2WEewmKIX9M3INKEPzzORgUEqnNKDKxqYuQ7PmjY+i6Z8oyKBk1IH360GdEo+X66PP0kysl24TB7qrYlBMOSRHrzbpgBk+45yR0ykCZHGx/cz87clGC/biZ7azwUKgHlhhUXYyrGQ9MYKs/9ECTHZaXTYqbmHQDZqyOVS/6rjFvgO4oG5PAEfVSTFPTEwVH7cjmvesH2Pta/PWRpLCS2xNeSvx42ubQz0qewyAftdVROrudgq+sB2ZQdlKoDuJ6nqpFtBVr+KWidajdOx9cMDcY9TMJkqvC4gByhpD7fBj3Nr6fpluynYZvKZlQrgRzJT09Z67tVT1jx7eLvq7yH6SXhLkIa1U+QxJpzUN7YX+1bjfAwXk8NQfLd7HtTmRixeXCahqGqxS3SSXfI9E0LGKqVLrsPw8BvD363TrkelopbJiynfL4h7xYfa7kG0IuVS/t3Qf2VUbG+hTPjYTTATkbEbG/RZCuPIT0MZ7kBUbKGmdCU5EyA2ONGEAeuMgD27RlE2x0U343H2ogEswkmKRGT8n9vwLKQqpNUwL5ZykOfSHJ0KmMCGSORZMiIKChrnm2flxOOiOV4+l2d6l6hpcbTnVQNjL3gYdU84dMljvjHAUHuiQHvg2ZjMFrwVUuqhlRdE7M0BxeVACUtsnkm8EWS6MlGnEzQLzcTtbzeanN2Hc8rMG4rqIsiCVJmSptVq00bVrU25OFdZK2+mbe8nxPoHPt+NbyrWDN8vVqrjhJc1AhgYw4ARzCbQanjqC3Z640K5kpFsv6GPC96q1lK6DLDNq3Y+jAO2HENIxEQMKyeN8AKDqbtJxvHWe6yCZvn6FXDqrIs8UoXGyunpJOa/urmuWCUCtne4GRnFcKE07sdAJj2eRhRy7Jz37efbsdqQsK1h/kqX0dT2FZOABVR0ssgpI6kpLr3WM1vUa+pj3nGdJh+HB8fkflHxRopIVZej3a7FRx91+368E5S3l1shUpwygt97daw2p3ag8DvQoNHbRPX6TOnpNJFTl6yG1iMRvUoxuBHSIOm8XZ0hd7uCgQYqeWoSYaNgTWkPtzNSFxTZg2p6yFtu7QaXcmcaeoPLCgzA5aHOAqqDQUBi0zxthJ9dV2wYH5+SwLpXoeDYllRzwjDe7FhQlC5XMNle4HSocAVDWCtG97RQbHEBzRsiE2k70rlWtk3KE3hUtt/hDL/Fm2D2pZ0meuddkm+w3NglGJaq97h9XNwcD1/xpsWbX2+QwlE/PQkM0mtRAi4wdjqfvlpdC/oNn0TvkaysVFZtlmbSsAwphWUHTSS+jvUC9y0HMfMGMRQv84Y7nON1P7A9G5kGmdB3rBCq9vs8G7deu2MghQlorra0xXt61rCl3O50WXWEG7prhtTISM4SpavQVRQwvQ592IlPs0SzcXaCE/xJkA/9k232CY3ItC8iGEpYpvMPoe3DEUuCv+2+vsdFQf5OkqoNyor9WqlsOkVXG92YsJ4YUYbf3KU3wzA/zVV8LAYmGLSE2r8VR+og8nw/A2CWS8E59uQW3xixC770H+obsQLSDdRCeuu7H+lN5goENvrEhF1qHTcfhI0ZS++cutkzE7cmdfW0KZg3t2osGXa/MZhHL3tQ6yXjRVyVgvlai4odGyVmWjN5A8b/HmzPgqrAvI5qUMFn5t71JIphHvVdOPgts+6IZpoqhB11iIhcx7wmYiSQcn4c5JXu52LrlZDxJHawEcIOY2rgMIXCUjhjUhyfoyLb2R6DrkLAFknCWOoDJn3oNVj3w7qqNWY6MQaJ8cVg5uzXYDr7T2PQ8Wu8GIccsdxW3QJ6kzvMOB46MyNX1bhZqR5QSZXe7TzIq9TZsdBXKnGGztkeCfYQJyEmYKagCK4e910rYtEpCLDFR2rVIfgVPHwBrR496EKwptwdrLBfMqWP6ymWJ12OZrKGX6S/Q6ij/a5uXChrQYaR8O7J+zLzn5DW0sPj0CP8gRtXjdZg72Sx8L+1R9c1SPPfZABBP+vonvgIsSWqKV26dKydhG6iCC+1F5Vdu2xmnFV6538ii8KqlcfoAIWDBBBmY2r1zKf8Kj1iM22AlsD2njH+NK8oLKvwyPhVC9JCYDjRuj5mrl73XG/lMeeYgo4BTZfaeQUiHevAl1d0SwrKtHLuuB2DnBbU8nWFcUO+xtE5JF/LToQJ+Z9dNRDG0XeFNngjSI/L/ILEqqKye0MXB1piEVM9Z5jxaNCIxGqGjwEpTrp6S70Mmx8jE2vzIC9fAUHeYVrX3k5AhIf8X4ieCecn92QRt1bXsLnkLvrZY9hx4ksVolAnfoH9whK1P2i3aRHkc05grfkYelhPpZtsycPfRHY15NEbM+PV9cC4LYqnhjH6TzWzUW5fafKL65ozlsLJU+sc+8s2mv8AGcl2U2QqXSQPabqdYnppxqVH1F5CpRoWbgL6NI9xdEKwFQzzPX+O0wE78SNUB0MhjILu45mJGfzeVy6qlHQRDnnA6lI3lhnsc9ZTLDw6nPTlhk/GagWbSPr64UH7wfHnadjNx/KEFVO4/xESwUw9CBt43SWW03Ux1wbxJXerzVwcIfvjT9xIDqkUzug+IiRbblX1vdLEgXy6atp+4d1HCyEgwWLutzcmWA8/xrDv8qbALoQgxfQNhQb3G3x1CCe8vBV2aEljRfpqYBZ0ew9x9XHYdeu6km+u8YDw44Va/nIaLI2sOTU3lYbGQAgNgc1sgUZ4qUUOLbq5a/xhD1SH+JrnXAzC9lHR72wqP8jkpbTUzPgqnoaoQYR5XmCfrI1Pav/NvKjPtwzka+izya+fSSkFLanzP5XjyDqDniPruOqc07BKBWsfasyP56drkH5PZBr/vTBVnnt3t74K307YMbL8+VGfiBLp2Vn++uUuu7OhH2w8LdWNNDsWe4PJgnO+oTB4C8w+I1YlCcY6m1tOAz4oeBu3PgY5dvrYOhapSt370dFVDAdvJrY5pMlzxHzrMQKJ/Y/x/WRYItl+zzN9T6KAH5+qKTi4u48y5HO8qHja+YsAkfAstHp0DdphUqh/3tUlDJ4DUN+PsmrHDhprRuP8aMzJFxjsUqz8fHvADuhhpQLsbLQ7onTYxeSbvVChaP2CLZTRMB2pJQKJIIyoMcgwx80R8kQ4CniTmM2JVWeTcOhNOIfl12Vx7UP3dhV7crnvYZ+iGRByNVWBlLIqX1rIi84PRiDmfcfoNszXTMdmlfq04fZ9xYKkw/CMnyy3ohld74bOlT+E0Av4ouFAl3GsmcPUJrTuOwfI0YPC9nXDLmTzjxAKksVl+22dNgf3EkT4H+sH9Ir9Ua0jOooCqoY8PJVmpHFcpBffBH1gbUpGBWHdkAUwo9Wqlf9XYG1xfgLuHNNlTpi56P3Y1+IWaopzq7r8jkk4VnOI/LJ1+QrorGJCaqooDxEy4FsskzGok4DzabNxI3k70JWCOhNZm/jS5MvzPAWZk6+9brOvU6Q8aqRblDKChcXLFLM2HdouIkO6LFe8953He+z8IIaazzn6vgUBdfaBM9G+OBbBu95C+ereE5dC1ZctKIvB4h2pq/HlEnfNK3/iWt/Fh2FCYw1savu5U9aJhNQgsBl34bVJMA/IYMab4gQ84sIBrjtCpv7y9oDJOQQpRjlk7HeD2RdP8Ff6q9dzYYve3llyLcB9rS7UiKYFLjhgk6rLvX7h+mglsG1xtl3Y/HB00ZZutIFbc+OPwylyURtDB6vQflPEYBTMS0+WohH4CMVXe3C+AbROgmJU2Ol0F7HIO+cJMsdxd66hQ+DDNqlR7zj0ir/TBTHGm1tzzoBukC/PR75ltrtBODzz5UB3kPF+o7z3wolMqq5uq6UMgMEg1UlsuTKmzWg5JBSTRFKnmsbqedgW7O9pzhbHE/wbt5XTde6JUJxivkucUkWNmXwFGGqpdmLDLK7zYgfDg8vjXqqguGvcr5yycNnorgeMjgjxJOJp2QJCoLMWbn8id/2UuA0/jgJhzkzi4w7ubYUKDdX7qQ7HqM5PK3h9yCQqbKPsDOkoEj/v++B+sxkGqcOapXS3Af8bu+3S9Hz6PV82ET+LFoz1dRW1IKjprsx3cMeNCZ3zDryk6/LXCZUE8SzyFtqnLXyfH+Lh06mqEsP0MT51aT1qohJHf3q5JmxSQLJwcd5WqVpfnzxLYAVoSvYNEZsx/0Dq/nN9eweNrjpBMDNSrXlRh8ThAOtGyJRZsTD7wDoVt1vjI5y1G2EOsNazNy5GMs81NeHfYBP3Q9y2f3SRI5nDVqUyJuJsNPhHxpmnwYro6+ulXo7Hvw32v9iQ0e5wMcrMQf3XGcnAxXQ9GAX8AjCrOCfupnFiPngn+lJY/bWRj9suqNEUb8adzl7B2uMooT5jXV+24wUuHXH2Sk8slHkot4A6vkH8mtrBFXRHcry4SP2UTnHt6X3tXU+zNi0faBU+pAIq+s0LvYCsRTfDCBGKf9SbRAQYeUv24TDyoRoJOSRpidhzsmodZzYzlvlPCqjtYF5KQKb6KqK7WMLbVFY+xEUkCpEgmOjrL/yZFt/9xH3zjZimLuxUDFksZtKcm7GWuqtQF9P5eacboj87lD6qfj01SyXPJ3oxiTmC/OCFcxitoJmjz1A4q49QrcQ0Fhx/cqyY5I7pp0zFBS9BnnXTEypza9VwbwbYtp9h5NR4VdJ2JYEnQ/h0h3vfhBtgPlxpERBtSV1Of4sMBF5erD3AyPBWNfSLQqzK9P0Uyce5eLdsGQ1sbI1tJMvdPQgno+YUHe+DuckTRjMBfG5XFC6j9wlxDnkfvU1y3LmEGsenY3XBJTFMdIQpvrcCETwMP8Hqadof6EMlEv6yLmg+OUBnqedPZOPfc+7IZTuNSV+YlVcW7Ij5UDq3QvLYuYuLplITLLCOq1617uvS4MWz5O8Psu1GDCINxNKqkgrSF+u85svHM8WckPc/VjWlEWWCkvcSZPwuq5FWfPZbFwd4k6GTYm6NlJRCBYSwl+z4MJEFq1qNVFeqLkIGXCMO8X0aNXEAxHbY6EkqhRicMLmBQJbpxa6WMJPOtIXzE7azMcDyTc1YUBM4O6nv145Z9kEDZysr/rrrga2qbPv0JXsWbsh8O4bz+dSq8ozgKON06fTOWC6R781TPVlymRw0FjJQAvVhyjDSctsx79pXnGwmw1PjIqJ5C3/2LA1e6+qITDj4Qs/N0kTV5S3iGnTKEvG608HQ/5TnpHFtJK8NC4hacGmjHqriT367AcDvdsokY+527ipyoDo+BODRhYiEFgyxv7al50sMqk3fNYOJYR/WnjCCxhZLHfDvyRNmJXDuOXj7kGCVmwTCstA4H0SHPF68X3s4TQfPFnmKzXqHRsvISkUpeXWejR2Ac/oYCd7UTtRh4Qse8aL+EbPEQV3U8uaZGpkRSLooe7G2AqyIuz04hFyywTkcYq+Xni8Vg7yRkHuVVPAbJqqtHgUcdhhpShtUdcX6jm2yLuWveJcNBafnXehCz9Azhb90K7MUiiiKE6ESk7mnqQYGmosK0Uk76EkWAbgyO5JWhLM4vyFHjsCMOFm4lDFWNq/ubTgZoC3MGog9e+YAiNZujwsLcggZHNVcQew8wgyhkCb/wnJCUzvGzLLe6bQf/uRzD8JEpDHgTmhEaKHl9EdJtPvLfHcvmarAkJLPV0EGHBZlWK3zXjK/UvkRTndteG8G5pNQZoQCJLBn20haAvDYt2Y8U2pSd79QLGadHc5NxB+QJ3Qqg7fK+/rd7ilnAWNprvZ/8sNH3+uOLitXBTMSep+NdTxnpEqifpwqhWXkBBqk8591yu9u6N+UQsx83mVwR8+BJYrw1FhqTFo4gJpffw/oKvwU7QFkQFgwM20gqYTOIlQskVpJ3CNk5IMN811TbXom7g1siW8R48SVjvLldM0T5EjSNSFZ/PMLSELdlldIsGuVPCCwPGATmugn8y6huA5IMplhP3/mDG0LGmGxeK41J+DlqeMyNbzxfA56ruNawNqHlbG58mqY9spWGH6hiUmkYPYoiiPf/F3Jy+/l9pGLrnyeCa8+UoTMGAg+Rrs9rBAzi6tiRFo35cnLnHSyFEbhFLUm5CK4eeHZnTS4LQ3rmFRVHNmL7ctlHUsmLOX1OfxWJK7tpGIpo/kwpEoJaQhkqlGXqsOiyl5P9PWXG5hRkbDx8zc0Fillo0qMTwOW+kyzJZ1Qazkit/OyqKqjhzTx7gfGDl2V8DQhWmztGqgYoh+1VUY+YBpIZoGHBKF2++8i4chub5QDCwGNPcnWneD744SdFwKB7s9qpRoupbZNexINIfz6c5+GxUnmDBCeKmT/ElEWJD/25RdxD1SQTzW2gZktAPaes3T7m2Ghcsh0YoKHm3eHQ5RWH3AWD1HBLsYwo8iiSuzQpoHiK6gNstxjvYMoS47qFXi+65CR0S9BABHZQ7eZ80008jbG9O8InPhWJXF1gooTaF88qcV/SW/fMmWgAiL8sZ+MvGQpk20Sqd0BxcVNbOEcosHqoxJOMo8YHuRDh3hc2VyDM2xFS2pjGj4BeIv9A5243nICuxo1K9B8s5hty0T990j1S7i3+s1AMf+5iSYmdr3e+5B2giIGLuEDAe/khfvzz0QgqGg/j1NlkRNI1jHUtcj4eq6TYzaoURsyIM06iCXgmB+UqfUjdDitu9118jr+1KyKObl5dDQIM9UhAbQXibN2UQ8cH9z/f2NxD/lKLsNY8JxJJoG3feTeo9pA0M6db4c6J87OI8urwte5zevgWJ+MryecuRUE6QcGv7MoE/N6uDl+unIoy1vri4GAeGj+2U5g4IFRe5jkG2oi5vrze7QIKvl3xkQb/mnzsK6QlrGp5q5RJdKkQPZPxIOdEZEdyFW2jEWyP8pkzza/RPM6YYs41IuSqmJPlLgkDSWp8Uv1FWHQG2QwDyP/RIJRhwmLEjh/yq0/FGCM8lCuK2cOWiFUDIV2E+JT/rbxxB+sUyf+3Hh3LIh+MtMemSiGet0XnjkmvKzSZ9/lvsu3dVSzdnawusVseGkwIpE4BIAzZ2aRctCegby9s7EdikdFz+gOFjts+WS964FAuEhQjGlIKTlrV8QveJfjenWPGSTIl6YZppCJXT1SQpRkgTHnRI/ooDv4nYnCvSYdh+1uOVYmQlL7aFQIrcbFwOiyJ9GHOTqaKZx7zqrXdlOF26s93C7OIz2OGmASsccnFW+0FWi8fmnpfbG2QPptAASuiKy1jTxU8QTk4vmPkjEj6g3ByQFj/TJJ5ye1mgUQ2RRz8U1nB2v6gvHEZe7fgi4FxUxMlCxBBNqb5lFu1xxN2kPV5BtkB+cR89gK0YozKb4ro5SWjxNkFjZ2t8NVEdXtJqhEYFhxqktV09iuAuPLSy06uihoCC0UT29SQg5pefdJJ26hdHdtJsNrVsT+XNK+PdoGQ3y5D87m8ATJfNYf32FEtpXvEFw5wiVMhy3NcfjBw/N8grXT1Pt7r02OaMQ3sC+wMTW6EkkvMY/YcC2Sotm7uN3c6Ol+9PgFSogJR0crnAwn1/a4CTG7WfdYehFrcezscJy6IGzlSCI3MS1q3D6fOxLS77rJR6/+o9MKJDhJHJHZAJIEKxcA58DP6Fpw7IPXeIboNYy2v1/Mb13sjZ78wHBWOqaGDVOk27RK8M/biRqRR/9OEIuHQWZrD2uTYo//cAW6J2ZSb5ChjShgc2egrt87owk0+dqs8S9O0M6cCLxltqyrl9Ay2BKzsLvPa3GKr2Y490594mqLWbL+AKp3LUxwIau0x+WMMudO3LRFMOwT0vlWeq8dkyWQa80uFJvyYfaByBT46b2ATNVAqNMbiNEc2yCXY4d7Pe/lcKMefa6GfqEiY10OBOgY7S0TbcR0omlbcEGCdRphl1jf9JyYiKB+EZMJupQF7i/KNqw63GZTBAMjiVyi2QnH9Q8O5+14VcJ0wHIFqxrvcxQVcHJFI2C8R40yWD5ZjZfYNCMD67w8J3M8wFBNOswrTGaPbbso2cOaRJ0mXwWwktQm+FBnCwFTmoYL3LFVbv7V1xqaAGujblvQr4Qb5ATr2QtGGlaqheQjYMLUWvoeAfq3xGMUyxgD5BrREeYEq7OsDdlQE2QDRKwja7X0bfYRf24DghFjFNf6Vy9snsNxmfQ/wgF8+GviW334DvSs+j9BsAmn09zekvmC7IRpXQ7O9oNryZvkh/f1LED3aaSLUzuKJrPgzCnO27STs//Ek5xUoc5JI/HOQ5IBEbq0GaqlvieXKfR4aO9hYfAr8u4DLFmYZmF0V9o3a7qZ4cQWTQp5IDCMY6dYErKCt3VokhYJmAI2Ueav8mgurQ8KbgGDQyR2Jz65s0bj63aSxGHNSlyHr0l3oPK+OY9isCyh02sGcCW+236NFKkBtaLS9zqW2NQBopMITS7UYPYc7o/C1lk3iTPeIw9Qb/rMWCbo3+3b6IfGncQAtB7edC1CM2bEa6YomQv1/+PMqBsO1cEittU3cwTl1T5I605NM54mFcLkLMtPY+UZ4NY22tfeck5uY0dLLa86kHd+IDY8hTeVPg2iySKRAEawfGFmY4pXX4PvXOPwu0Qi0BsttaULrnrkHGHRLK8xfK9St3to5QP9m8pZKoS9hgSk+akv0LwRO1iDShqTnpAbPAjrGe17NEr7C3XvTGZpbicqvmVzY3nVDEyYO4LgH6JkQ+qmkEHEojz6tRiaHZD4fERoYfMsKjwgFSIAqqrvndMKZa8+sG4oKPMiYhQvIie66AIl1eGFVLTS58HMU1O3Nuw2VxqTGyxY0DnO35YEoVuAkG9feWj0WGldl+9WsHdk9ZKuPCWyqTvfHiUXsk+f3q5z6sIJ96iBxChkJ1pUKZRM4rWbHj2DtafQP1/DQ/lsTgZ8LSto8CrxsXMnOEGQNDzILBV687azKSLjmR+p6n6WKnhrb/MMoQpPWPYxAD0V08PasHk0YLLDUkH+H5oYjT0q5EPwAGH+teECwtXH9Z7Voi2rhnKNHzE7CZoxe8xEzgDnp1NzqYb4ZO32lzuoH1kzBHMk5MUySVVegSFUGQfSOX+OuPT/ErWbr84t1k54OfUq9N6RjDcPWyd9dystS1BhrKfECcM4i5FSv1NeG4caWI0LAT/5f8ItqSThkBgizSPXrDYYlBj5QK8NTiEe7p4x92cvQwNegyvAk9SaeBG5/GIpS7/EtcwmuP4RQWtwIF2hcXaNBqp8I4ZpTq02nvzcEYCANo9hWcOw5vsAJ7APra4Lj5Emvo6QdK2CLcH+6FbOplYamCuCd53sptTnGpRkT2eIL8lhsGX09KRPJbs9E6/lDhJ+5xBcGwFKPuK1eUCSvBqTO6gpkfHAPk+un+aX2/OKothuuHEsJu9waf50KSeLSilTr8BWxNMP0YwF1ERVa0BMpI/5jPw3YuVMiJeIZuj0+7VkLfOz3TY5CsMe/LyTSOYyhdR94/z8doXI02GKG0/wXSLxZEb/aw0JaRgq7qRUbA+d9pnxNnFwgdL0E0LW9vTVM86Xiy/T48wL+uTfmBvRCB093Xwg47EGteoQc1U6yLT4upipme1IAQCxGVdgmH2BY3LpG7P2Eg5RPPBYoqn/1PjWlkrrscEL10yyfKgPOoB5pCj3r4PXVlWNU9o8P2tM+TNk4Y09yFr1aWpw4lUUHMbJm/7hewZ8xAYW4u5mVlLtYEgaGfeegvJ4XaTNmjfaDf0pYe9Lcy3/aowbNK3zAmrff+aBbLGZcO4aDdTQ83KNP+dPKhDg4BAvcv7kondKRtGu97XF/gfTKYFDUJ56y0d9SnP7n95YcJutfdGj+p2mSRfOtRkivdNpK23qZcFBjSNJug5+EJq2F6vf34MJoUl73giUhm7iIW1mggCajQq6JmwgRkMV2tZp9KwatxhAnYEFnw/aE+iUdnzFUjZIeUMcf2zAXBvaIjoMMGlO3zVEbe63FFgYCFS/i4wL1Ps6rmQPHSYc/E8Xiwunq1hRo1ni0mWLtbZ+QJ23Ul1hJUQ9Ji3E40+i6Oy18fBiyYeh9bs9ExLSFvUKJBX61oq7423JI6TmmNL+lQsSqKtw7cEVU1ov/bxLHVTjEr+wGdPjlQB47vNIAChvUzwQW727jPUu9Yy71l6+2jHM6G7PWuSu7By3bcq/bL5zaZHvEDznoqUgqXJ36nxV/ZrxDYNLwryuCHY32Ut0XqpFIHWnTLLvV8ryFeF0GpnEEYQV3/iX0Do/Oa40mbnTI4vhB+1BTsFTTuGBu1wW33kYBCoss7DvCA2FU6+8M4dj59Aj7KRlSXIAeEIaLV/30vSF1rEEFiQ5vuQofcF0htqDhk3egxduo2rOYRHyfa15JPS79vKCvbwWD+M+3k6tmelfNwIZ4CkfqMIyNtV7ugIE9BziCMROghf3J8LhPVwlBcPmdwtRec1Vx5YK7khq52yJsdx4iH+rLZ5GGHdxEUnBpj7oRVtrXamgVjv3TKcXVPWlPd+HNadRD6fORZ/nQM1jZLIGe+2qZi3ci6A3BL16AyIseBtDRUfD3M9BFTRWE1EFACRsNVJKINrdySLW+9iYgJiZyar9zBSNj3GAiAIn7bwIwsFJpt20EJVbRReaIX1oq5fE991ah3r3PgPsfHDQu/tkkIH1okr54pQVsQCZ/88IZ2r37pK9oq8Mc69d7sLdtEGeJR+zRIpIKFVZXrKCELPuQ5GIUHBHeRVuk3nvU4VS6uLvy1eUp0bmi5O+JwiEJVadUJFtXG4PfvLQpZRlnkMfOarqo4CKE6A74C8200mgNRNUfTqnm1XKDPeXe7qOrjvkoTPR2UYkwHwdyDg7d+NWFke+ih4ADwszUgJZOu7alEz6zBJCfgnWuxlLamoXddK1EOl1t1tmlUsFqZlaX1T7fuwJTz9LAS7sSGgiiRvFRMsoctY/FdDzt641Ge8IeeTMQsGS3g0d/7Z4ZjmlX65T2vlyWUaGXVeA9bDkn79HxIhtWk6E8LHW5OmLK/3puIw/QF+FUFyzPkS2ezFP/0By128dPmDph0qdNDRFGyfQRcwqH5fZwE6AnRDhvXC4HGKmpBBbQiF18vPMVXGCuEY5i5dmSBgp+XxUd3VNmCJ6c+SA+wq2VxAmMqeRYbe34tAcucQazl2L2iIQahxMeutSfQYKjbTsR5yWInSkNBrGZIVCmug89UX+ruPs3ji/PFaqVsCGxdGkqH6EQPXj+O1cMbUZS3CysX9UyCEn3qyq/Ho4PoUiZ5AyV+Y+3qfBFp4G5rZJPAzKUyHvMGNKIDxifH0yGkmnEXT2DKN4O7e+m3Bv04c5UxF+PZrBhVlvWPS23lxzWa+X7T8e29xiiYsjQcZBScbmgAKlPBn+JHy4o8qyl9ICsPtOBGiqVh+4B6jQhYjIvCDNSuE1jghoI4MzT+ge1hPLSrD64ZNvYikfgZ+pU3Gv0/WikCyuFhOG1XdZdrp+XsjivvanikUE1kZ7nZdcF3NxEvsgOHi7ndMTOB/UKqReRxfslfWPab5LM0pBa7K3VYtDWvDYIU//QvAJjD6koCpPgy9ofKN1dKDZe5aBq9K407CBvHrGOt0rAZRT5U/PwcusxfMJGg4GtS0X4dtrrsMz3tmecYMuNDBOnroYjkXwdRqM6YuPiCjhUInfXzJMXI/GuDTT2M5VxV8soLE2bF+9bDX0CTQZfhMbowClNYO8DxfIfV0uKTIRmmcgVF/3t1wRXuRCbb+ebiH6N6v1PbTRWg9SbN97oX14LKj8nnnR8cwXUkF5lyaE/70vOQLmttwLiYUU1ajg7bILkPhHRwkbzebqr0L+fhHgnF1/N887jBW/yhTNxKFEn1zkiGbGrHyyE7R0bpqTKJdznp0bYu5egK7CGKEjKzt0VvuwDKeZphrfaEyGgff5iK4+XodnKND4NPKxESMSzbBm3HOA2HT9c+RuGtnM0AYwY8EBxMx1nD7XPnlXFB1KMX62d6O/IfAmLpShZLT7d9ZKUltduf38PnCzlArV0CZfLQ8c6nnywW2/MyNxAonVC1jUkbLgLYaRwy1sVwh6aRcCUSHFNyD5kCeJFH1M8i0+5pK4DQCl+nYcYF1OMupI/AwMlNwg0uOLJFuCYC960h/LJ6NRKcyuUTUJH3nXdrLBX3yXu+jwUJ7J1/LrkEAvbVDJu08WeKyJUplpXK5PJVJ2QEAlHdgntOrAMFVHOHM9/82AqNCJEnAmRK2NWqQGhkugADHyYo56+8N+c/ZXV6KosOYfF7VI357EThMbSiHXIqMnm6Yb2J5/XmL3DLdIzQscqq9YfE8El/+Af7uWeeP6/DxSbk5u542VGGS5Ck62umNh261Z3OVghNmblE+/wOVW41whaBJOf0/5y0XLqnlgIIbyqULNcp1T3fhA12evmWrec9HkqduGdrbUsB51LZq0/zOYUH6VTc44IZ5xhpQpvRinxQxxox4AS9i7S17wGMu/XO/QFP9OO8gvZ3dmXplFEyskiT0Avk9fQZisA/9t4U0FdNqotc8bezoxoR7y41pdLAO3gPnawDEL2NzDWCTTvW0AuAB5ihWD4b0bJUw41EgH2mKbccsP+EJqj8HT29USxL+1wHADYI7++w0fNZ4FRXK2F6/dLuFlT5nyWw8afuCYsHJmQOiI8uY3hH8/1vpWe37Cm00V4mwyR0HVsfYQ9Dhh1Hyzpy/6+AvAQ2GyeCg9mAwr7VTGLFlpDUMfZriuRNjag4PikPs6/CC7GqJq+yw+0fjXl4ayBJtutqRwQ1LjVzG7aY9WFR3cCK4ehC70dqaAuinlIISc1ptRowD8bnPMetqDSgzd23JvidDCmGHEiHaeSQCQIeY+w5c2a392lSANi5RCFAvt+O5zOf7+vcQ5+VvHV9zl4W+neyTzxifNeeYHA5VWp7qgieHlaK1UJQ0IYdvcegyDBNpW83WqNQgPT9HggBzxd7tBe4ZodEaf22+7nNQ/geg3yOVJLBeD31FicYN6M9/r3yyFFn6ujuMcohXUpx+ne3U8RMFjf9tN+7z/Hmu/tMAbUEqbbDwqHxeqtzrrQ/YP+8up+Xam96aPlVID7mY5KQx0aKQQ7WUtrDoROjk+iXRJ0B6aBSK7LGJoCb4akARky5x7hcnWyBY3ktokSVrkSyCv1LVxqYzGZT0M/zhONY630DAp30Zp5Aadz0kn+FsA8AVxEVVrCxbaReYrrTf+0HrzT62p8knRJAe03IYnTLy19rkKEljkM5kakUXR2pFzWMXzqx0XC8F4co/3Rj7rogKv13SHSkLuFSJGRgR++SpFwSp1Cr+FrrLJZDd1pCyqjTOtKj44CK5c86eOuGAhxMwTwQxDWy1JR5YTvOUWn6kM3zyPnnJOrHWjQPZnhfBxAYIFLt7vb9z9qxq50Z/kf7srOww7up0dmgQuZ1HITbQqOVR1FQMEN3tDepRe9VB20Ow+urOjrBR9mkgrA8vEe3BRbg2cMlFj7HROJ96JfeiMOq+Fc2j5u6FMlEH2puGRA7nXaVAsw4NwCQ1dI77X2hmIRvzBVJ6VHWofS1nKBbwkJcmrNJif3/qoEI05uj09wy5my+A7Qm7Col3LPZFFEcIHDXiHMa+9d+CK1VS/a9Oqyk4yGBjEevCNd8JPnxrTOiRyXOsE0HX0k0m2t0ETJ5pD/BVQXLqpwqRQH5VW30WMGk2DwTofFaFQtAoodus0UQK0Y5a9A01eiCNgPPh9RCFcsSJigrFVIMV+njaGGddaR+smEsH1WjAfdM6jHYqvz3WC8auLJJlW6uTtY8ZZ307GlrJa04+9i/jCPG072RIAYIRKSE8CG2Ra8Dbu4qJHgFkmazF2yRsa9B9B+IcIXP/QTvcR4yyxno3mr88AZD1dCbGnMrE0xE/GyFd7MPXn+m9npU35KHr2QDs4Xcmwu8oVczjIPYgtRsynVS7jrP6Cld2Sn8aRPOxEIHTXt452iYW2lEj6BC2zmRPWRWQNp6LyrFnQcQmDw58BqAp4kUadGFtroRpFNV7SoQED+FWrbNYdwCDUR2sd3s5cOO0M5za6i2KRWNzZBJGd9Z8WK0n8JMquI9HRUMiWp60fjT2990A5qCzk36yDzEfApL82VewptYQwB9BQre9IrZV31J0q7tqVQ96dGkiuxgtKfyGMD+y8ZVD1fYjoQsoUBznX6N02Mi7bXEj3OY2R0L8NMq0q+LRMAeKA5dtQntr1Xvk6MgxQOVr2omtTaD7kGwjSrjo1bRmK2QAgzmRDpJ2vShsFYtOgKxqr2K5PpXgk7iIKFcHyh7TxrbCm974dfZc1fa4jZ5LGFGBUqDIJD2lDz6v9d7vff6D3jWFuBYxUgVt8Y7WsDf6V1dPzO91ZaN3JTrmVnC9bWqNs7Rt8SqEMeHJx42Qcb4T65pfZJ0z1YlhrOd2bg178Fkv/cwq/Ork5q7Q+Oxd+eMjinVm3QeJlhovB546fbesRBWFTx1rkQMnbkc6vUD7WQJNpEKrQ96laQf/1UX/KlW+uZDEobFLwLWujHhtFtPvanU9da+7L6GW3xFPV2PWBU4yyaFssE9lOCMx6ifeqSKcqwRsCoG26UtrNAgNu+UG1OvxdFYT8xtzUfU2JziEcV/UxzvUDDkqI29CvE3gsGNi9FgE+xMr3TfTW9kD6vI+T4YQdLEXsKT+NmOPvsOzeT0+V1dkGRRUbWK/KafxD/1amXHCRbWq6/QPoENvMj9pVaGUBbUjeM8jJ0R7ndOGR4JMCrfhuCSGhP2F5XUMCNetZgTpcA+UhKJdBe7DVc4SM3TQuIvKq/QHNncmDPOJzjJxKEmPAoM8rQql6PWGCw1HMim+De0gEe86EUgISRHIE72raJgN+I5xOB2YPb0HEzLJeaEwjS+I2dsEOq08BL0MXzdXs9EK7R9j502cQJQn1QomOaCRFJgEGnRheA6VEOViMcYf/OETkmbTiBue3LT1cpWgOM/9pKpyJWbP3USEGvUzPTqR2of2Y+QbUppl8+8eNOckMPw0ibJmREZC4YwfJxRPEo7hfpFXwfo35+hiKNvldtO0go1KNUoz+nyg2ZEM4a+Xu6nyVL3OVuB22rL7Xaarvxlusb2x59p3C3Uen8cQFgYL7FifywDeX4YzmskA6Ws9e0tEOmS1vmbX+kw9W9ehNTiRjZ5zXMj4ynDeVkX053aKVO9dbDMLUfuBTKseFAscxmTM0z6RvEPRzoXicbhNNeWfolu6zNwYt2esKk4yT/7x3cu1jbJEl6yhTk5OXKW6THVn5QNGiz56brBFmyfA9KK3oBgYfNAa1lPHCYLmaeomkG32uaF3Xu2allOh5O609KyH4aSW/II8P+K3PXYv+Y1AM0vU1ICIsv8Ft7EthkPP1jZb6+eajlJ4hY1rXruuyddGdOTf2j85po7NnY8BGp0SqF6t4IjhfgKJIakw5X4oyol1vnxf19EuUlrwfWdN/4jLpF2/3JkS3nZvWNikx5Xs43I+dgeRv5kDy1ZQRqHV+9yj4CvmFLb0PUyVs+SOO9MB5d81oXwK/JuHZvIIHw8aXthbxc4uu//zbdCao7HQeADfjreM/Gwz47evuW5/EzQmkN1eQEr6tKkud1UEqETHX5WMjScntwCJP0Q+duqwzRjc0lpliCoBp5uzJLTtwnY8UW2gK6Nt9mY6ha4rlHdt7pdUhsfJO1BnfcPcNSQmfDWFFoFXnnUk3kmrXcI50BxmafigjFyCfSkoBAAfxbxh+JaOGv9dJluDkjDccToNsMBVrhSvJRvO3kkrUirhiE5vBA7AIM2w95KtUYDXVTn3M6XvKSzU1eK2EoaHcn4U7a7KEkxiPED3u/Dh9P+x6Ss7OMfrs3iYrmnEBL3/ErCWre2KR6WddcuGm0ngCGMSekzh4/I01xia98Xra/7Cs6OcasM2DW/BNBVJwWP1TyQv29eteP8Z2mc0H7ILaqUGYgPUAC1V+Quzo89+vS7P91/5GYbx8VRn2IOM//zO/huJsJFgk4Shw7YLC6bcaiHml1PYx4EV0PAE7GBD+BvDxOBhc+Hi76rjGlTvj0eIn4oFknIH1ZMqqrzR1B+9101LVPT87v2nSCMsWknqkARJqocp7ou1QNeuQ5fbvihivIJ9FXcoZ1AgytC/HSgXe8UPZ1sqGGuVDJR+E7tTq2YOu7MeeO1dLchGnqp/FKnmsvzqSvm1G8iBNeFF5+bp/qAhyN1AoGdWpcqNrcYsJ2X4LXh2lhdOL3+z4Gque9acXv+HZuqdzcO/1Kddaer8hm6oXDES90Uridl9jEnwISXysLRgzBFuikQ0eMqHirB2SAt4O3lqJYuuC+VsJM+GTa3XPMJ51AdnE1IwRTD2lfx8oqoGC7elyhMPLCd50kTdgS2VVBy35qb0OtDb+Q1V3g1+SnGSKoc48/aX6GQ0Fuc/vet/8Pgn6rFeGlWu4fRlnc1k1TMgHLQMO1apsDvN/pcAn0Gpt4BGcTbhRICM3oO83ctnzXKvRQrk7ueoyXBZzjILwJ0PZsvq1p9OVkwN1N6A7sEhvCTbWJI0epFbJmuo8WQREm6llnO7XcmuCDLP9MptmDoawGShW7VztcFFLR89TFxAr/Rd8WhsdcOfDq7n7WBS0mlbcuXI9y18sMJHoTuQ3MEXwcWtC8O/Gw/BgYFfTgPx7HTBFDW3uk7tLdd9xhvW4qySpyhatzfz9kHDgAd9z6chWJMWLtwOBy8pjDPujlK73dx6JudsRlfhgwSL31ilLK738KuqCmuKUGVP/Gj9L+frr5USUJk+KB3YkLj5N9KY0/2HKTwkbc5kG44QE1a+Xd7fYyNleVZsud1hxsXZ9AsI0WKziu2uQElUJp1Babt0lnNZG3TAXhcWlMTb306lbE4Fwy4aURP7FBkqDFOw2Df7I3h8JzbzU8lbYY5CjZPPGUC0znR+lSvfQPSJM9el5Ejiu/oSUZVFue1Ku4xvsuvRw5MzUd7Nx+YBF8amUB+EO5weNgF6Ai2VUasCnslVs3OMewWYD8L02vRES/eoe8Lx2KFyvNbbsiKoJu66z5tlePEb4OHwcwGGJ6K0dpj3Oeq8ZV5CEys9tuL17eV3F4tcBVmfa5RqiOuaOyD3zKj5eEZmKK83Os84nQfxmia/6F7oZL52Bwdr0+c5fCZuPreBXh7iPKHdyMCBEhLMZhx7RGT+WhzwMBmt2I/AtPWuOik6Tf47wZQb14gieQhpKlCPD7/rQokQN2hCDI9CrzqHBaNNgududzscT5z8wsNKT58raD4PyGajUX8iJ2T6qLv5znurd8FhOZTpOqewCiGLUCfhQJtxf6YqNFCTlk9fX4kk7lZxPrxfWTLR9uvVxqvyAfkF33+CXpex+wlBrZPc4MvGGsU/AMWTdIaOQPwJyv0Cfd689oJksM7ua3jyH7hdsIvBBiR//VhgXgVVSUEDTq1qHTkaXw1LJRs4D+ieXDORWELRzjvZBe4vfba2A+t+jKPif2pUrnep9Tjh6z87w2GIq+HZqe/7v3aCnn6aCbk5WGhMiVUSPSGiCw7dcsVyW6ukbkpfIo+YhGgsreMhnU0TA/h37k91boatR3A/35MZFakv+bbcD67LBcgYAie48tEG3KW7YiDkxUxSIh1412klft68LegFwqeS+QDkcGDbAjks1BQICWAvoHEhm/QbHk2Z6z8lo7Nachn2E0FRSjp43GXFkUX8L88WpIQc+z1bRDvEPnggIG3sBSh5L4SQ0gqL/YjhES4cOtGyqC7qzrHoq9cLgvn5BAjyJolwBKIxMojgd2h8BAii83ybC0DJjlQPdqx8uMgfImL8l+h9jcagraDfArtGqDWJ7d7ubKkov6zt2CsjDOi5wmIzQUD5Tz5i8MvtW44CkwFqVNMJnae4nHlIx/qBlB6PjNEGp/fNfeSB2V8ndXbb66OBZyeakDPfNTHW8aeb0auLsLORt8baqaogw4EnWZ9j39T3+3yiQVELojI6pE/dtP/dbR2B4cXNo0QNsEOoyxCuWWhZSWsuLQJ4UDcTEnFZnuQFTfv5TrY2Yhc4VLyf9XPSOe5QQrEubqTGDXEC7LTtv99bg3xsVXoB8vO/iV+L8U0ZNqIy/OSiAhQTR3+OLAU1558GWDfH7GyM37W3p1WWykNoal6uTjEddR9X1er3S+TxZmBQOVRJ7GeBF3YRfdouc2d9hyfr4S9hJbzJAp7bcSCI0XUDxASodzVbIROOPdNegwoPBIUB2nw1lG4Z8pNlxvyftwUo7DunpVgiq1mUjepk2Zevn6GOkh9sHZD3PnP3b5yIrxKZVwMibTFpfAf+JAU+ofWUCqtWJ/ZA2vupQ5dSC9swlupOL1S+UW3lXt4E6UE4uq6+A1IaXh4AqRUde4w0igGm1RiRpG2183PK/wCDldkWQ90J1tDntAIk9BhJ1TDixiH1RAnZgu1lV/5KzrtWc3u/jdlhqTrVVKgN4zLuH9zw0Mh+ox6mZEbdXvk8kmGmK4BVq6PeeLLx7z9uXQlFMNkBKkCbwWa4fvvvIw4625UBfKO29nttEV9NLQNpXbmADdkCJ8QR4vbl6y/QlpSBKMNgR7X7YwQ0WEmYrCDlX++BqpFaJOEwJpisTvq0AU2wb7jeDHOA5UFj2yBMneayF8nVk44BUud4fMVyYmVXoW81u1c0IyXF+0eWhv+nRSg//9G517C+cpgLqcxqzVZ/w0SDRt2MBYGgtMD6WOTi4Rr6vZMRp3qn1XFVQajSqKduwyaBLD1hC/Si+HYLjG0UtQ0AWjlrB6aDVxh2S0Atosu19yTBWS/RBitELf4HbyeI9WFw5/ExPx+mTKckuHzfN18X+0IQuImZvbOkQ2d6v9MSCiJaCqnPWJblVCarjLwx+EafK8wkkVStwjilByd7NkVrcP8vu7IfiLFOCjlUNWD+RToBdVypgqi/W/GJaA3+TUrV48LuMPJznKE6TvjV2b0HhwJuT/z7GANcVE+v5YAO1odigkvmRIzPpYAvKCE+Oa1puPceLFoJdg1u5MEHkspo4a2i38Ku1s45JP4H/AGXZgt0B629AS82rbjdFemi8kvw5QcQSpCPq9XJ5xUXXUGkGOr20pUIX80EwjXL2WwQY9x3x0d2X4tL88kUwF2bK7hFpBLDMmsJlH6yG0TKcAQr7wNbmsrFnohX6UwdZLBHeh8YxzXvNDd9Mbfc/q7qhCx2IWGdQ/aSlUnQiOaf6YjtgHRCoOw/7SqzXzITb0wJ5uvV5C737oSd6f9IqF3Uyvf1fqomsSeUR9rYitqEe1/RGonvTg4o1B7Xy0wy+HksGhhF8dMR80l1ZrZShL2/N3glwKnIeROuSWLPRAOEG/GB/+fX2Yv3PI3x5Ka6x2Ptxisyb3WcvvSnM4Ya28Gqkb7P9iYZkFuMeU7xKVz2nPCmmKAwlTcyI6dn/nwvjL3xrPl2Cfpn0ceqtqEklJSLXOwx/C09Q9n4Njwxk+S+jsG7idDUktwP10SMQ9r5p/XkRnb5BwAu2GziKt2OvsqXfFzhXcjkZ11LZ67+tZFR3xgcdHHI0PyHqm72ZK3D4sTtXE3om3/dLEUybODhLCtpowu4+Tp8fExavuToDc45kraI624Cv8qn95MOTSNMErw/H9YYiaDnNAlPsnq+3glPkZNmAqoFb6RYWrnpBSPgMZnjqEMn7fw992QWDxbinmjMa97ejrk3pZBQUdtcyie/UioZSwdDYNTLcZXTVYcRssIeFGdfYmo6VchIoA22MBbOx2goUd4O+fiV7k/B57KYjK9oX/3nWp0oSMIc7dRXkU5iUuq7OXd3ofkMFUxC6eY0W0wvo8vDSoyK8HmfHevai5sOiHXKj5z9fddO/qXk01H35y1GpZjmX9EXYJLUcQRerslgVMbES3lGM+gl+v5IDsbTCIG4zyzuGvRS0UAY2rstNCZRnvt42wqDL9qrhoruyP1aauABqVinp9+6l/Usu45pXNUpBSNBSiPA+goQUxZ3+g8vAkticY0vOCZ4EXVHe4605g7nbyyL26a65qUR+mJ2TSVtfgR2dnt/d62D5S2cxfNZMhqV1K7VXX10fiytPbcXnpdQieGeHZXqVLFjZAxHQlgV3NgZXfyemaRy1luhpZvFGRrvGzXi3W2gRCOb0d3Nyzxw38JzmSk1PA81MKb56zjqrwkgw20nnP0llPWnHtSBKGfETUBK9fRX2R7mZnjmA/bpQ5n1+Rqr2ALmEIa3/g5le7ACU7T38TVzTqAzHukkWFR+MkmbB80tk4jF8m145TaEBf6sALy1IFtMCcqOm4XcoFMln7bcFAOZ0FpYqhTwn6c3TY1u4JqzRYK0uPYd+JSavp7pYBOjXK1yinR8QWrduQga4LYrg8xn85JIMKTlzJFtsossy/iNGBVDIstbmryHya32fU+Hub7rRB/oQfxu8lm+E5/HrvkNsddnrqaS70dJHsQxNbbDsX+D7sk8zSAG1XOWx1BtKLzlP2ZRaRDs1LiB+vctkqm20LuETIp9RKVug/ShMAhJUs5iKMLtv5ANbIVluR/aHRqP1vZ22vTnut/t4tVsCHNPbNDCYaZqrp0yLUG/cltY1LS0GCGZa6vugl+UjWE/OoVzQduAO+XLzqPmKA6xs0cowmlqd77A2xflnNQRdQiuOMgYcoZ9GId4h1aEWmlSY51YX6NGsty3Pc4Xq0xMxVOqQgYPXv9mLKPBz0Mi1Oyi5pxXMn9hHZ2FL43ENN2kC4FFwjkOqJ4rY9JX0WhRSF9ZH/Mq3xEkusssVJJqWNZ8z81SMEe9/1D1jyYz95S4AYuJJTBOp7g+2SeOMUR5j5k2oJxx3K2xioVjl0OIcIc+4V0OseXayIxUtxm68QWVlQCMEp0E5rgzUsRDA5nIe8H0pL6N7Urqp61nHeCt0dZ0V2rUe4Nr4LttrVF7W1oo9RRUhJyu+XXpfNGmHebmYhzRQzCe6FoSzjLKZ8mYNzsI7ELcqKji9Zrk99ecYxA3DwL4yTbYugNUS+fo1VmYrZTXUCi5bJLd5y+H+7z8fIIZNV5DK6evAvo0wfshJUBlB3ZPOo0VcExGQN5ZBZnLhJsCsUzpwdSaI9lT+xrCsbXl1E1nvI1aC1bzkWqVaN4pJR/Rrc4dWmJWSBxv+9pMyFfOvKERj6e+AfM+AJDSXCVlTIZZmcL16/VpT0zjlz0WMptBj79t97q0LufNFhPaoR/KQmHwi+y7JdmvqSQ2luQsv3gi0/RAd47RMeNs1IDf3nCj7t/bbNsgICW4R1PyWkD+xF3CSaLFDgzztEG7yWcKvusf2vaLeEcDxpOPQekF+N8/dFcOW17uvscGncGRHYZIi6MW7KtKcDeG6tEVA2Melkbg0vnT4MNuQl5KzDR4MbL7ogkNYdKqhezMV1dU2KFSgrCKryrJOlXCPvNGAiGJUkk5FsIuZGYqiH508cyH0VBwcQ4BDrbb6D1vgWyuDYAddQ+mWDd6X3ufxwE1sl+7845gA/zCSvPoU3K9MTAIhieh0oaiLDEhlbZ67m9VMONjM4lxs3xnzu96PfNauq8540nnioTNCWfoCjg7Ev3dEORIvdl56/pJpANpNHjF1pZYtsGxmzL9zi3ZpQfBKYMdNp+kfUQUQmm1XZvmsh3j0GeIJ9jOfjzj92hQZxnCKdwbBBiu6ZjwnRC2EB2/zFLlVaWd8HePpCpBnFtDDoe208DGUo+Bdj4cQkOdppD6oDYI2uxxgskXJSdTmiCKxVnyCz5NsT9uje05TkwEWw8Fnk6X3BoheawfhGRdSQyxaCnmS/AyHhPet9k9QLsgmCIeWoIbpIRojoId2C93zjyRqOk2mgqSP2QKhd0fWz4Q0tvB4S+zWUEdWWH4gBqeSqRl9fZKVF+TXZRp2dBq0xX+Xyu384HDGywoqbFF4kncV+EDO9XAOiblr/N58G42q/a44IAsCrzPlDVwZ/UMbtT2i53M7l7m4rEpr1IjGXNyrPVC9vZ17OiqcDdX8EI4ZYop+HpM6Zoq1x5rsiyF4LmuyZS5jG9Cn9zZatp4g68ngguczBhmCeb/W+Y2jnOALTk7Ugfjygz4g+QMUEDokoJQqYfT2pUs7m+RgqNzOEApB7WEVroJhqfkUs1x/Zao0Xhuh0Jgp6YUv4V5L6wO8Tq8ROoco9TJDU+DBPq5cfFdq6xLlA3SLCsxWuOfycfeZPG6l61PYrBLXzSE8vE4zUMkzo0/wiVfCilFQqe+Ktv/GWNziSxCiCOSrzcRk93haFCJK/SmnBeQkK1syaCcaBDmv0UdXFegcj0or7SxUiG6TjZafZzrF5eR3xaQeiIyfnqA5HNPpG+8rzHIGh0x5OLfSGVDQqPYTc6l7G57MZxwKYgvQcjd6WC8U4lNpxClDzYOGejjMzX3T0fxGRKPUX1jpMOCLcOrZwCL/oQNTIYyXkE18YUosGjkm+bqro/yQqykdo/P+HlkVRgY12O1nb0rgwp7i3eeTCYkK6KddfrsAbD/U9atS8Zfm1O2lK8wtml4Ted5RkkKaS9GeUMArhLhvqt6cc2LSMhiI6J9uF3UnKRa8ZtpBxdfOg1YNvZwW8mJBhJl45LmxNGEYntFOjEawwqe+CgVcraNcMUrFw/3mUVV+ysMmqb9mG7fNOR/GRrabeGdCd7l2zsplsJcg4A/bf7w9ooNU54SzLxJYBkEou9r7sTQCoVcVLDKAgpoPtQkJQUo+a3Gnn34jCO6FhhVFa1qciWlpIneNpsni77LYT95q/32jzaH0Q90r8MehobUvCwSt/KxG0ro2F3/MFv34llkniZH14k1IMlL5hS8AWxGMlQczX0wtVa5co1boUQ1zdNn5iuqdLf5nqB1xs6uTW42RM+upfvRkL8I7bER/W30t5uxHF7rWDLEd53wlw3Qhlt7rLesJtHNmPSuifUdcGS6x1T+S+PWgJsvOGYDNvJR/YIK5zhTRQ9Cx30PSBTVBBbe/r3gqva3C4l5P5SkluaMaW4xPgOwOr7YN9IMKgrON9Wg87DmdlPjkBLvjsxIo72BE5ieoIg9CnSaZtiEjavIo0TZHqvkQX1ugo+HKJC8Uu3Ev9M07Pj5ZN2VUxINFN3/ZEp2WmwL0KgXetlIaN/rAvhEss5J03u0wml76lhdhEkXX09eE9/+ty8nW38hsBFPRkiaV5AcnmIRhcMnIRc38anrtrtRbkB8tSx8Zfj3yZdXaOoX5KAJodYzD+IqGW/yx8ws1u2FVtTXgyVg4XBPoq53ekdFv+oMHsDqNE+ebb1sM0guNrtUGsIZHiVpPKVKwME6P67eaMb6b9ePAJe6YKrYVTbadcPVT7peGPz+WPQEMj+jHqJolzdkgemLAnTJQUnfRb2B4O82VTm3BZMAbngWf5k4PliAwYURU0CCNjY83/W9eCR+jSfrcr1qM+5qlfh+rgFlZTdccvl3Ni7tAt7navpWfOyF6LDuRmh9o8iimeFZMlN3b8ZNcnlwQelEfhBHnVZnmTuPDXelhItXhoZTn6xRVvCxinueIBfRsTWwLFjvI45iOJV17/ukyiTm3qEg8hgvEFq07PlzHzHdOBITGxbsPtuvu9/DCQwkCfbihCm39IfeNuQtwBatAcQZ9IvMEg47acrMle+flbdveT/r/4v1puwpTDl6tbYZ4fXORcyV2ddQkqUugkuh73OnlS8y980GDKy+Bt4eBr7NC6HykaHN4xEXD2pjGwop97dTpIHTkZD8tv8SOmDu3s+gr1bjHF8qrro0Dz7Mohhxcn24uwJtFY3KBQOoE1P0pfNuQ4paEZjk9EqTHEjoskk4S6zbnL2Nuff1NV180fs9y7e9HTBF8aMSfAW+vDX1A7Fa4KNhnQ99dljapc7LbLhKUYdqaX+IqcROROsF9OZIsjfqECLCQi2i21rAySoyCBi3ve/JJuV1Ivw4uZ8pV4FhU2C0XWM86jQpWaY8+X0k9f8WSfJUZ5vemeKAVJKZt0SvNocZRnJiIywSCs36CjWg/nVfJfyfOwwFcnfU0ZyZ2P9xdKnNnCBJ6zOnlkrf+49brZIup6SFa/Nyo8ceNaIggV5+GPodiSDWXHHDkZ59XYg0Q2ml4ov+WiWXEChyCR1t5KNIO3C4svMkOQgg8fbpw5gTnXEcLTHvvBf/PC6mj+L+LerhrQjwSAg3UJohZ55pA8zuDUktCfJfO8168OrVmxA5U59ij/TPbt3r+GG9WS5erPOFfoPAmYEgbWakcwZ8WALl/rk/fKCVaFA8iTEzKU1ZrQK28cV0Os9Qn2gDY8GiOYzCtNSjJj4iCXiuJF9oUIJM5HjHGmuF45EGEowefu4HKeAwhXe+34+U+aeJXUcftcJe/+nuerewvBBdNM3zJ2z0a7uC20+zQivwF7bQQ/+igA7GQATjtYhBsJ6hIyrbm2Bhr5lurs0tkPXl1EceJ6dEZMQEgSAO4wXBbXxj6KFenwdE/qSl4l7ut5g9cr7nSzcs8Sji+eX6hNu2KMHBEMAnZg79J6+uQnEgX58xBoT3rFWs4FVQf04i4Ef8w89IUcQcEcCRcX2Jv21gQ3PEav1Nu33MMFr0Ih+m2gSFnK2KZi7fwWyUAsLlSoAP17ppn6m0WGjXgbMbtO91q00tjnDrs3H7fbTW+UOUt3z1C0bkE/5ILukHqbvrfbM5Dlfe3/K6uuwsQCkap2PMff+HZ3QTQdgeSpuvmYT5ks8AxmIiPvC12k779rB421jIJ5ayb7kJOf2Zhdk7q7ZCIeqikYivxtpbWP0w1SH/iKh7G/8elre9K/kbwUSzxWRrSARFLa6wmWKOD1VaXNg1v6pKb8wp0j06O5AvHU/nwy7ewV/VkXrCz/9PX08CQ3DM+JZf/36cFPAlPZN6WB8qGMj97JQMqIzDHn+eMnFkHNK9/uURAD0f1QQGfM3E8XWdIcbLsv+4oQzQFP6/tVkOmzpoYEElX0YmUMcVV8Gmvth2482w0TSb9Jjq9bYSDBjqF3BS+EstRfdDoWd8I3nZ97vW+L7/JJw9z1vExeLGfnCI33thEXeweKESaWYvGEc0MMKqNFpPztWKYTTQ4MH2gKSf4LwKw04DPAnHU97p3uMehYBVi3DmbYNC8F9BxF6dxwnIb9TlGt1lHTACh07Exg1BlhkQqAvz8VC2bdq+yj1fHceQqoZklQupi4lwYV2xZGI10jqGt81I1YDZLOGRU2G0kDmlqxV/dSIrCh5lE7PgvB2o7LlabhEklg1hGy6Y++Cn4E++yP3O8a1F6r8v/Mrl7LLm5KWwEGC78zDfDroehU4XcULy/JHXdRJSX06ZvHznEl7NscEWhW8L3un0OxIydPh9VGHj1004uG6CK1AejlWn4iy+Cy6DpfrgGs3DnN0EgGwY+Rk4nOggmiDz3qzgaFtQ4hSmElWalYuWFjIpL4NUn2YWkVY1J3R/Anb7aEiL7NHlXg3QrELtLEnhOPlJmoph6eO8jOAk+iJAeg777q40vEi0PD0DAuoaKxXxzM4BybBS9JoaJBQTLpU4RU9jkeVohLzBN0fiKQ8TFYn4eBdkXUP94RYFe9A4ucBAEC2ILUHdc7xwQkWKQ7H9VAjcgzTXRYe5vn5cqChItME7FMkCaEGRHgf5n4u74mqVerdcHmDU5ESxqj32UDqRoU1moeHOX6zlTlJHmqMwiYB5oPPfhMcZdR4ips1HYBIm0PqcgBnhyzLT/15wFjmb1c7r7HR9KeWkQxJTZQZvykuqqFZvX6uWvJ4fVd1qSwKGf1DTlBImSyxe/UrWUfPo4G4BXmIWJuLNlyjAF2o8o9WKfYeVdTDi/J8d1tYMHku6GP1GZnyRwYMnVwcprDsIOMSpnkBWmP2WiAbzoP9JUYJleEnR4l1pkZlvakHe45ykJMqzpGNq5CULdLu1cs497NvkAI159WjRlgRNcGmsyKJp3Oi0GNdjPTyekWR2bT7m9CyL0kxpAI+ktYx+ReCqYsmjsQ/Tkvk3Com8a/d8Sa218xFabtNDD6GVGZ2XgUlIUP2yDpDooymRlKD4NcNLEIiP1N75yxI6WMf7roBjvHoBgkDtU7R3veP1WVoNuqAV0caUNyff2/SX45xHcyBU4UPApwEdkgm5N39NeI3VdHlxqAkuhbC5SfLfNg8/1KJOK141l1aFiN8mvmsv8gyYzffE0mSOvpfPHWxyjpsQLS4q6JoM1JigPD3OzvOfb9P8LwhffGMKZHl+DajDdd5iY1f2BsedOt9YzxGXUzQNfigphLqSGeK4TOHdWNNsGqkU4km3Bd4kdZm9OvKkffysQxX4+fWK7yB6QyIMzZiGi0WX2VYu23ixKETIvJwuLCyLt4vOLCJzbh54bKut/SmNI8zk+LA9j9OW30yPO8vND2LiMNkUF+CyCmZrJDigpRkqUl8LWCI3Aifm+SS6ZfOQKcoAHOGn7fA9OpvVJxsbismgdLc9txOPGohzHVC7trPtB5LeguVwWO2zL7c/8ZSBZKCJoau2t1/p2ZKUGCoFdGxs3McKP50yKMQKYpYeGIjFzstl8hAqG3b6vD01166AhxTd3qlOxHsdcwxBpYGcccTJ+1fE5T3YPABdQQgS/eUWPO8KrHtSiSBfsMOlzEMOlkqJwjwmwvF9TryVZLLNFUfGUcZkia+4w58q2do7Np2HCZ0DtUkjdEfKrKos9zlA1aoRi3cSxmVZwmwlaYIzz2pom/dDJfy604Mj5nc3owknAjiAuNb4njjqvF2kK0YDVj+1IKoGjOCfBFCU63aLjBI4oAYPAqXuUW7/uSmj03kDKf4hI3tEV/szcTn+S7SSlQzmkQf1xJ+RNdBL6+Iqv5li9XnywxM/2sFFSOPMvTO76fqQSd1aN7Wc74bxP9NDD8foHzuziMsD2eDIqaFNtym61y/9GkCLMgIxAYrxyUhIv6kmf3ro+6g9pRykRhPePEvt+dC6HobRVYbUL9Q7lO0ymFqqmgYZxx1MpEfPuME3ZVyeZPTANDEnb8LHlYcluKMiO16XgLDHR3U9oDjwTq+Vg4l/IMF4wf/ilHs5Pr2MvzcECjCruU/fMl9iDthutj/D0DZ/vXsCPmIcCS2Sd1xxdYn/KnxjdVMJZs7WZ+3Xi41jjOZHoYcAHh8eMwxVWTbheR9WOUWCaurBz+kVCyEZTjHff6Le52wZICsHjxNaiPEY9fkTtyZTI5yvaZ7zaM639t8gWG3ZooQR6dLC2Q0WfrpLaR1PgwnWGRSxjQOMObQDl9YK1eTi2a4UQsirCGECaiKUL5+9bDNir7wMJ9yuk1z7oeMMvpUD0qWIkOD87TspNwoUEugFhJsGv5vLguLRTmq/ndtOUBNVkyieujBeOr8n1FFyjbT+1J+6bfrH0YIYnAmf3yBkj9g9uc83IrzJK5OARaOZxo2PhdX4/vlPjUFuWWVhdpfiKlseye4e4emjsHJiySAkUIu6JMufGZ6iQ0EeipR+mHE+Cwai5ieZfbvT+ARt2hjULqFsFK6597xeH1Yi4wYfafh9h6BiqxGMK8CftCBwQm/I6xtGJz7+da73engaDYvWC4dEUJk/dg2k/AG5Xp1PT7QWnGynaknshTWjmcGQ275b+sNSaHM38MEMcPiVHK8qjq3Skt1/HXiRK+ma06GE9u3b2O0F0hT6IUedpHR6DfaqppMYnoUsLfr8rP+3MftndMaguToBGQy8XpqtPD4/age2sHzaCE94KAbe79V7E2vOIcxJN4T0/T6URutulncXZbSrAsEsQn3l+BVtxs6Q7Dxs0y+eJri0R2cLt5ETAcCJLghgUX4B8vcXzFkJkOwGu7IB0tVKJoOWOubqWh2nqX+Jjm2eR0/YESzjunnbRppwzifQFfy0nB9hqzaTyWpxt2RHbS85MainTgVl6BQhAc4iLaxCSNF01nTJP5A7aA5w35sCYTzZiPRPxc3WqVWoZNX0oJQiKG0TsM7LdabgTeXiHiTqY9row/zqda4Rwwp/qyujJ5Tkqhg6/ZRI/lHOAZcZFKhcKCN4HKYQ0sFB58bH7v1HVa7Rwi6gmkfgtP8lvvH8Bln9saRagRMTkqAVictaSjA/2FRv/NqCFQH/6YKa8m62XLpdT1l5zGXuWiwyxGHUTUYtQKJlHdDa+Nl4TxTSnuodkgJ14uuMQF65YqEdLR1Yxn+sUOq+F+2Ktz1xtqWoIY8FnuC+8xS3ZGgDj0S9ND/YSAy9n4nKWrEB9Pm0jcO33MaYYh/mVUjEe0P2H4hrTFdQcr5zV0VuWHsKJ1rA8u+ESnlZBsV+Af/gn/AI/oUtKjTRLaiy24cH/z770Wj5RzdJm5WjVyirUjDklhYDL3pXT7dfmFUlbTi5wvK3X4g9EtFVDSFz3wVoi9pNwdV7zTEeSXHJ1g6a2FyZVfD8aN0v/INBv+9wjyEE918/+iKvr6D59QdSnO9j2ErtWRL7Ap2KsAbqSc8oqoHbw9COQH8wfuP1MO3xqu4beQGjjOGNcyWJMeJDHJMadKda2oZpbP/QhfWPA8CSbZZzdnpHQR/ZqVMSz9IY4s/j+2n2pe7uq83WUTebC9V8n9ZD3Ms1uFuFlT76TmusVRQGAYg9zdWG7EX+a2wFKe+KhY0KsiO7731pi9i4MFpIBMI/ROikfhLeoFA3i/Of5rgtcDcLUHBLeqa91PXwBRdkDxTK2gaGTZYbxCmVB2OK9r5gBkaRMemUqoYB5rzrteYirXTc9OwCAbJQpj0rmE3I7Lld+X8n/Da4dZr1XDvowO2FOo5yGWMvEH1MqzufPJxwLZr9OeoVGhguMWZ04ETNyKwt8pijqChn81JNjTBSB2Ajj1N080+PPFaqTEkTI315+/Km5AN9ozlxHN4gRVqyC3uqo0ReXqECiAfBW1gGXIfmsq0cXgLosqm7jAgri1tqo/bu0IQcKLqYtdCy+Mt9jtktCDZ8PuledGpKlA7Ec8TRjDiMT7T088Zut00CWgo1J4zvMuDx7xJEUU+vb9TQFTPt9pXU+3k3w/dRTtGSWJh9/36BAAyGQC7leJe5lQ3mgo/pGno+0MN0oMr76mkBsKA9x1xyhwbibLbTLLQq+AvD+mxPZx1kkrvHQi93dxesZqmuB6ounZ2OMMI78NvTwIaI4xpx0vUQ6paxhHjjFgmZ2evvR0ODPU0mC3ER24h48KWtuEvmYeHZYgq2aFOasGINQnBb0JBWOmP9ft2SNJX8h+316KLFy29+Q9gs3pobxLb9dQTRl7zhpnbAJGUEukW28KhIrIetg4hjQ0KUgBhm09QGJwizTXHeKyBr0fK0OiCyHGxeTzRtZUzAwe5S87cdiU+dU7cIsnuKdfUbBGQcac4a29joVDZSAxxdkiI1ElXC5FvstIIvFX9/D/hOiZ/0Gc2wt89J743htCZ9ucTx3ykbB+E5tzWRywmqMGS2oCiupXuXC0YikUtkzj/1n9qNx2g59iWoI5ovnwPMSTyKDZI3SMmeWhg3SbdTzYZWYt3+gkfkISW6dtZ+dEWFm+R26D01RiZID/0EciuoAzF3V+3gbNQZJMrcCGFa2V1hnSWdsh7Vijnn9cTUPAnndk5gOwJEyIP0oQTzuSz4iJDfb8HHzqmRvxz9MA7hJfYZVhxCFe+KDRUlsF4gRDtPYrpapFnEDPpdJEh8Ps/w+T3aX7Y9pZrzCBJm1iPX+EVvOTQlp3nsEmO21z+6aNxvaNu5bM3W3PcNhcijkt9LTYhjmXA1/ycZD6wgy4KQWSeMGRq1gv4alpazi+jfG/ddZfCD2KpRLk00D6YmYNZH24HlEs7CtQWpZ3VdBsD4TuKs103YlCQ7QrDyT2S7dKJoO+AxNNhnAFJZ75RMnDEqHbkJUpqt5GyatATYQfqODPtQ1dtFDwhrJNg1MNceHe4PiEkz/gnZaP1wn/SBwrFsU/9lW7rsdI3a00ZYJwAbbraztuCBSow9P7ihAOEJ+nAc13/my1njat6/MeRb1pCEOseeKks+6Axkg8kKVCW1PsdKkXQL42r4yUlGgxN3Iz1Kw5lHb54oPGTEhuzgOgCeaZkH/mhlBuNyYviBe5iB2I0isEukcIgJuUPLpy2gFHHtjj8NQm24FJI7m35u12qY+2gygQXOb8BLW/PISTE+Qivw57/5nWHRsAtE0lc3EKHU64A0uZ7livzgr3a+zrxZIyLx7DmR6lXiNZVJ0VhlGWTHSrBUzQmf7f5z2d5jGrLItuRUWayodA9hXgLFOv2TbiNuUcSIy5VkuMZxihzMcPgsZW4YCwJ66H34dIzWnLR82X+ZyJQTwgFmlg7oo0XQEeWxJuN8xOXJqwYZtmK3/GxLjiHWFXkDxoQkMLQbmtGzEpaaya18rkUbBsOoelw/Ipfnvf1gVdLGTYz/B+67+9GcB18vRQdGwNTxVPdpUW2wA/7EoEc/hxh7S4224vSD+V9wLjhloSq0zFzXbGGJshKJ71NAEM/ls9qlWVq0+2rEQnGC6mXkk3NBdY1SpIeGWYAtMpz7Cqhlhqli8dVI56j0ux9GE1wW9J+9cN7hc01rl77ml2hQ/UaCmrngcZzdOf4L+mnqBlRwyhO5Ib49H9WYD9Ju+oAhdFld5jzLW2wJZz61JO3HQjUbxegdlJbwlE/+0GdMSMQpk882UZM4TBBEPVG6E3VRQvTmJWJxvpJnn2iMbs4QFtv8Cc7gOclhlhEwYXTAglOpmhVSHhabU0xWWBZerqGD+CF8xkD0SJZfzM1daQi8XMaurXYO8lsWzAwH3bg8KKzm/zIKMh91Op/3LiD0AGf9gtX/i8PvI7rQR1S/M6AMl76/REfm1nCuC1SAl6lpfOipZFsXaUS0H5N8uUKLhPoqIeeVG6H8PRW7fgVF0j/oNzrPQhgIUBXyAtvcHZAcz5GVKfIv0876DnLYlZ/9ERHlyMSxMl61ocGAoKrPOgU6X/s0cZdmCupuh/Ft9dD2gTD4yvI1XYUqOjz7TTD3cphiCbQ5TON+wkb/xMwo4rO0fgm7kMIhKNHA6b437Bxl+HiictBBIQtIcYFDwbGA8P5c/O4qcrvl9cUswuBOjPUNrutq2JjakzBN3epwYEo+FzluQ8VoSIg58pOiyAhyqMvwqWdlfrRHvg5Lw5mfGzVRA0+v1Pd8Xr0SFwq2mLFdC95YX0urxBZLYLZMMMRJ3HG7+AjQ0h0nhJGHQ3MBkfKMjeKQeod1LG/8JfUmx9G8/qBpHUE32uLz2WIB8klgEyD78Zz5Br0opX19yAMrf/7A1XRLgo8ToTkGl8jZJY4Cj7nEyt0vY+2GnIEmtv7XSs7iqTs39ou0fzOqwAP6wb9STKCccM1YCveaKeOXMWv11FQoxujTuT2kfORTtzcrjYzes2G+Z1APe8o9W4QzjXicUm48JSauhnuzWlQX5dk5VB8XwcP/PAI5+V/cPpHn8ahxx5DWbxnuWbfc2haFVMTpvxrRtpHS6MgzmLsQ7QomEBoImaCIopjc5k7tfhYjLZMR5CwD7psFodYNWs53vfMDvALud5SCffiRMyZrRPeLj2o0+7gNXFAknT+BpyVQPJrPs3UThJSnkZYikK+IxJmgWaooX1pgHmlctKEyqr0/mHTGoqDbVRfLJJI9qbZzR7mmQuQfpUQC12n+HZMaylOccyPz/eFVxsytD9cX6rAi0ssCd1yimCzmGP+2b5dmerhPIX+2gYBB/grT6WIr5X9A+plKgzOnFPDWwT9WF/Y0lhq2oynY3oxy65RzFxWqqSQbo2d1Q6zeIouQvxrmRzgES92plMQphswp6pfmE2A3Ybt5d4kGBbVr6gUOMSmccCaFQr8aqZ+2eQ8fhohAlskmFh5yIF0xvrsyL6yISDMAlTQP8mIUZFqCKuGcFyG1ihyS6j1cwpUU88oesU7yDH+3B8rGWYslDZKmAynbpsZF2Wv4Tz/jRfQ7ax/s4CO+gRsMfu7G6ZgAcpzkSNLEJwsq7NNP3Ehpd9e4bM/Fa206nqbDigjcVt88CpKwoTiesthfHJqTD39mUWoJyl9eePugqfwcUDd24Kg2B4tvAUGJcXNUoMHvDczmTB8i8trJBETfUgSP3/4L+IA/gjBxWlGVZisCr/wGxxWfkeKaUgdm6uGEOQ6HbNpk2mgAkC4hmYmd0E5KOI2lU8L3YI5nl3b86IyPB8IbZoHsYehyyjAsUnanohro+h+yF1anYpCziZkkyYvLMKQ2jIEnsZg1K/sruZNtTZrzIoKtg4XM2cWMAgvpQCxK2MSQLnDTboPMTs3oE9+y29fQmiWDnx5Aq/GIhq9CyZRzlXqd6lBUcIETthB9UQd1wo0LPfqAeDRBUzQEPKfMvRzAQbotYNs9lIsLM/ZbgCWYdFa3O1N2+LyYmfFJHJw4ytlbXIJlPIKeBkm3kFOX7yjCgW0X04SOAu6Tn0Vi4MVV3CqCCeU5daavc1ym3ntUxz6nXig862fjfYVU6dgsSuFdHgKf87Dkytqb6kw7PdsYU6YqWcVWdIQRVacMsez4F82iinZ1XoNOC6I6GI03BeKSYrh0ZQ+JvJ0d5gtAvGE+K/TqBLfxQ41RxqPpjgqvx2okBVThvq2z/RY3toZexzoCQls3j2q0BE/nFffiyM2u3bNO3W2UDRDpps9qniuWgFvoLrByq5QuQSnwOdRye5kkJ6+lIWrPayaNL/N+G/1jUfVn4PJ2/2ShFARl8Mp95IbxF9bPfFgit7BOZ74czrvomHLPViVEEq/IJWSiztgFkkID626mhaR0XJt195cKyGDaKWZ51HehNyrh+g99P5TnEhKIzFfpANbPCXAn1do3AlU7q7IRCMiOZ3Qp5kRx0S+oh8Gn+FcdKMfe6NLVoTtpWVwolHA9jpdm5R4+laUbUnc/zeB5fqK2aDb4IJq0dfWbhz8hGgNY+4X1bGjrOgsMmNlssfC8ebV9Ld+at03W+TZ6mJfC+76ZeCT4pS5TKWrYmmzcSBc+GbOhTciC/ku+M+9h/Y6pcvmVXEMya4oqGUKCP8++8w1kjD7OvDh97G3FZ4XGOHz3yVfeumyLprvrju5M3c5yfhLC2ByXw+TwikfPQKeu0j26m4Rh3Bdycovhv5AbiyIzHk/WIp29ZcVSKWGd2UpCZB3NaR+EpUSdK2hhFadngOkWEkCg9Wssw8Xh3brFS4OBOtVwl/sRcE+clxY2ZYICZ4BRkGmJkweRJ8q819grLaTeiIHuk7avbIUtVDt2thwVkP5QnvuVXFPb0h6OxamHZgsmHsli17HG4w8FyemoPiYbov964KUg2/7eUt427tmNQ+PXbcPyxXusTG8epLe+D+lL+rcCvCF4hmXDyYvWVPCt6cOnu/eFfLgx39gqUxJTsoA2zV4+IHNMZYvznGqIp7PZeBUMOei+BcZnqNVkEIJB4iYjK6ZqHcl/2IYtUSoTeDpGTqEy3AA2lFEK0T/ZE7CZDQjHm7+alMoFDq/HsPE/k881VjIpFO5gSYhKxw6YhSlHYH9p6Z8iBJUHbg+1aomN24CfvlbCz1xiH0DRKrfUq+0uJ4L/gxYHyaMdH68p5EujW+xVoUh04BOq2drYexarvpleLzGtBb+gj4hlJimV24uo5OBqkvzYILWspwS2sdSnkTNi2l7R32VRZn/TQIy20pw2aa8r4vWVjR3W2eS53O8KYfhkBowj8V/tdmy8gdCALKBw7r5GMQOLopm57uUtRiik84uJj214KpDO3E9uoai+jviwcZrrb8UOZkRtLyDWyA3YRH4kmtg0kbjraXjMf91a1dGIhB/bpHp5tRhvEdF22oPbge7Ty7BuF+fsNKC7p5MnJDEy7efdTPiT3UsJk//vyy122vjv8hdLTMI/hsWf2RfZA+tRBPvc8Z7AhNOBpk75Q+7mO9tJ7/VVML7XUHZCQM9//OUhm8dypmtUOZTEJVQ2mdaMeQKSIXZcoTALRah0BTaZ3zfRktTzF+rkWWCA1+Fswd6LAfZCDsWcp2rjDgG6BbOxfeVOPxxU4VmDumENt2U+S2zaUff0N6NXVwaRSbicTelow2s0ZMZvtmW/kKgZD9/cIQzxobZm4eO4QMrTCwlKMTKTNymuH34+5z772eax5Ub8/VZ4yX6rP5kPdqPBGVab/2aVdxrHNXDV9OrzlBFX8CEu3+tl6rUdTW5WhkykpXjjTQ/xfZQMD2VUZTo5/Q1iN+ByZ0FYfeWQYVZ90fX++7OFU6UZelpmftavc3MhIS5raYD/Dk3NoSvWpveFwkMbBMlELJAdOwNd3Vn1XrL0tWuPzETSr3OSRlU+Vp0xO09B166989WUz3zdkNd7+o1LXGclyviH02ihF3t4e/xOiohR+beYiS1GRULgfV8EHHO4AQAT1g8TlBi6evwado6csjYR8371S5Uo1eZ9Q9RiJwN08eV4u38dvfmraiQ+dLEmw3nfDtc7HVyyy8sgHMmBx31MMYHXCNDlFaxah8Z+ypp61MuP9fdrxSFgAYV77YnOeWn7oJYMOP5eB8qpXYt3uVvb0bEQVVxWp/cM/sfLiRGMaaGj3LhbU0kGGVTn2zxjWGIAk0bLYxVzEEXeg3jmRVPYGEIvSEOhDYRF52ujxrQSnhl871EKNqL2XlBGS+xZoCi/plEcMkjjqxtomDUBcKoZ9g1LOS7qAa/VblRd1/H8GjbMdWqnd7iI8XK3xz8Yr3HulPXCWlkuAsUk1DtNSJZ2tgJDkuWDgWMyxvhoKHaV2JzqugV0HOQOU79/wnByT0qrzHLrCsE1i+xE0sZISrl8ah2bdDUdXIrzXEWWdAfohD46QZG7LNigoHreeTr7h5U5rQrAIF/VFrIiEc9mkVe5QE4Ij7DzQjbYHhr8upl1unanNy6fad7bWeDJ1UvcYtWEc6OHS03LzP/qtq+HQnQyjjsvh7CG5lh5v8gD3Z5Aj+6/2xHXBxLILkqvarJ+dFKBWhKStMCUbT9jxKvQkIScsJjvJkmAVezSIa5bQSndQhPw1JyWnAiUcFR+eaA6S7N5H/An6jcc8TnynP4D2XROFqy/tzzHuDXcbpEuZj/mCohdkkOH/LHaMVIkQzN6mH8EX751CV8QkunIU5JxdEgHcsNvYIJRetHdzuKeIwXLxcp+Kj9jkZsm1mWlwYVPx7xziBFBpzY0tkHykU+okS5d9wf2GZ7AwXr8+KK23zqoZKtsl7RTva2bKXCYcj7+sX6gt+MceWeKkmosWj2Jy4lI295ose/ORvzaZ7O2fC+T605U7fptQojHycDJL1JbCK1gWsesF2XeIRORKb7UshkjCpzHk49IZEJHaTBEMwgtz0BOVpjYPEFkQ7Ly8BTK+ruLdlAEHnkwrCwA1F4OQksQQQ5QPEyugwP9JJwUqa7Mqc0NlnMCV0DtYj/U0ixYGvefHnzSMvoAkKBohvsKsl8UCeF6dStAS8hTBcilgo2BSuTq4EwlEmlMXo2Ayft0wI57HjZbPr/XDD/P3VPwjPnXzTqFvuXPvRQZWkp8wSqpfI896BmmBFRkFPa0N5PvVAgFMYX9Q/XXHimcRZC0SW7CjLwfMmzw1kK6ADJCDOZcz4QZ9r8/HYPBsz5GyuIti4H2mIv19CPNhjU3K6SgjKfdqiRIauO7k5rmjjayGbi14QQEHvAiXuCvG9xZmNzcmn38zKE5FPYO9bSTX0lxs8uyboRRmNYwOK6/Sxn6fE="/>
  <p:tag name="MEKKOXMLTAGS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BTFPLAYOUTENABLED" val="1"/>
  <p:tag name="MEKKOXML1" val="4HooU0THZk28POP9trq+pbTvvzd/gcV8t56cq85kb3NDTsUhojRA0EsgEHHMH7oYP1SYpn09ysXVivguJdhTvfyVMsBLTGvcX7WPTor/CmWiWcfk2RmY+GE6Q6T90sFUr0lg9IPP9y8umrse/9AoLT5R0GKq+XM9pr/aTyOTf0wptcuHbHxeyqBm9svU01qeeEM1v0hpSHUgirOnAK/wunjZPmzVPPwFyUBDlDfxgncUkNpl6YIjkX7UyhOxikHnx8P/XZ4LIcekayZvKlH95iRFUhxtoqoZjAIVXAqlTLi8mDtulVZKfWFHTbWZZpCSTdLWHSV/kN16ZJVixt746mGr4JeuoOYoUTBHNqBKR1q6zqZz4yOEXm+R+TJc3MKL8lE8RcS2/CtQDnpaxxjxhHeo2WhUvwcWigOnpd+osp8PYRpaleP5J5xW6jw3OYB/8i5lf/qxvV7lWkr2g00dtQvvexG7CpiTqVgtLoNEOfQ+CVyE2huqlOWjGMqN3cdl9V+eFvgFB5gdAkUYTPIKQi3r4Xkm18aUPvhAKCWN9tYvJChaF6QRGlz/++kINGwxSBQedoYg4o9Y48yzw5sht1hMolzxxolJUMkrK3zPR5o7UltqJh9PGBX+ZxmfaSfUPE6YyA25ryU7l6aOMFT6U7fsgYGyASzWznvSG67OD60Ufhglfi2rqdsY4iMpj9M25uuyh6tXj9Rnite6z29IKxAw43lyNqLy/FG01SKjJqb+yspe7FPR40/JjsG+Zao8x8rfKZTEM8n09hq+mTqGspmaIQtAKbRjEBFLuP8ntz4+TswwwXk3E9FSfhBBw2qLANURyKPkz1cENNOb0yZZv9ScSNRtr2iDThFaMe1m4RtBwMURL0i/7SF+xcrcHOBRGuI8LlKZbw565LJbPw722PVLoK/mjdKuaYSxZbSsCZwdMTHAcw79yrif2cTkTQdFLA3vvmR/zrxERVapcNUOVtElhThYWwmJVtPVWBQHsg1mzjwsD/UaWTRqn5JuhLBQtvKJ1o8uYVEwakrqeb5oAlnm/6DmpXjtCuKSf64ZgoMMGgQkezBIU0FczxcIOqJ2HR8dPjMtYEpambFK+WSOE2p2vreRpuGgbWUhvMPRxPc7jW0coFqxbAo+EA3Jmh/osIXzBy4oo2UwuFGmCmUF6FfM9zLgmvM1NWoCUYXzF7pcOCFZuQo4tAJnqBU1ZTCfqXb8CkJFvNwjYjiX0/7NU+UWvSAutFt8Z/CB7xgWaXRAm44GymqEAs7dCGAWIVlnClJFPOczxeJy3w0ESb/IicqW+JZlwtqpBsiir9qyPbgVxA2CRJxt9vqsQF17M11FX4Ta8yvZEwhoHpx6Oxe1izIzVWBWTjO6UpT2VxIwisYuRTLGG1vgodl2dObAAX576/gg3kc1z1DDCTcNH5WdyKv39RIuaX6sJnRcMiWPVR7QBkEaTeE9tnKy6VfShWvm7am8lApGzjlA/WDeQctQzEhc8/3FyBmt6uWY3bXN1V4/e8Fxbv0kM5auJAYDyEy4gxo8TFBUGHUBBLSAF4b18kQbQb1t7tlRb/xFLjR+N5rMFlPy1+lYFnOYaV5j7RgWbDypA28p1NCx+AnJ6yZrvtKufCwnVgnTBwBO03BKsCpiqGonHyxohe7Tj1C8/Fx0dWcUvQeb2nikwinvujcgFwB9Fywcq40ySy29Hbjbr6u9WY4vq8Ofyh5ITT7Tk9O3+VBU4ZqbkfcCnqOqOT7DO+IxWGQUj2TquuqiDUQPX8jCe3JynFIyvN7yZYUGxlOCautx+LPNdCFn8j4M4pt45IqGqLnd3f8JkW0yVGGyZIjMkx9hnmVOSiCCYh7ieZD4ME7otMrHKfIrGdz5Y0c1zhNP1N0yWH/gKKz634EhCxovXz4FLcFkr7GUEkFp1Vmz7iUP5v9yvcvbPRAPWC4Sek4OgjvS2pwvdHMnr3JNBS1vn+Bnc9yp7dQQ86Ar4aIAsY5MlfrgsOqiN/BB6jUqA4Ib7jrPhVYY6PPkuDbCqCgv4HLBjErgJGFQsQOg7b2b2yvMk5WDqiZXLzak8VOwfJJzQCNzMuIXQ0A9FHgfKc0nCtDFcgyWOuT4A6FiOji9SBEa+4HgVK5y9iLhNFJUqqliZtm/xq9OMLF+E1P9lI3V6QwPgk0ZeuoWPJN27jmu4+cd39213bXAvv7+Fxq20Jl3bfTf06mTBKiCdMG9re62TCJWIzrRrKvDVKtddUrWkR58S0epei4Gx3C7WkuTbA14oNbYoBQwG9+gFk8wcwy8SQsftK0JTHg48flVDfYDwzamym+H+lOaRiv8l6oqYzcQjrwNX/k6A3/bDOKiTzRfnkliDh5HiOPU7aU6qfAyjxHwUx/2pFBQD1fmKJ0tdkSc+oBTYj9iiZxfObn0LWVlz6hBvKS/C/4LgkGeKvR0dMlDAhwxb53QQHo+z61jZiJwOV3MoS7ZwhZ9Z8NiaNIvgK+YlDP1Q6fCJ2BW1qX17WCFMa1TKvkGt0w492ZNrb+LM7BD+zqKkxfd2b1OG7qqU8p4jv/V4bYYJf13YEAftQMmQfg7wmjuNuqMDUUBHT+8alQCnm7Wn7j38hb0W71mfpzGy+EGEnFjCcdHlDSwWoATuOp76v4ZDNa8HbPKk6RfcI0/BNfdaN7fXVEE0hfqdU+ayvXL5johySh7UTntUEgr2ZCvrEi4TJNuo3MGnH6rhZmvQJvx7KsaECZcU2sRHhFvyr7VLSZMtW/hUE1ZeDJVrOJUjDhDrmC649YRxf8Npg/Wx0y+jlPtNzjwKi18XITjiOf9VeUUkCqwSv7NxW5wHw+IyB7xuxUL0J10DJGip1sk2zybOb/iWve/ZWV2dXGdiAf/g7YmMuNacekTfRAhmuYm0omirf1Ig7R7CiMW3rMjoNnDYpK10tqPU1wuifv85eOBz5ctOPnoDYPi1J22ycHtB5tCB2FB12MknyA+CJJsfsQ4dFWZf/605OS88RUpcL+Wy0WXs0w2UUEcQR6H2TREPvOTDuRbucklNEbPGOyQKKIiMx69wgR8HSYaMSV0LzBXuxH7JwTR7xJar6BAoG0ojfxaO3SoPtjUnyHQ5JtnDA1dUnUzCh0c6rGmzQ/dvoud53MH3/Rr1Ii1DPpDsiG6erOM6JZvVDIxcdzsHBE74+WaGv/kq0+oXSepAVrYdT2mbypQn1JK8pmEjWk6EXHIs2/YAV/iNqwhoT9YDMfsBzz5AGrYSm8pzEoSdkltQYmqo1n/VNFmZNRpET3n2000X4Q5VLOYN879R192WbNHMQCvvV1KvadfhJtFm5qIyls9M/tLwIF02t8Vt0KvBDmPjlmSBd077wtZ2F2/c3Q9rbwhS/aYCwZMe9r1hvnuUJQQDYjh4hlzn2M69nydgiREdkkmsi0GyymohY/u14TH73UqwcneyR+VjVNyzIN8lJP4fOzJ+gX83FYJdAeco5587KRNKWg7SbbB1qAr5zFwaUfAetqwKRr+XV32D6WGOJLTT0Wp5aJXemIoMOhfMl1xNXimQ+NdMwr6IYBz0qpi1UAfGehIzkDyBJrbN7yZm6Xd4pxBUz5zRMTBgxZLArp46SbdGsHz8+89sokS6RG/UqwvXn/Sy5xUcUUr5fqY4+SeteecMdjbZRV/XYSyPpitnan3ThE61GCM9y5BGpiPzTnk4pIn0dwvrNNjfbBZfpifILcBABYyuhU6KrFChi42V5UlB7pOyzv6h4DWqV2Ld5FJ72ZHdELizzuNKyAENuGfdIiZ4oToSl4RP3qGgAqS3PCxoS9KxRcEn+vVGohNn+fm5AGntI3DdbCS9slhSnEaR21K8mrcGA1ZWGrY9htqjQz5jK+AYiRgZDUqv7SrS1qNji7XDJMas6o1zgeKylcbJi5lFfgUIKSiCC/Ki881zXF2oMkSSQn+BprkJ6tLX1wbu6ceY5yqwiRs9oFpN8sIt6zaEchL2ubHYfYyYs+FWzqZ6xEZeT6PlkwQeB6VKfKsoKVYKQb92AQOusV3+VX5JddGzk1z9fLpvNuhb8KtKWdCcMzMRUF4TpuSD+nM66KnKYUBj7Czra0ZDO67cMogG44wfez97ZqtpOJLNEbZWEuqTZqhbIi+ULc2zwCsllDurHzJI+sQyZvkqYM1F5k4V4cgnzhNgHrCVckvRgBtjfu162b0YVA8VPAHu8kb7Uf8X0AcIwHrgxjofWJB7C3kSu035afEs2S/m5fObU5+DXxb7Pip18AIOpJA/XeB89M/EtPIGFWcyUvZQ4KM1ZCiNO0J0kCAAyR/OspMKzTRnCDH2hRYO6N87C9u9LSYzumaPzwYt/pR3FQxpJSao9XQ6wL1O7t3zy+9HGFG/lJM4E6swsbUvjRsAHXRpBLaKw1xuquhP81B9X0uEtBwvfI9qyUFqqkh4dSUWTkT4lIvShwTXx/1Qqix+AUt+zeJU7JkgbOYqH60sJ3Bp4nZ6Uuv9A2DD2EXdbyhee1jONOlttxIJ1ZP+IbbVhf6vutTfeDg/5XLrfHhGncxvaGieLPXBz8QFY5jGVNtCRAz2NczYZ55Yltx5nJarKj5C/RQoE/GNZV01SCsU4rAZtAVprVOFHIENl0dSsr9fcYfbceoX/4XM7MyVQkCWndZcedmxSoXNEkLvkkQDRHu9BTzXHbEyqpnHYoXiIBZbH+bjPzfp4YIDUO5XttyWzZP6J2CUhl0igESwnj/G8Z+EqNaEfkvdCRxjAQJqOeOz6yeMh6ubLO1DbS5ZiY+GICRXep60Act1zO+8hAu0RvF2MLHkpBFhxrwYcRFD7Q6X+seImgQG6KSrzP05AJGHoYtCHKF8hj0Xpi4Bnyap6XSy5+caIJPf7Do2tiwEaEhG88wt54//0NRw2GYGiHrz+xLPYOEMJhNqdRvE7SjZBWXDskhpyvmRHPtLMpjn/KjNeGW1OkaTH4mJ9vC/TqlddljmvkfA5LQ+ntOesui/GcMs1AkvYTla497/imSUnh3DnSdYMnVR8J4ZHm4AkpzaSg7J1g7IprteVpLp8JWORlSM2lFqDtahOusVSJhBff0QssYXe+gYJIEtidTMZHZJ7F1qFOOcuRxzfkJuJDjssp85p26fvCVKggtxnwDrgorr/sZT9ylc8FXxzBUIFyJJndkZa7UoYgtg/4x452gfzdCdeE4V+9w9Q/5BOnhmm1GcwMNxIIwgSi9dazJ88Ot4zsvv9Kol3/MU51USoe0O35w6sg2P9/lTmNzo3JcMBkTF8K5ENLPP9Kydox/3xBm4w4uFAl9q2XNgX+kcRis8q8DZ7/f58cRb+zKmR2W242AOMy8T4YLb+/nA/Hf9N+70h1fmhZHUaQJb60RgY89DtU0nZHgeHOqWVV/22rGqGhcx0fduHo0gxx3h0cJLznQCIcuwg/w22W3wQH52CXyvhUDm7bH5/k9/W+vZda5ENEd4/52nCOpuzFaY68hJIcQhBSdgWkvdGTd4wpNgNpjrVfDmeSbEXXYNGKaIkPvMw27xV42Hwvgj8MIfd0HBDodJBC0Opo1VjORTMtGv15eHQVCVNUufdbqpWBe4MjAcU79qyOTUWblJwXu0bE86ZEK7+xARhDd+0WBGwRsmsoPPQA1eeRPX+1e4rLw8RbAVx+ngd2clARPGcSDaJcASnsW/KsKW243BUn4jJXcyOVBer4VHTqaU2xR+VAuvOl012G+06JBXLw1yX+htKEZcZ2+ZYa/CgS14j+9aOMp6OVgJ6XbF52I5vp0owh7wl2LnSgD3xwpCtE6vI9RdtTC+j9QpoX7rz4bshwd12Gby1RXYy29g0Dg71KMe2CbIUOotrOM3iadIvURr1pqectVQt+/1i99p6aaTkrx0YTZmI1+F3d+FhXjr1C0P4A6zLW8WWwZJ6Out6ysiqM5BH4KXgZ6mOl+/RQY3Z/trBWL0aaoO4BpWDRTLAZ4Yr109QcXYTqyDQxWotqqDOl0+T7SOl2dZsGP0jR7GEa6oEHLX8/hPqN7j5YleJhft5nYNCDeIv1Hufk5dVrDWx/TmVwWp1CAp1bvOOoRzechG17YO7yJasBZAM7AE7pGo93ia3U2FYCq+aKsS9kpY6CoHezuWstYldOjtt0lWhJz/c7kPPsHyFMRviMezfjQg+qb+6E9xESI62YCNkwf7JMATdFYyjz50/sNWIzncDC9PnMZvxV5Entg0xeVDauHpDf36j8jjIXWw/NAT4241FcrPBHqJrdDa61Ajr71DrooVb0yEYvQM8Td2BVIFyJ9AlC/0yVRfW52VzujLTvcS8HIBH3rBF0u+lxmHDKPusKyNhBL3316GEgZz04ZxCuL0XhBzkUiaVwE7kv3GUTVAdmKOatwZXd1thH11eJrc6vIavTu/mjXl+Aq+T0UqQRPfzVFBSDuGr0YN6lSjgWmLeTffnkoNhtZj9OCyjSZwgRkE/Gn1W2xU4J2O6tA3w7T1IZqGDKphxQVuFEUgbaw/ygjo/LMTx8ha8vxJ7IsgMdP0V25/oJ6jkIyJ5vpRAjYQBLkm6QkN9HX2/KijEgqUQXrLF2XclPEyUHQfKgZtoS1ZIVP4Fdd/S3Vp8jS68mORgPBGNLedY+U7/lWsUPpVZxs0b3SIcXOAIvgGI0IW5g6ruIOqDNI4JSrO2k3RHf3fxayqNcofK8QaHsoW2LU4v0MUDTnFX2yawOGfHZoTqHxPc1ZpSvhcYBemii2Ec5Dz9Nfuqag8OXuGm1PgvjdVmI5NtP/F4Dx0Xz+3jdL6iFYbiFwigKUCt8WK1pZlqsFzTQV+MLn9jGEfV+jITqyqf4lFlqtldymffBLPZSgoqHzeLyG5YdeEiSWEhND4TahwjL0xnqx2qaD/71x9DzU29/D0h9NDJl6XWmst1Y8MHvL+RaCTbosTyQeRHMaqaRrHVAEnR2ESYAQXI/cBsxk/SdKwYnd5SAlxC0D/pDPYEeooaAdTwNVLj9IGCIQ59BhoAqHpjZ9vjOzkuhX7XrbUcFaJtn02S4mi1ugNBNJk65ukmfBDH4pnUZ/7q2crFcwfiAtpU8vmcpE94W1Yj6lnZQAjfk2/7qbi82ID4MDYyRv3G9YOFVXCm32q5pq3iDjgxq8K0IoVNSHS2AXZctgJtnk3p0+6GwBaWV1+3U5z4fDuA/TwAKZ9RzukAP3V+2nHZtI3TwMO9z8GasgL2MSkhNK0QtaroCxAbvYpLmgcglv3yTdQ1368bZd5LoWVTTBEj0/+V3VK9xmnr2QDS9Lh16e5A+Jk8vQ2ki0Ufg0xHkyUNysKGlDUi5oZBbcwPj6rlCfKbAw4Hz5ah38C9eTyvGwuEVftOdU1umBzREvS3FDz8JXCQVksZ0Z15fN1MkCTiBPZS8FnRr6NDzzmOd+y2kvKUnWFvRMz8WFr/uCDTpDx/I6Qmv96QJpzniAK4U/JX53pqOlMOODZbTX35RPcJ01LsSs8NJ72aWB7EnMeiw5ndyO4XolahuT0m1j6BCGMip9zUjQ0Ltub/A411x/a/gVDHxckwQWf+LRx37Gw5sVXQFvf7jA4GuloSzxAsDnUyBrNopi3Wr59eo2QraWnJDM56g9EuXnuK7VGzCPzIy8mI0U+BEUff2hZNfylNGjGWy6GfcYWiYbl621dBctplu3VoWSAWcbSVcSOWAArKwpIFUyicuKDMQdacVQBRIzVlv3ePAx1u8KeWc1C3/SZjQLoeAWoE+I8VNrQ2mvR5hhI0eqCbRTRwNMmo3OlhojEg5ndbyYGD8b04k3Nwz5gYLEyHh41RR7WhO9GFBBDzDP4OdRAix3F5X46PJg4GGa1s8kCDNnbnxrIfLcwGhWqPEf1TexnNLs7ZA9gxR4XyuB00ExKxZWuhPZ1J9g2pm0DJab8hK7REjiB8bih9usmDOtlmZS7KdDqhQwT/VKqU/JFuKaGjf1i+TJTz2h81xp1oeo1fr+zU3HMfVfYPwnPdi542qKASFXSAV/n8dR/4zK9veqjruhz1UA+zt3HbNV2sXWfJn7YfbnrPXxmIMhTWpyJIPSL745gZbhqnTT3jFoxSxlgqtzse9NSAvFJbx+yo6RkWXNBoyxGmwtNrCirwsbmw1f1/LTGCckmf8lhDS2hEyVSuQX7WjJNClBI04iHY1f4WRJjfxkREr4eDPAc8ybV5Ud/Joq26npPy6+n3Lzdl6sZulfuT+nEqEU18othFPOVHjVKlHH9UZkd7K2RM4Fe7eM4fAv3yBppjjTzDPid5HkwfDGI8h5Ucf8WATX5PcFLwCVD1jeUMcXojF6KXGThgnsAONHwVZ3Qx8rW+m6vPVYQgSD2wVKjc6HOcHgB+RD/wx7BemelvpAllJAMyuYXQ2dIYOjH9Y1HWTU0Ngv6xYEJTJqr5MeGTgbjRHSnMBxWqjodXspP/EVEBdLcNrmEIVhNgdiFjKw2yOPaPfP6+ySozEy3K0pbm4jhURpK99CcB30cc9TI9bEYz0uiEoYWsNWZU0E2FLL7FVnx8U76DqMz0/rS4G/J04fuodma2wbr18mXltTbUsjf3P/jSpzUnzU9s+8nkx9n4kHxOTqusqLuVGzC6dMYaAN8ZkFLgInRjl3KVx9lp8UDOGS4TR5F++9GgF2wa3X4o2KVCChl8Y5IwQPKOOteTcyrVYbu/6C/ho6Qu5YeccyA6FmtW2+Exj0kcO4+Ds2q61Y1829dzNYLNVd1BpiSbjVwU7FO1rqoHH+r2AeMJdNBHIPlCnSFQwk73Ka53aCjOIV6f8WiTc3vdrriGb753FyTHb7VGVc8zb3BPTwFKhNVdk+rQh3Sm6uBB00sasDHxO8h0Q6Jij3yhUZ4XARPUgfjA4sEox3adaX+vhRa5uG5I3dHSXWVpelesL2b15apfWzcBMeDXI9QGqAdP8hEmwPRU7Pf9Kr78ZStYUXpqrXfv6qqYiLouakvN8Tp1R5zf+kTB3lfY5muGHypP7ZpOi+Fzc3jL2YIdjv54UDIiEot3LlcdRyftiYBBDROMoAcAQWLMfR2ea4Zs3JNqDEaOZP2ylD+vI18/GdoenaLiWeVyYCa1UHsSWEvcN7pzy9+ACsg4tJYUfKhKPyndgfPJFLUoIOikGMlzKP+agVngGkj2fkDBLUZg/xEpOXqK7HXql65TL/b+KpCLmrqnxIgGMFqo6bzeYh1dZUmjUqJrl1n+3hBzQGNm0PJbxIlvZJB8TyWHOwIOs2YvA14SyRU1QnVEL6kcs49t+9HHJgFZs1ROmLSfi0qHUFLXWjKM4FglOzgokOR9sU22qK8tsIyu780cTQc6O2mK9/F+nQu9M2P/Wc5FEjAlJzT7a2DD85DXQLjTda8QvMfbjQOVc4bW7/3KLNJjonqe+BWzvZn5kzsqZEYib8XDhCyY7ISUMzfy/miLblgJAkfURFndPZaMsKrb0o9iRbl0YN3f5J1DGnh7AhsboHH7jmXP5imRO1a0/z0k2+6YB0lgOs4fL7qVz+/Xz0r/K91C7xOCHQMkA+eKYTnHuISAqPYO7V1a7okrL1PPWRHyYGbX6Q5i84ArorIk7wV0Wtjkdf+DmWvV7NCHQ9s6qBM24pBrKkak5xPcCqOIsBm5EiXeo5Sa0wxbfvrYhnYKxuE4bKJmGSo3+jLb+QxfSFq1Qz5qJljQgADhXImHHA2TOV+tJUQbNSuIr9R2j6w9Rrp7uJ6M6LfNF34b7fxb3iLodDUf3AU8cPT85F37XKWgQht83lMt4XxM99UR8ZhI5HsvgdtStjwYfPQCrY4QGshtVgloiIN3i12LNlHx9IHngeIcDA6D7uw5w0H8BoV25HiiUnxog8DPCf/OgoYLh9Mkf+Yy2GrhHj8m/Th1sCxi4Lq74yqcCRmAvPoF+tVfan/jNf1zbXnTpy/PcGOxzJodwa1LDbG2/ogv22b5aISWYzlc3EIyxMKgykowbq08nXZPjtbTocoE5o2MToFucj4KA2zfmKb9swvTFt6J8LuSjiqztuXG50vA+R8irOAnL60WFteXdwCEmN3j+6eHHqw1vhFy+4xzXA8ljYQvntcRiwahVVGox1/VqIiAamXzysHfhLtf3r5UwNJ74VeB70ovb3DqSIJDfTfHQ4s7QEt/BiQ0CpHPCwz8MK7HBfz1K4JlTKNP9VtotvQmCicT2hw5dXhFDwlKRTNySH6N4Lk/i45P1KRAD97x4fBweWt18pQditFYSKYTlkyf/rYqvvxb5gcCmJs/9etR82ZoshZ35IfhehqaZBiqNeqS/mOYiQE77zrDbSQyxdM2AkdsNucXRsH20BqjkN9m9zxGHdJbNSgAcopGW4WKt42TgFfFg4mIDraYtagOdMoCJYggzt/aot628y1nrnBBdCwqPFLMpeRTLE0DYwSmG9dz8Hf0Bw5HX8mGzLgEYbKpZooK9AVYot5p7+FumQfpgEjmaUy3sfoz9iAMcXDMz8eIXjFfTcVrN4Jhd7ONgY1LXZg+btFv+B6P7JgTc7OwsjGRHqAw/2/BSfgB/X9EScJS4d+/OuclNTEYG63IOush9FGqkPTABLIibw7UpCpmYIOXRWlYROug2UspYlk5mGFMseiW9p267VfzI/YxyDJrN7ZKwFjoNKZb0HeFtWoYv4hmUHYPnMU8eYPQ8WdblC0vKrx4QSENMAeA2+pxPzqyCtlIXAOCwwPmpK/AQfc/YMXZ7T02qLnMvj10/pNOV672BVN4kF73EvrNpMtlOnKywWTjp0erSw3emqxPllIvtn0jJzEsRTrJlOedn7tbNhjo1Zz+IuC7/jlJYUqzZ6G8C82RtcVv58jXBgNbYHXplYIFpfxTc3hzqIDDyzItqDuA6hfTJygmNyetmTPERboLLNTJOpGVBRcG8JczscOIpAZbymo9htB2jN9loRRXSYsA4BUhwmuvqJH5rsSf/2l1qm2TMS3jKd1FI3o5ZFzxfNpGNwYZNLMG5KxTDJgpHKcwuh1RFUk0xSlXjUR8mSGz//lZT4f6BzdNOS89jtGbd8K5SIEo5QFTelCbOBH8BAmzEtTk94gMBK5mWwy8gZeZaceNbi4j8BjGIM2HlMukaG0SmChOUxAZBO/ZAUrSa2ZnmF9Z6KFcmyomNvp/5OqGabvRO+08fiRJNq5WdyLSQoKEa9QDKohBebBU8f81atzCPgeNG1Q0xcxcFwtU7wO3HH9Ufefva1+snoKdl0fQZMOIor01aO6Ps/Zm2/KJGb68mdEDzGHqcki3V+MS9uLdcHoKcvkhaH9MQplhhIxcmPrziKaXyib+krQqrmkzyfAIX0YMAdL575eaiLPuLkW4S2UA6tiTAwFZ0ti2RX3X70J82CdNdcs3yLHIvJDY1OdTU/rP84gy4SBgY4n0w1oYpshRKBz+LWy2YAaThsaKxLiSYvigFkbKCnn7RtZ5c7fQFQzM9c6qzO1x2Q5SIRdValknzqZE9KrBLWuiP7ytNqjsvmJBQZHK+tIONW4lWZ/LWsgcgRlw3IRgI/Q/GHacCd7H8GqQUJ0ItSDwMBnWrh7A1mmgbMeFfHD4EsJSNmKGXn2qRtdGLbeiOkVk37teGCLUcMO8ps3wYwOHyAWaaTD3+QKxNpOHFjTJ3PDbbpKqRRuoJm7bIVKRU2c7uq9Ol8X+GG7/lDAsOif7uvkxPSKpIJ9uSCZ7aov9UsL2ZAwLf1+lZl+RK4hwhMGQmIUWXd6iFMcosyOI+kUYgPrRypgg6iNAw2Ptc7yqZveLM+ucWStuA5u4hq+JS1AvkIhc3kGoGY3XxiRToGYowTIaJ2LqvpqcIilDNKvx86rApwKagT1G6Mu964HcJf8i2Yhu8wrvjLI+DWKmy7spnMQq8QA6lVxKq5GnQbuig6tc2kWjQd34jKwnN1klGMa/D84OOGfGvZc8In8CxZuh2IDgDbT0gylvt2zRA8AedoAjhD+KJgnqcbk4WmLxfNCkmOaVGLrVaQ9QopcSAwOv88qCwDTVPqBnRA4a9qYeEErryujbfSXOzklDWRhNt/1FdHBNyDbxkSmfjVtQ6nfaZGgYtGrXzVtczsQubOOA+tteOH9IweHlcgo6JIFJMENlZqa479OsxnCZPvFmNmQ/yCsY7fGw2//QnbAqXjtTZiWU//ag69A0/Ydi+hsdzN9uT+RbzD03tLm+3EebEclCTXk/2IgAbXWn24bgNY4Jt/LOIoDEhfnjcYpFwcnx81nPbkTNqkt9anJtAbgDnIeoN8NBlynQU4ceSYpEoWPQ97/z7ntFQM6RDzYnzHNIVMNy9angwisau6MIH4EX2kiMK5o+xm/nLtCVc9TddsISV7zMEV88GI6o9dLYCob5WJT+Bn7uo0HQ5PnhzKE0x9PV9YAHFX+nyJwkm+fUvFpZohwHf3JNI763r0yzHxxNvVKklI+TMJ44ABqLP487SK5dc1ZoyVqTvhPKzTOqEO664S6oU3Rzwyjxuxh4o0VbmLj3xaYldo+l52z2impyY8ydAjxi0s9q8tSRl1YJV6hpG0IwEGbXYC4W6xz9EjQ0IaI6MidKkDD83883fWzndTbaIOVNieaXeOmH5EMPtnUFsOk+UNBlBA9T54SDEnPH2UmgA8VbuEmFEdYWbn34GYUtkE01JHe9VbRxlquQmD78EU8OJaXps6R0SUonEkc781hTRp6YntWt72qgQKIoJIsJ63n828QOGGW3n/GYhgrvAEdhFDEnnoXywn1UCcqiYpAupEGabEg5BukOIKG8AXxkBwR+JBmtHGFVXKvNM6qz2n4em43YqM31mzFxib+ZXQMSRI6qt6WY8+x39M1l7mBElvaSTO31CTvHFUUHUn3GnECH4JtUFgr+x5AfPnFPz4LR+D5/ENKD/fhfX4MV6V7KSABleclEuvZvD2Ja1hHooIqQ+6gXPUrU1xbdtwy5C2nb3g91P9hLnTRwqck8JRkwV22GFKfl30NNuKWcoIxjxkpWn0syZDD5XzRZhmb2za0PZd/lauEFG29cUmdpliX23fKv+m2CYxpkpJEcZZ5Y2f74Zx0sXFZFdie86tZOEWFvl4Cjn7YJb82YX+Y3L1cb7NHFOyrmMtEDMzVyEWUfJdGJg9bfURNS691O9MLR+l8K3wYgcIv4Dw9cGnDKLuUOge5zHHU1Yt9FwN2TGGh1syZ2XvrVADQANhBGeGBd3mqgqL6FtS9Uy4kBjNCMNB9TnQxwRSfP1sy8AT6Fxj/4qsdYXyQIJSX1Mqm/iHTzwG3V+z7R+Vxpuu3Rr2si5f0fVMfstHExZ1kB7vFQcSK5MX7sdHYSvvcREi5EkRSkpTwLKfDolqvgZCOtK35o6W+G0F3BN5JhIDm1VXOcAxuysZuw2RUJAsLaYbtgX7U/ISOuDrISwxxH/ywp9hOGYBzd2YYwj2TYW8XBzXuKIP3ZKhyDO/gvUUAT6NkBOr6JPuGrTUHgHxztYfy9Zh79hHser3Uf8jXh8MGZhJOZhD9GVhbCidwO30/cuHO/h6C8qNjXmpSOpfQFqEw2KHGpyUhsWCz5RNE43Cp6z7EghS+jGRKrhKIBgweKIXUCWvWgcGyvaI/uZ5hFxRP10BOWKZYsdQ//93BtTfFjK7rQozWwIu/uiQaMOEWnJ0xITmgGAf18dvMBz4TgAk7PHpzlVHg2oOdDKC34msWrjlmUheQwKtbPaD6c/cDDLAjX1th3Qwl/COjtD8WvB18W9gILb47YasHAlfczwzNStyW2qw5F2Uc4yLTgPd6aB2UfhK37JSzqnV2TbYVGAkp4qzcf1KO9ubNjPmqJ5kNR4cuLcnsWnJ5JnGFiuH+NCFAgzuBo5LAaIiOh4wnH5Z/j1Hqe/sCvxRVDslxxJxo75R6ymELLzrqucsXEyoFXdZaPzD1xyhX/qqXXbQ/UNLnHKa/t8HtQh4uzD93LPoo4O9iMA6Sfgp8XD7g+NPd+BP0lYjaYa52nEujEdFrapiEicpZhCBsWPTpr3f0DdyjX2lWHQ2Hj/XpjBxWjdgis0Aid3U6x4OCyTIFHipKQmWh/ps9f9ssD8Z094leewbg8ragYWZue8NU6ylrqMvWNaVVf+FeM4x0kSZ4tr3iGnx9iemVEgHUf00barKelzzRw2Iwv8bFk3gJQg8jmg+yDV59SZ0AkORb9ACUuemddSgextn/Z5d2DvGhd3D2QKncell/C2/Abh4QMSELHUDXjWVKjY+6eHCZ6gtjoc5qp99edWA+z+qpDXM/WphBTF+JymBfyrYGMM6lY4nSnwzCxnegRf8fGcnc0U1WdYvXN7k4zrdEOAXZMFE9uZnfgr+OM1++WjAqBQSA2OCK9C7Yn3Utf54spOGokPCwZDMX1IqKQhOCUn8Tv2J2hYtD17v7v9BapBKOynaUChOYvIHWVILMMo8/GcDjEL7CSCRyIpjkn0r/xYgJSIuMIJa70114kKpvw2Qe7HKN9DKVfypYw6pbaaEeVmXn8A3buAzwDmA5h98iKv4jPwbyHeg+NQu9rEqO+ST8+eJpeScd41O+9Uupl3Ns35i2ULOCkpu5Jknxo0qXm1bpUWnyiAwvIGDcvPJVYRUeZNV3bx4RL7vRyFVuwcVd+DnNyQ7Ds6GI32zWZcapxqniNWiSU2VD5IAcFKgeq2JbDZMnYUDmwn7lVyDVfOBWcnhOrFsFh7lYnGj5uX7mzlvkPRVjq2meQah4PGX9HpwsIoaYN6p+X1APujr8NKQbTP6pOjEkOdUvYWMrTaSdsOP8l5fCd/L6At/N41vY/TRHxQewFyrdYMiisWwdogUyY93YmpIi+4r20IP1HXa1HyfnahuP30hisbFFeI6eWFU4Dn4LpL4JT1/C1Sb0mKExxorS+mlKt4y9RQS4YD6/zZ8TCApZ4ADDzifgcDYwWmmr3gUhwKdXUOHMGvRlErRaKaCTaz7gvJdUsZmtzIzKKvhqzqIs/ypwvDnY4VpQdSbq+e7Pvf7nLPX4KT2aYOqFYS7UL4Q5XPsCmaGTq3bEfCHnYR3gYc0rVTCUpgCvJ6/ymYY8095RLlfBHB5NopNLP0NP/h2gQuQLmhyJweGMORsguecqKtHMQ65eqeNhbwbhqm/eeOOCLMoCWNZ1EaL6/RLmHbPLtLlCxOTogR/copm3JIgpvLACky3kj/ou/UMNv+fiminAIkeDrIS88rqf8ewTcLRR51EsVKhrQF2Ir34SRUkrdYnQR85l6yp2MVoaCqvNAXa9bfXiSr84PBfrExjpeNX/3xvDCC6Qv58HmmWHXHC9eIwX1vSDAtngEAlDZ0yZXAj/KrDLOhDl481Hul64PDw4VLBSh/r+fCPn1nShqSshTuh9hQeKfMILkhdrV+WLORoJdggfR0JGDBUPduD0RdtqSNVPj0GdjhLyU74xcEmSbI9VgQXGUJLOKIOesfwSC9MsKbSatYSc5L1y11l7KNS2tkf/6mvAVooYmOlvUi/VC1m7g6p42XvIz9N2x3IMmkYojvkc6dMRv85bRIMzJVt+Ey0FdvNLkY3DxaUc54OOV7E6LSYJ5jGYnmRaaB2CL0gZGhobI0K3nuowgrbP0IPaOf5H6isQL4ebQI7XchR7hO7HpmJAwBxnQSmVx3KxbzJEGOG4y8cg9YRDZaCYH+TiGXhXvr5T+ZumFV7AMPzeUgbttae6mpijv3aa8PdFjLb7Q7qwLeEuoMX12wqlMwo8rG79bijf0vOzb9/1s/CIaAM+JvMWaJ2f7LTYNZtoAY1ouYoNnucIX8rMYin/QCI9ZSeI0plqqzAnLdL5s2LuT6ncn9PryUVKhmBa6JdUcbMeXGmdrLBpqmg7IKmpwsWXyNVnOQghxhgNFFj4xLg9+lD370JNCM1v9Qd6Ka3SHFi5Hw3R+grUgZKrcKN2IWc0BAUoZVQZVcoi9I+JylF6q4rnQ9KuBgNoxKFY8ZKkoeL9GCD77HSV8ScBonlA4z9CWpNgfN6ZE8qdyHsI6dTfOdk9fjHrm1SiJ5xtoKlfaPX/QIn6pw45Pg/ovS9vS4PSHIS8n8OrH0XQ0u8HFnsActdFfhLybzHP4UfZu40zmLiBOGM0PkLhYecmUagqJjJVeDVVJOxBqg30y2TgxKWnOp8PyQPOireW2iqUAb44HnGmUePnkQTW2TJ+OHuUr9evmuUZ2h9/fBBoDwrwu5DrIDaJz7bZOaENEFRKBm9Kr+8tOUbaSh/OrK+vf/v65AJbmVnFQxpNbljZx+d4IwRhB+AE8FbjM587zXA3BFm+xM7xyXoq5uJ8cFm6l8rO+ac5wQgTEuEnZMhEVJsOeGBar1r6nW9T2Q/MGgLrRxYKZ3CLYfWUV3EfJUz2bHmedrB02jZpbqiP+qadlhTGtPxRrL9h6ivYSexzSDgGrI9rHr9UURbD2zZXOsMIfsA33CxThP46qsqATix2Is/ABtQfBG+QONMg/i97Mz4xuS4lMCY+CsM21F4MT0d39PEenQ4NdOpgPpBqaN917WXWV7rkZR9Uogm42quGtQ/8LI/mdzRMLlwKjLs4WraNPHA2zAJDKn4qC2x6FRjiYQWSgxFwg1StEcDFzK7IsU1Au9MAPOwU+K0jMqF5iuCIFa4Wp83jXiBDseLzxW7meBtzBm3J5wxR/b4xWCyEkxsU2+R2n0kyhqK2+HXArl7GAvxGPdCPa+GUMuYUpRcLN23zQApMZ4k+q/u5KTe6tZRghW48ARUzJE7YeV4ugp/ANEr1AFnCoM1sh4xdJGzIIdcwGgzmpHR8SPd5LRPBfVMQfqPWer+Oh7zwUAgh1/NlcsigHbeTy+R9xRMLAOdM9TGJHcYW9CbW2L57PQZ2W78/ao84OCd/jCiMmI+i0od9bChjsJnp9G3rKNvkbKZo48v88ovSEhd0Kw/MhYNuM4rT/fQS2EsK7YIgUYQ9Xwrr9L0GSAVmw0XAomVKe5h1ECA/axlffndirXxrhayjd0c1nERT2d0G0BIP2C7W8TmQcUuuCHpSD/2BlQWquzhg6FW4MTufRYLWD4YzpXePDxAxTc7KEYjEQy3YiCAGh4be3jt1o7cG2yabqPVL7XOhNOiAMk6tKH6mfAz7qhxEYLgYztb3fyhwOx/KlT1fVP0btFI06twCeL1TRmPSQ5A70eoXscIYGA6W5sLxJSOVueh3njJkAdQgQtCyuBRwoD3/VBv9CmIayVtkqwu7CadYsvoMW/INeVbrhOnB3sxt9heDL7iJXcmMzgsYHJdGowW3q2wY0eP0GojIbAHTBEBgATk8Pqr/+THPnBgH/zadNmMZY+tZomdUpTm352cfJRoBx+NhtoTnIbpumQkp+R4T0sYY3r1MwW+SUWz15cPGRHP+74ttqceaWSOt2nHR+ov4l3U4xOOUbqQauc/iIVaom/cNhIsU3er3IFNnfWGf//1IiesRvK0zHkgTfT4JmthhQPZqh3iMvYLeA2DojNZCFRZ2k9LKxluNyqKByheVFgb/Zm+4kvdtd2MSGZhADZxdc2tCVQIk58bJ7EcXdFpTTqcuEVEvZqVvYk5nKhdldJHF+nO3vqUEIjL29QsjIwrBAH0PkfQo+uFvHtccxzMdrDRdfmDWzNWqGKDBs0MJseUYBx/8L2OzIbiZYbRDxGqgXUJRsc60rMx0+1HCDxODwrlxtsjbecmVE+qJLRG7+1ufPw6AGYG2hGOE7YmHEfEW4bfe6TxNcExqsL8POgWPwM0c8XOF/+S8WJDL5fmgUUHo+5P5IUc8R4dGYHa+gcsSEn0WEzzDkFgeowQDmF4euVjujuryieRY85C4QKoVcxWhDzrAatpPnuhT7o6+nHE1V6SG29ilUVvweDO5XdNsFD1z9yZW08Wjgx9vWyQzeJc3V3RPpLqsmSE9QQdBDAb6eRgBvK85rfTuyeX0NOjTKlXVFWFd8TnVVcmtEYPwBZAB1QNh2/pJDXFw66dQG8oJmZZ5o3lzS9eciydQZ22ynDdotBJv4+AaM66W/CatfmueoLq3OuDKaPUDWX+Zzp0YV5lzixSn0gauwawBg/IU6rHrL1eEgTUIx8ZJbXZ3/U2XKGifxQL2rLk2Z/iPtjnE/rmlFqIijmi/WuqJL1phTOQNRlaodwvlj/wLv50+j2W9KDsrtvDnMSoytPyKI0yndMSY63cPi3oP7Pj57NnQq11DjxFfhxu/XVjLJjmv91biIUbb6hn+48eSKyWNnFnI29sUISB+fmpVK2lEfyVS5+s8yxY2s2yIGYdrnjTl2j/24NG+NTTaCcuoNOulb8Nl7LsXwHLJiYxB5BijMUneIQMKTxVcQ1cDMl49HyRkUx0zLrFDnw+ADUwnuW+ZodpDhemcEzxmvU7zRD1xORYIgvw+mvK4Szt7lueTXw386xNBHBI+JRfI7XVXIqObFroIirX8T7fIGkwIOaifsyJ9We4WWuwNBXmJEjkCsPYPbUzwlwfLY2orIPP5x2g2mzLDoom/C6ikNz2RbNG9dKO2JwdEk8z98IpU7fbGni21ZXyXOYsu0pA/Fho8D9KXsPx0wzmOWrly8E7+8A/bPKoxTx9fxxD5EX9YF3SjwfXXmEwfOcqgOqnaipS8+jPmTPuPMwahp8t4k0U7mFuJneoMB5bQd6SqhS/UA0cgFDFWAOwjWPcPNRyAO+vqSMY3B5nodE8clbS8xxIUTFJMAE4gCVEasczRqSxgmWowe3pjY8mTltZkdsSkLdoh6DVZpt3f+iFdg7tQ653LKFODmGj0rsNAmqVeFRiauX43tx9a0FFwMMdJUiB1LvD+9IoYPHOp1adCxEo0xWtipaxrJxFqJceRLCJ59hEV4ff7nTr3BAtd3ZkhLzUDjkv3WMXZq0FeUxNfC2tYOzGagC8+c6k45TwefO8R02C7/bNDfGwgjeMwrgt0EkhCGzENPoJNqt/sA4J+XoL80l6emy3VpU/lDTlt4CMeWGrNJJdTuOJ93+2+bYPaqAwdY2bZEm+8S54Hw+1BDJZErXyJPmKyjZ4P7ZGHIVLLkIsmesilQ1lQGiZZVUGzewoObh1v6JcbhKhLRopLgiYjVjg9wU97D+k14hALha2EDqtHntcfGKlHGH69UVF1nnVVckDfk1RfRPVjTByohS87YxFBKACVHS3ff75urCv2nw4cguUvirUMzZKxVIYZ00NwpS89WpEc7k4R2qg3/2Jon71nLPVWpP+TwsNoYjBpiuhgloEjK+odouJJX0AuFBFnOvANotO68Limo0QQOk2ctasFqthAoIeWV85T6TeItmaJDeGxwFLJ/CV2YCzGSbZESaR6yiL5KRSrH1tMZ5AUK/kerSwhDlrdOUE9XKi/GBsXAIPEDugo5HDuPMXl4fVuHIOP4OUdw4BLY/u/9wgwJqsOfInFz/EMH2ACieBM1ts06gMcb8CCnAaY+doI7r6ymv9skrK71vZk+ZQwHQzoNMz8Z3HCDSRAWp6JGxKjJq0LICB1th6VLcuIOZYIhvBSIWzjhjKqJkDROfzhGzFLkR+zpCQz3udG6dT46ac5OIbwop2zOob85fWqwyRqpV0cDbF749txPu4oBvwK8G42eZXuO1dNAd96lsebs3GiXy+d8fnF65oWPF1viC0vnXqFgyUEhGiKRGUXhjtgwLxK1VQ1kSQ78FFjigCUEU4rFivGCImSdbyTSh/QyMTjA4zSwFYLjaqHVO/WeiMSqLBEiVavYSdTEH7tta49xTHzdP5hSMFJUzrkQQNkXJ10QRqIuXgN8ms7mCSJZCuBRgF6+1Rh59qPnA+jGLr0j8zsfwux34VDnp9W3aBFv1kONdIYmkIIVnTvRkOiwMH4v0ZXHoGfrnPWGX/IV3ERGIUCwuqqmEXh6gANxmc2rzSZGEqB3peQXipv7NzI2oGl1gSe151l4P/39HKr6DXS3VTLoJcxFceprEbsZlp3FFyjSCYF7VmzxdO3M7xgEXqEOnl2l7Cetl3Jf00IiIw2kpADI8B3737qdvCN6sHwFfgz8Xnr1CMy43O9dChk5FxvidoiJm6nWgRR9FSEOcgtNZbGgeF+fd/nCOwOiAttckbkLswElcUVvsz15D/lCzjiiW4j5YE47JUg81ykmvYxAkUpeK8ReWYYZ0EfCKO14rreheXYwhdngzii+rqOx/QAcsbzqgM/rnIN/dHtYbvZ+GBUMmS2/Nf3pQg8G4UPzv1gvENv18unSvD94PXxbE77ekodCrgVp7nCmCRuFNgTUib+c9EQErVdeBQBbAAhMELlciNOS6KDNYOHo5DtoosUETV+fwoyqXQBnjp59dZngeTGnTnZlreB+8lg3/XDDpNCf1xpx6LzBU5f7kePB1l/Rt3HQ2o1pyzLBlGwsgWoD4fi/O7B3AMZBO7BD2nCCVHTRM8GlE32AFDbHgglsYDLVjHoUI0iqemB0NugvSrbiZ9YqYSdGNneGGJ22nhmDkcBkhhtlJNWxgT2Rqg0jj148MykmQFu1slXyvX2yH73jjwkis9GQPq0TP2lHqSMJxwldbstwOYtC8ZQNH9ZatXRGGTnV99WrAvWepqvBDt+xzNj0PfDn1J42EMZuFoQDlC6LbUryDb+a6bAmpFK/Dfm0KIE8XiqP4AHuVtzqGHXRRUIqzfMqPsi5z7t4D4ZRpwkibuqCAAfIB68vpWEIh+1TilZI3ZiBG8O/l/3gE9epwH+y8d/VkryggVlkqyewoiM64lj8aGhQJfwSPaF3O2yoAZ4As+Qc+loATDWBeVe2qNd3ROXtNEAPLKcIw5lYzWQJMI6KlYvT+6aj7kFYcp5qKaVEdNq3SPRzfzTguRGrXcyUHqRDOd5CjtmExLr4qeSpojgIuOkmh6h3FXFZNMd6AC69ew+ezupas1k0pZIpFI69TeYo0vTiDC0L8arfG8vSaxxbIEnaFqi0RsWORV0/n8ev/CtXCth9FGOq3bzfGwnW8MelrMRCxLMmr92nxi/XYq+pK0OVWXsaBIpvtI0utN+jgQlkLlEcaY5icc8ANq1MYo3sIK0JOpTaUnOFnLQs3sY3lstH92zT49+fyrxc8oVEZKUWswFEExzUi7Q3OGf+fUU94xQ6yboyzwdKCsOb78PYHtu7eqZC4l79g91b4aFh4ErapnjMsmkjQGuo+CNu64MIIuJtxxh2nmMi8j1vlLDyxMZMLO1gi8lIJhdCOXGISyFnIscGnJZjQ/g65mFELLMOwgAOErW5RCZg4yzJrqLL1WmtnKPV47+fehrjP83khNbZZQNg2nDLdouNiXlGbu83W4NlcUJg19ob8MFum9Cv3gs/DMAXWWQ1FEjx25Jnk1KRSuQgM3Rw30MijaaQj9JcA3gENTs27yqly1sMndw+Ip/1Mv3zBTE/DEVHAKW5Lag81fcm87BYkaYvM6bGo/CjMrLaRqbeLUiTUGBslNkdtV86a8S0l/MsHmr2ly9p4OcGhm2jGutdWzxpyb1nL2TjqeN/DMW3P4V5YuAPSI2hVdee5Wlutl1rI7497PlwX+gysq1ESqQVu9xfC0VpT0j6qLlV7ojnyuQd82Suy2KjEYgUsiQHvRiimquGsJCrUnnvRILJubWrMB0bu1W9XR7jvnsLxt/YX0rp7L0NU7oYc6NkojeTvm2FdprupYglIjpuPy5BT1jxS2O24A5rVwlTX80HBgx5LPkwqtvsCmaoQUrFVeCGSEfHwMCTvpsqw9CnDHWJ0iHARLb5Qm2eqSQviZvb93MWYAoJq/gRyCRlz8iB6JpKSdmcrY0BjSU/A0u2la45eYoyXMpNIEdMWzgh4a55v0m4nQI02tpCqyYMNcooo6RsU28boiugTguuoZYIkKfyqrsSzWuUF9cqG0gPjMjUn+Dy4oBcdk/K+k0sP9SCmbDEcrdNFqiUbfFPaN68F6zBET97fqyhxcWJuruuTNsX0Kbhvj1UtxWgotFmzAuX2AniI0ezgmWjWFORVimV6BAG2tjKNrYM2N2eFxVPUJkYVqYluRgn3a9PHEMANvInSxoAH321wJKVcNTV0GWBiLs+TRQfbE4l4HuqfAl4zKQ6hLKxi7mz3IQ8s0eHSV2HICoRQZxF3z0C72wH3jNZl6XVzTezMQiqBzEcOvFf5zNt2vbG3Xat6z28ko2Znjnj/xFo7pQDJnRRxA9TcWz/c8owXUYFzT9mkLsYVUmGK35O1ohaGj4sFmbfjQRbM1MYoKdGAWA0p3tMqUKh2kcgUDIQeNLDcnUD8P6yzjCWA2BSBLjcbrQfXYT91Tz/7aDYSxxFgQ5yMV3hPY35hcXksUyJx7YI7lKHnBVGNbLedYOHM7IWfat6YKPrXjAGy5g2LbQ9Kdl+vikMtIMv8+L1y4uEGHDUheQ+Yzt2zkpTpteMlLKH//jj7Waixma3g7F+IJuR51sMlZpCXwNBDtq/JL4A/w6s8OlOKdsmv173DwxUbHh+s+GLZ32u4NhL3Uhc/tGPxmYzPIYd7tQBz1XSYAPxJTrY6f6M1U+qy/4i3sRrGO53GdgmjG+UxAXpVh1xTNkP1H8rJe3D43d3veT6QVljCGmwPc8FlXcLLHuspT3skDDk9Ss1ggDyfQH3tbXk+a03PvZIo8QgVPbb9nNeoArYnlwCPP6HvWUULj1JWdTmZUNgDME3evnJz6iYsXmgD1CT0KAZ2tysIzL6okg2jw/VnQm0qL5rDzmhtub654un0fY4MPca4ftwhUL3wDfBoDpproT655J/qiLA5rRNTQj2lVC09ck9Tq+9hG/xoL6W4dkmzyoii9PVO7JJdaXr81UENhyL5CrY+Msd+vnk5QALc/YKAd1LL4WdD0WSJM3AmtGt5GGQNHXup60XVpSvQbBdqdcYUie19JDtLJMeJSdWHZTqD7EkCgKrR8ZP7u+WKf0WHGaPDViyJVJtRVH20HRh6yNzuU57c/sHWy1ANE9w7jIYtLJEW5iQreMNRSIi1vTWI4FrpcQvlvct4obOEtBapiyFRkwgtDWEQwbjIKaGROXpK8BvYKzryV9TnFeQm9hvGD7m476SkCsf4Epigb3y98D0mo8ywWalyAkGSkTqn9yRnyJbOSvF7s3BT9GJiZYmzVjK1oQYA/IhewdDHfOSSniFYIzEiahKrXOGfnnM1H0oROFuw2W5blg5KWVQBf9F0KIZswKAnxgRSJ4kpf4NqNCMOul8L3M+8R8FbE1sT+ozhCHHJGLMPGU910bMUH5JX/RBia7TOBDP3XdhwefHW5otoUzsGWm8Ywts4yWJLUNy8gaQ2bkiqpIemqIIESV+fEefQ5bj++vVPDJ6x2TcuDg2GF1gKvEVNLRjhZ7xCc8ozq1MgOuNAis5s6xqtfz8WcYLY3SANSKlJAFlHv/qEPxGc8ZCDGDCKZ1NM+vOyR23u+CL2KB34zJcUkuJ6XPhQn59CGdFZHXThKBc1EUgKl2xM0OsAVY72wEKLM0Ir4b7bB1of1jv7Q92TBqWN/V3Jl6WHIULmtWsY2X5fFde81iIS/U70OBlNwT8Svl9Ob/S1VEYzqMbl/rkI7RGamRSNFu4374RZUc+/miRbPReaiN8YWpUrz2jBI0y4cqpcjSh38msGUdYkO1H4JjQoa0OnS2yvHJm+fFrY+xtgN+A2RkBQAgk3vR28zwTAGEk4PGviwWeDZrWQDIQHkjpaXrEubN0TkzHPxjYwcVdiWVPrNvkZud/w+V43g8bvEHLq8Dmlzsjgd4dfkswJwIbW83Exo+b43QlQ0wKJSxDXhx2iVYftaX2EDD3lga3g76eBjlqUoq5fDzvJqlRvpyoTGaFf1xwHB1acDuB5qJ7AhdB98p7Xpm84Auadt/tONca/PetkR+7z7H5CsNv5qtLf0/abMhePQAFLpyo7pvV+eGTXCN89KVYJigkpuVehQf+uSOQ6plebDBzjvdap8QS8bF4ijgbS2Mr/Vv9fxpY1YisB+189GXFCPzMnAPg5Me6VJoqcRLnEHbEeqeyCNkbKjWQr8VLdy5WcioTmRzuJv3gGU46uV3KfHcz3owI9INT9nxinYuJud4hqCJZG6KvmIQ94oQ9wYjryYa8n2lJDfaH/UzhQEe5CaTj/cMJEg6cNTrz8kWsA8Spyuoj2RaFWlDDTEyPlnb6kgTxHCaBPxAk9Ybh5EAsdpuXNEyvfYELuzK/ivgdqAFRmYEUKQyT8brTAl3wo9eEaD9xfvV0OxWR7c6gHxtUSenB3nTBbQZJu/HZWIM3yUa0RcBNSk9CTuXKADzObWo3PDtlHPFVgJdwXvnfr4+Dd3buqadoEDZyBiGQd23YWz6X8zDn2IlOmNlimy7fXWoYBNIjpwkxxwbu1t0RFaDt0UFoYd9yR0JfGceMJygHHyhIWcyMOGJhQjzd3TR/5mZSLufnKgpicCegxAeK+sWI2JmjdXQY3p5xpIsXdgaO3OzxVpK0TuaFF63eQcix2V4C1kBsf1+E51ISEfGIhEJaNz74ftuO7d6ZXc1VEj7J5RK0uNGRs3pcmBuR5Z08KBK+IXv9vEuScw9vQCMzrl5FZTrmxty/ZWa69gc1eadBl52fOj9b/fOzD56dWSh7dkTN3U7aCk1xRT71EpuWf6vxjqMlAzhn7AuuqUMpR0VOLksuKw805UUDPWgiQUEmObCpGBeCpYrTnX1kyKD30sNxigLFjK7uGLGlOTNZuHRW8YOX1VmUTdQ9wHGUyOHCRBl/xZujR6ZZ77qhx5q/ozFkgDIQ5kscjOabRfeNoJJ9/W4fZKR+F7tdPPND30ZJqNz8T/otwk2zNWOvpVpRq9hoqbxrnIx/GHZRlIsFPgNwCoX465rQe9afmzdtCgCHNV//2PJI1AhO2ACfE/9ptijDObz1xz+flHVbHhsRv8i/3s8+YQM7d9Ny384iFEWbUJk9R4cXn5tfIjoKT3m3oDDFg0exp0q6A5JUi/BaA/b7NbhlLnhV6tqOeJ9SneSrnP/3m6LV3jCKA/2odqru4MCwIEZWpHwlulY2WhkKp13c1jgDjo9FnuNAMeOrxUXVoQmZzsfDPXBIBOrZJlfFhXRDIwAWQaOnniQK/0JonZdj7cc4qMF2rSmkiJZg58bjlEepsJeV+vt8y1/Pn68LK5mpzCUcWyS8oIQSGwoWDs1mfFrj6WGJp5vMgvlnm6Y+pkxzMnuZWcFU87ohRuK4wADMUw4dwwh+LPp8QMedw7GdSM4wUtOGFfqeFGwqoZSslC94bbS6XOFxGM4j6v47FWEGojcvi0OzC5sYd5KvbjIq8D+Jf7+xBE3eFtHh2gXkOZtaqcUUb0VG/efmsuUzQkxUhVuvwgAX0jgMVYWlufD+k+x3w+6LPT9mwyoiubPuhUwPRtNmmqdT2WZtlm5P82Jv68DciGnERl9mDZlFYrhemIzV2B7Sqyrk3zP94HdKG3dgXW2AVwvud593ZHlBvkeSDB1qAB2eeYtvhyLUcJCEzj/BV3isQWii0LCODzr3AnUVmSVGPZEPbtennfAZHpi5uL8EuCqoMqWZjoMc8dpOHGSMytZ1Ye7zThIUgXeb0nCO344v/UE3JopqqHV5CW/azBV+mEydZ9UCKf1ks5u2sE95Fj+nFnuF5J24DeI8rRXwjtjOvEj82gtGxW29W+8BqJrEM+x8yUDGljzS64w1bXPDweK6YaszeZrfKS+oqDtkvf+AikB2ywZBm6EumcBT2yhzkO7UgrIgpXZnkOkbXijTRcWlDYjOrxPwCDF/2oEEIDnTAAQq+dBPchAOVQc3uyYhNXCS+WNTOcpXvs9RxDRVmA2HdZTFFoWCbdjoHlIwINgPABTuqVpbkKxDB2pLf9I1gkIKj2MblSyJnfE5QMzz3duI5MO2uIUOd6Eiw1ll1X5oGfMyia2CPcoF1T3PAZfsVTGx+IDUZsIwDnWForQXRTNgmG0qr5naJ75NKr5RDE0aXAmmaZFs12sK8ofWeVv+Kfurofa05K6PmMnOH8m2JJuM5eU/jv00oRAWajdbu9Mzf3SY+asPjiYsd05P+pTs0Oo6XfI4NSHwxJb8LhomOzgQ8m14qmh/M2IBbnvQ4BtjUrKgWeEmPPLdQzW+9eieRdnqq+Aj+zK++04GVmAk7ewE57if+ZpybVma/neS11ULuycVt3ddjnGSqejB+UczgkXxPyKp2ei7GKzrls3D45eSk2tClk1oMMJYNz7emnSH1w4yNROMZSE4cEuISGtJsZgtQ7w0XDQdGvuAeH2HgfrN3MMahXJVDStsoGUmeMIXPGWt7qSQlJ9/zcu/FnPRGBlWjTyon1W4R7Ks9BcEAL3LTNQ9MftgfrsKYHWbxfeUef6WpZjhk+txziqAE+z3bBWVp4+DI9wUyuD87boQIE4LdXmaFUOfBpxGVoy+Nf3LzSSluMTDdJcYjxFa+xD2L2YXJeoYeXYSeqmOUuaLOXiE7Q6wJ4z2Hyz/+5iX3g+MXltV9GXJNPtVEWBcfdTID70Dm050fXs6qPIoY3TDW0hMGZAsk8KQZcEN4WppNgg3p6f0WDifVes/+IytvDkJEuN9T/nYiGNJSpxX3sfmpifyPoaEhFI087NZT9rffLypTV3N4twkPuQ3mkEXB0PWC9zH1tKnQwnSrQnno+FhGlG6KWIS/34+MdJSEss0QLB466F0ijAEo7RYuPCItIMtLqWthPDesAfs+OIxUtkAAZxvS+REPoopHuys6yZpFz6eDdBJXl/439o2jHJlUNdxL77e8zVqQQRRMKy+u/iRT9tvZx/Yqs0ABhXFM0vrMF8FEA1VHzL4OAk5DlObT17eSFK1TYSwQUleH/haPWK+zc0XYdKs37LBFj7II9i+XzFbfORLVWwUfE3dADC0syu0PqcbkGtc3Thm760aX8tWsIW8gLHMwfEm1/i9YFOdRs4+6/BH1eqXVgLT1oAaHu5TMSh/TBQ7IJhmtQKmBoXNwEbzddfSzdKRkiRRuWOlIiERn5YVD5Jyt8NMFiqSygPS0WA1KPj5txXy4w5IbpL9w2v8ZRRnfgAbcTCfpXomnhWEf9erbQz1TKB8NSkyluFAg3Bkdj8zNcGVyXcGNOYpV4v5we+bqAWBHcNmFMbjJoMneCl2wMWXu30hUrm3jfzG3wUv4YAnRwx4fR4S8D50Goqbee3bZ9iwTpx9a8efUYLM4P9UQZdYSlievlYV015tOw4RlQ/V5YZq+siaZwjNl1y1Z4BVTMXSHXDGB8j/vSscYYZzyjdvz2azvRa2d1ubBngUmskSLJf7hmtBzzupVF6ZU5HcDiSW53ELz7gztaYViFgn+Shv+GnKzoH+CHAQFqnR85mX688R6KRKt/Sdmrpo3GyXnvDBCJKQ8COMSR3sfocyC4xuscx5swxxNqp3t1m5SLzfEDCh0HNPLxbYTuX3HsF2jceWlhI1weGsR4hjfSuPYtQx4lg1rsYirGKui1FNBe3rhtwJWlNeekXMSzTdVSHQIGRsFgdmdtxRzwRE6H2cviC6wwtSfmof6HotNVwHUT1n/6a7VxsrfpdRlQ1RY6PRJavII3L5ZtGMPcBgxmxqJKWZzEi63TJ4oUU3Zw1twXOmam2BmYoLkR5XNiH1/M3XvblmNZILJN3Lw+1UxhAHO1OFc7xRhYw1TBdKLNeIBk/gC8D4hUporiT6XlqUHzl1LxSmep5sBJ586xXvocjPTp9snvI4IlFOQRpiqWmbLnpVsaaBMY/maQxMHm5BnS2DdLKyvVd65hJF0fRbyZRt4/LTuisPYeep5gz8XejbnB80WmyySKWWFhIuNssLsfrNyoTQhAs3w/kW6kkoojEuddKQd6+wJdi3DZmHsf6RHM8NmDbuv/jKeVj/Oc6N4bp5PIlEZVF4y8/DAYgoTfos7I46FGYtfPGDX96ruYNmBGeBfQ0Oqe3M9+kwdezLcYHWgLAKveKRw0xWdYgkNp9E3pVSuFzhkv3KF1rxXQLOq0C7hWlc/tZgLpbDZ9jZePOg6CnKvZRUJlfw1Ry2F93wa/oSAnsrR8shd3xqz0ovHadMQudTAkS5q9UcGY5rWkANSdtpYJD/wNzjvuTAj3n8MgJMonoUWexbrHd2snNvbzRdtdTh4jp3m7S8ZEr151lza2j+b3WySJ//W/vu6BmhlBowg1RPkjHmqpdZVK4EHn96aPDQsAEm6crccdM8G8dge/Llzh6e3+Lax44mqeJ6ItnWyAWjnlM4WA5MSb6nFCoDpwyF943R66Xr3hDn0LAObDDBjWIuEucMlJ8KREHWwAiewoO4HSuQ5XReEbVlRHDmm68uLDPQRBJQyZEVc9HKnE1RdkBBEGmoTHw9gxufCi+KyLHCb7bK1iLwnZo0vQhZn3fgGNLEsEliiShoh/VCquRns3VFhatKs4NRdLujU78KLVsrsHsFDr4jiJgi0k5qqiJEMM92V6lkf3oN8jwWFpvjkZypPc3LtH7gQlmcOBKkgCHOpLTpREhC9Ea7oaYrykOasxggbbUEnJwuE2pCaWK5bAX+Pn5lI/koMRr+jedd7/Hvk6/+pef0HA/0rVc7/OWfpBLBSKVsOisytjBdejasaCzW5mmzpPfkGhDSKbUXkbC7IzFXhxiE6JNIbrBIGCwdNx9ML6adsYpvOq+IXWUtqA0HbC8FkpMvJDUABosjsiMvXc6UQIGkpoL4Msw6zl/eBUSA7y+DCTWzkTDljPqcVNpXlMmxLbRALHCOvgYJceI958jEFVYRnVqOAKnNBaLk1PJY1wUAFN3fGlNIjbBXkMo8jdzulUVrmkTWtNZxMyOwyAFyYUGsuwv+Tq62u1UE41NqWZPryoUTVtQlFwMZYaFXmw0wjs8JOWyO6p2k8Bf03cc6hirla0N6RAZ9bKou4YEwivvuFzzFI5rG4GAspOBWBxnnGGqETWLyW9TeWDlKuqnHQM/fNsdHrkUMLsDIl1jGNpBNXfeSRlKe3RAgbzKXdLpIh6e3KnWpD0s7QJHS6eUJU73NDFIplPN2gIc3YMsRFdL7qe7dOhoL1ZFcyv/HOTIzrUpUhc9sRoKt3QHq9IZrHwHGM//NsD+2mZV8AkEH2FwpvKy6nQiGsXCqlzk600lkP50yVHc2Bh+zVoHKAWZlzT3pGkUMqMSzXonKFQsa7SoLk+g0O/QK/5aNnNxO+qAd51lV9a0/uctN5j4liaOqg/A6TeVtowsFGIUQK+uu+gT+DDb02AztXb32zYCqPoLjh/doWH8KU0sGtmIethM9iqBpj8e5wQsvk6iHP1TjLFNQ479VZBsA1aMJyKa5qsBXqIhLaXcyhhC4D+2A/tIKrBG4Mr3pl5dcQ9xzMuFc98/zAb4eRYvcXmp2nr68H3+BDCENjMvLlWG9Wm+dozo2fCijocTY4isAG855KcJlDDsyZhhp+0d5SFHko6+7yB7rWmkgG96bivO3lYSm5U5nqGek4VfzmKe8OU+nPYPXvujDEbEtOkzP6JrJ3wsNexsUwJsRGZuvWevUChaBd7DLAozKcOY8jleBxNdJbBVA66hMmkoliM/qSbROgMLHIwNL2/E0RsDXelUUNjnLJwcdhxhMm4Z6wCkLZ6plQyBi5urinGhYl9GMpga8+2qun4qhFCqG5BpeOEifJ+7SsewXyUn5QBkVQO599qJTJ1tr59Uknw4OJNfponvH9BKx8UHmssnbZNq8Q1Uzwd44+pklbdaJFEhHzsjXhHzA83O7+0zGZZmdq9wosVya7PpitffY9jwctrj6IkJTeFQx7kyh08wKVpz0EdL15+T55C/VhqAE0Mz2O5vyYaMcirJstb8oFXD/439YSSPd4b+5eihw2w31+X+bisyGn9rsng2rcFag7r0DmAxM1hQtSwMRs4qIr/6aT8JhcykAYJCvTwzNYj+O4fO3mEsYfsfzoxGl4rTqDSDkKpcqIddoHqwcSDhkTtbiSvbm5rW7mmnbd5Ut5eJ23YEypPapwNob60v+CWK3BWBjO+rg1+8SBvevjfY4/JPcPAO8EOiH0qpDgMvSGTJvscWidOtq5CCZ2yF092uZEcwKEPz20uKHG+Vyya8Pl1ge0zs4suQ+YMSyoPXd9/sJ0LPgzfTgPducsDMuyzsUMDidfl1jXOzKmI6DX8Crx3myJU3Ekc3VGRDUNorA/QEEDh53UtQAZxFcN09rbtv0eUfnJTAxh7Hmy9+FfVCqsjLemCES+YIPaBJ6cBaShNdO8t+fKGhN8FT52rFlAI08T+tMOz+BVciPKMCJ1hzmm6GcCP16GiDpXHa9AJ72Jo1DwD5I0z/BNDhFdhohi8tHDo5CnUlt/H58VSZCttZyKRFVrOvu3n09aDaHeYg6xAdhOCaEIWJaB2xVFw0NIPwH+NSiRsF1InRmcb7b6u1wWWqKJ3vpHUy4PvKL30aMrNGXZf9I7D/rlqh9MA6gPvE4qdTMFS3NAcnP0t/ipv0yphOBduADRbPntcQbbUlida9BQ2v+oAx5SFoSVh18qu0wCMr/K7ZJPi7Y1ahzbWWH5j3T0aQCagg/IYwOIFvDdCL2LiDmhPjAyMu2zp+uvRzVwlrbKsmAgG9qE5lpyFjBemTLnN/q9bwcYbgySpGq3V1zuIbrUHl/qSbCOa2U8BPiWceQuP8m+1abchwRzsMBhzSGt6UPWPGyngRHgaJgPMsM1kY6GcgUNH6dg1NEsJ484Im93SQbRgjo2FIp/MqzNtKqdMNRv05LRpcikELNep3QsHTirLneSSRPuPwsbqiQKJle1G63grDTARJ/Ic5Y2rCLAiKXy1zLFldCJlLTbIRqH6+7VLXfEkxots0c5mUn6s7nWzOWByI+R/tmBHh9JdfSw1LXoMRssTdOyLYP9c7iwlaerqwaskxiHz2dufDD6howYjBE+O+Nl7ArS/N777hv+uPZLosmCEXLkrl4NDQRxfOLDpEBPhA1jdH9pd+henD1AYerNAFBcJzSq05T8WAnnmj0CLnJcaI+QT2RP7w5fubwCP627JtgKxbkq87aE+NWr70c9zrvKPoCuLu0YXK0pov830NqmhHNDfbGBlmrWZhNlaoVw9+28ffqXVZ+Pj9si0nEausRlR95euQ22jfTefkHA8KVnqd8gM/yzFNkm0BK4dtbnehpuPUV7l4fzrf4YRx1ydGmUHoZy7KMENxa+GiTB/PQ7/HYB53iaL1ThUVX74+0mZTqqWUClIlxcXOOAhA0GOvxC4jCvYLXa9bQlj1yr5NXTGeoBMmts2/1nOwYV8T6tXlSra5kOsJbzftAG+38Vkzne0fyvvksnB8fgurZPzq6vQWvh8HPHJIepqm1zDZMO/thJykwWJRHbgzT+cXmYofNn7W7zV+NVf8kWVLhagxA/SRpPIdUrDZa6GRm1EGRtfDxbKTluuAvRCQKwNXe0uIK3lTtZdJVOgzM1qZ7DMb1EkKJnuGK+x/wH6JUjLx5ZX1f0PkZIsjOA37QwHJ6DOmbr63oCWidW/Y5wrokwCru3NoF2nTsIj2G+YFhERFGP82V2Ecpx3ePpxkPDeDeZuf2YueBUx1qp/7Q7QInxYeVeVPC28JoNjeA9FsWMmASyGYblSCN8zBxwz59i6cTiLf5rdVY6ZyScZ8nHhMCxaCcuAcAPfpOTKWwpI/dPFOcNB+L9vh/RhNf4jMl4lmpBWu+uonk1Lj+mkPkpZjAro0SRbrs3goYE2gBSGTcPvsp17OivkIm7IAzMysIhxT+DokyK5iDigxL50Y3Fcmw+w+ToYNUXynezpTYOw9fHb+UNToL965KKAIJRLPYyaI0/JjIwCU1Z1IF+0YlnFJgjH80dud9s1ezihQvXCWjEwNPFXTYfHPl5YST97v01nKHNH4KYt7JrPNStXur2mTER6COMc2yKwdsKENm9CgiVZQCKEeF7dG89G8rlJJwmQQfx4QbOJiirO+ff2SDR+e4pwDrQVdlakYJATBciVsPoUtBYMwA3P+sulZ8HSuYT5/UMYdHWNjy/kQPj9e+9FL5O36hMW0z64BBqz00BqCzyrqOK1AHAVRyV0EimYQ5bPTKv93mWOSAEwW8GygIATIcYK79aBwA8Sm+lB+q/B7nQ2fUNGGjHs1C4+/DPaOtTbcfH2cuuEqhaEe6HxOrL7nSrueKkf8tmzqwQOffC5w1HSYvXrHymLGuIyyrxgS+MeSRTRQohFE0JqLmLOJMptL1P1ueJaTjok/YKcJzO+WgXjzR0DXP7s6M12GRX2WYaBn5mrKFqc0jVn/toiaku77QXPgee+foYGcFlQjD/Ozgkc8wrST9sL6vIbVaXUFj/mbM1Lwby3Ao7YOUNf+hJonkE2m3oPfxuxtf3VchipvraV+uBODdM04Z9nhcvIchWqK060nNVYc22lihJe6GFmJ6AIr43HsyyrEhn6N4i8vkF3l8VaycBT2P4O/YnNcPVXOybvBpF1qqsQYo687j9/IsDy7rNH/9wUvTRvFPeOKLWdo4i2gfonLYFRUzBiOw8tH4X1MkcSfcPlY8Gri6IIe7uY8P9N9bXXUBkhDZth6c6ktitBWMIJrN6P7UKEiq0QF0oN6+RKvvFUIHQc250IpW+zhywSX5Ss7l2DKYVbrGJ6HyawXuKflaR8QvXfix1ur3K057iXIBMQdCXz2/jBa9/4h0Hk6kEm0r+WvFCHMB6slCnvoFUfuXHOYYFZC19EQoMnTJfMxJnXqPQl9uUWKITBbKNSy3rjWV/rUcG1Gk16DKByp6LdgTOzVO37Wlg1JggIgFo8p0K4aobu8U9OGwHJuneVZmPEggl9PICyGKtnlzPeMYrWzB6k4TkrQGJROYesNbqYUiDZVoOLutEcWUWK8hq7EuT2G/SRqphszgy2dLysso+wvAJZwP4OX9HYVpltQIJRX5ilSHp12pbp8g3koyE+h88HThB1AHPTR7Ko6RkFFQLrZ3fILZGdRHO0jU6hutkOeiU7ls8hankWOwszOolunrpGlBZkSyjSuJZr7peE3mcwMEJ8W964SpP6Xf8346Z8EwEcCVy33tEhyasY33uPrMN1WZMbWlGXbsg7GIRemWU221rcxzwg+WZLWetAnAoN5VIi60W2mrm+exCPaE9JHoFHZXbCDa7E1Nqc1pJWV27A87SAosL0dVfbr9JXbriPzvX6oUVKY1WPRzNXRE4ZzuhMlM5dN2tk7lQ9G1YjbHCM76tfDcLUJa2iMVUgri6l722jHKJTUdT55FO1ck8qGwA+Du00WQyCN2cBLiobQTBRdIQheLtZTcUvo3is3Gc4dZK/UPkpisHp26tTFmnWgYGDajOIBlwwnl+GJsRk5SKf95DLIIxq104VYBU8lWs9v1V47cUVvOKTkp5HBcDjYGJ9VtTwOzP0yMEvcobPu12Wh3GNEfG/1gY3H0KcJrhg9Ax2o77/xkthzdtJID9xM3CyEHUU8iGKzkr73l0jpcZc7S2HkalQgwe7BBCU/fX5NwJ/7ieZj24X5aT5gzempfvU9XXpHEPSefjPd9RhxkU75XmQK25h2x4SFyGhmr710CATlWcP9bi0sBZ0vWR5Myp3wil64veEKenWIlqXBPaA/wNajDMs3LSBZEXD7yv7vx1dZUeiVkNRHyYAF3SavBcSfZ0vbMEov92jx/uxNL7UTkqe4Cbi3DEoQ116/D2IaNtG8rquvZ9Z7KwWTmJBTCJHoX+cbUSU10iLqBgNXMu6xam0oGU9tbo5SvPqTmmU2FW79aEXfJqv6NgoXoy0ZbwOX+w9/p5vCt3rKZXOZfrk906TcWmlYz+/iIzI5M846mGHNP9q7LnwVUKZVJrpM7Jzm7ZDChwObiPkddgvTMxC7/6kd98BG74VkvYFanSKGVUCAz+UwEH1gzpXCZlgM8T8B0AIdss2hzQ8I6vT+SWjaiSesgkoiyPoJrxfP4Uh+7lSD31MLTlrInALStuLjT+7eJ6pHtAA3QoY5/5e0UW3YNiMqDDFAGr0sEZA9RR/bH5n9Qt/pyWKngUeXGaGOODt5D/Zb8AjSLG0YlFEFy8C+0ZzyiHl3V4u3aFgHTwKdYmSmUVIHzA0TZii+OMOcv8rlz0zxjK4YT73vsFWJ1EnVRazLH2GpdCh+oCIuSgvGcyn8YwNSy8ZVX6K/6186ZHVEttEMatEcOg0kGgyibIvVDQSUY+yNzSGv0MbuZUpfyR09hCDwOAIOYEzEX1F/Hyl8WfKG8qpjd+EOIbzQ0di6yQ2sNW2WQXNjEEsDeDsOlES1Ji6JDMjcWGZKr+LXKk0GlQ156Qofki0l4ztkOEsE8aZv/NdGS9JaT81Nu1Byl0hnycF7frYYWxoHITBNX1Qaf0riNhWrPwfO+2ze/TlfyMV8N64O5YSN0sCwsdp3vl1qyn7hRFuAfIZJWHzsq7Z3BCRiAllzrPvocjP3+X5f4iCNrq6CyxVS4g8Ffz+zlmYkJCrsStJNdf0C0j9CYPK5VzkFDQEnlc5QGs1KJcx4QO8Vm1PUD8Su3lln16RGcvxPDma2yVzkyftn0arkNpM28/2xkAS8s62xIxRpcg0QQtH/9J31g0zGtbq9BB7PbSsBAOHmJcLAg0FSWFZ3glX4HbPY0p0i9XRQqLm+j7dpj0Bluse7ldpTQL3Yj2ALk0QLspNPI5pnLVkvc41b2Fgr/tzRqAGV3Wdg+I0LrLzY6RxDORbvlBFKDxEeCvB25RCLrTsEVyimFzNYEVgY/eVXIKbEuQsK6MSRoWHZfnVy31bhP+w230go5O4dBOZD/avUVBMhj7SblV4VXpobFMPc4Q2c5q9yMnOmeQ1lJsI6a1h0UpaceGaSGu8hIkfRBvQZLXfS6zdR9eM/snEmi6OAu/wiCjg9Lvmgx3zGFUPA3hgzgsVBZMLDViIGX5fVT66eZChwulzVY3u2QKiqd1A3zkfMdiVUGdfWcCJHu8dFSkO/0WYvVawRnL9EsHp1DfhnVFGlfyPPEla0yekmnEhutUXUPJMouCK+GwdgeAxryBqTBpY0NbAOgBWIW0iOTC3dnhjW/HwxS2lm1Ui0Ywm7opJ3yuN+n+c0QzIEHN2S15tju2auLG/KftiEmRLW8MPjvlCt39vLKR1LnUwOFI7b2q8avBdMJKRJGcyZH0CbX2oLxqhLC9SBAghoQVXZw81lKma5bI79JhhQzvrQwKfX5F2pAzbf1u74+ILGnjRfw3eRMDLHsWsOruNVt4OuDvQgsZh6G8VKU2qcctQRgnFvvs4iq55ZehtMxF8SxwzyH5qDGDKHBimcr8xyo4wVdMy2+I5a1N74CKYSS1F2tSP2kgKVtuRPEe8kUBvyrEcgiairRLZLumlBHdZdCDZC+yNKSV3ppcKyf8pM3j0JgCcV3a+aUVYNu9lklFYcP/m56spRChja16PVY6otBzhEfKXiVuY75pfIWoum+rpkv251XuQCGYqmE1m64eoE+Udmbmctu/mSfeTCMOV98usN5zWseO1nPz1OS+EB3o6PKbi9D9Dbz4EXFlWmR2nSAV4TTsPLZzkllvPdeXO++xoSa4WvT+WHFweZHZhChSYu43qxTjL7rOAc8NdI9OuEC4YslTcbhJTq2eyCkNnzrnFhf/m9giJmh/94vfQuG0fJwp8K83d0LqjvkQh2mNJaWB7luUp5e3vor5i5izsQF+z21YvB+EBbA3nE7H7AP3T5FdJV/ZHGfxxx+U/+jIY/hYQSRCPnvBGQgjRx96N5XLX9LvHZB1Tq+TsHBiaeMgVYDQxVeOm39I+1TlyAahvS7q3WQSPVffcCCJGOIZYB4MEIbrzfRWeJDXDGUk3RgurNUQaqlxyiiKx6MK3FirEwiUwX1Wt61wGYb2OvWNezec+zshG8XT6feAt76tvKMzODmn30iepVPZirye0Xcwfhm5DCdDaDdE4Chd1Nw7u7tG7vLcnJpEADwO1OuN8VmhyLskInLnmKjC1BMWkJi1zGiwk/BmiH2YuAe/XR/+vF+E7Z8yTCZBsQdAurYq/2VtTZMIvAJP80aXMIP42uy+pMUhcx3CqMKMvaJbKKbr+zf9yAeVTvGPOcN0uegQi1L0MR6Kndov9Mxkrdk9trfIgEHhzbGWB/ckQthxWQAx2c61bKN5uLiCTR8IOm/GxKIl2am0i0QLu6mP84oE0KFas33gCcXuFJg/V2QUcQNHNCid2VxD6H7StIJzcB6G7v9Z8kMqQUJde5sP8mGhp8UvKK1siQcS6lfjzxeDl0mBvTMfUtL8eStFaFaKFY8X463DUtKAkchGQp3aSDJOw9+07GqNfy46w5bJPCH/6NtQVNottCf9y/mhmpne4eAjTxl6/LltOcD3ATs1jf9DaSBb2VySIFDc5djAs1TcBaspvlRel94/T4seyAG2IYmRV1s8oDLkk52a9Gr+F9dX+nDlCCHUTDVkh5+qySgtDdH8T5Nd1yikD7DnDWH5wEdjbsd18fmb23HkUrTRP0wuCPgh7R6gLlFCRg7aCFjIbtfbvitIaXFQ+4h9Q6j44sl91wDvwbF4dUZV0dFnB5IIwBnZz90MyeFbvuXqAQ8VGD6b3pRusNtyoiVPsa3HxS/2M12i5xZLJH9MOU1P4h0JVBA8aswM5I3CCSTzpiIprFB8IHByuK2aFluyRfvFjMU4bXnODyhKg9kEFPTFZD4xpAoL3lUDIUFRJPJqlUtiCboAA4jnwSty9GYwCtpS8IHAcEny+F7e0054REOl3UrxR3Pcsq2B+dcmGcVDfW0XhRsGhs2yLHyPlwQsTrLSwlZrwg5if5IugFxMVsL6sVwt8G93i+7/ZvlC3pDTsVLknsVnLkQSOEozJeTClUvSXk8PQFrj2VZeQxf13dlk5w5ANpTJz0Rwqw5757l0WbnPl9CqdWOuKm9y5yALxAgxDlSUOu8TEv8N4Tf4hDNA2ZK5/O3kmEDe12LmOGNDFkOQf2VUO9YFQ0VcFQ0ng4Zg8xihkyZC5tegK0/fuH2b3PJBNWscyq1/TbierGpSqIJRA3BXmnDEAvsWLjLRUloLQQ4PZqLOdFjmVNtmEz7ToMoi9Nt3FnDE7YqM25km5LLolNO6zZXvuY8/N+CbqZsnY4czuK3SS6pFIc89X/dAoWbp+D9JHOaK2eTWKx84eGyIW60+6OK6vdtiaST+ICz8buKw5hEV9adLZZTHsktaXhlN31Yf3I0+cerWV3Fe1A/7jzL5vN5qXecXqexeY3slsNU5vkxA6f23TYMdqvvrPOWi7daWzak7piarmxdEfJKdZ7gHWfMQAt8GPFAYfRjke4v9orrP4WbYmVUyD3ccEaJS9koupjfcYs4FPRsqKCNeSxCUhx62sWi9Vl5b9EiBgVM8fnscAFImTCKbICRadGYfqN5VrYbH6aRbpkSlRKyHVDfHtGQOX/h/gEE6PcNGsZ515yTgaiRJJZIkSY1LSyUbO16aZDQXI7kJEHwdYOOrn3WSU5ra/ufKVkj12/06LllFMB9NzsnCqpffNIOgg8sNKU69XfI0JaLttiBlQvAmq3nvZyBjHd4/tUhPigg/v7x/5SbQG2fEYJTEyQ5lzcTzFaKGBlB4IpUbQVbDjfUxRw/W7P/svVGHgY5MibThlfsQ9mZiFi/Fhu1zP184zAgVUN/8E/F8drrer8VpyuZFrFyCFA4kXo4DwmkDiJeH9vCZAJcl95K2pvV4trp7NZ+Bk9qMxzNFTAcXknCmomOSy2uefRqHErJ+nJHl1ranuv5JReTMlYI8o7dysEYDSgBiI2/4Kjv3ZPArI2OS0Obakqeg75Ei1cs7cTvtLANAjFn6z9o/f31uywRmG+LGGwwLbqxteZJNhLVB241UhhyUSuJqF4iSuWoWVMTIxe53jL6M9Ef3vMUsFZjqgHBLd+XiRmDduVGBqvkObpgstdx53WFZUjupjVy8S6brsDp1dwlsGklfqXsXXFizXpa7bO0Kysv3HxXyNTHtOlhjuPXOcX+C5m6EAPlfqsQpLVT6qmWKpQjaVI5tsJ92VylPxAy0C4vc7uIJ1/T3moqT5FBXjyU1cYv861CTva4sdzDnLgPWcl8mnB/coSpRyuEPPS62Zll9jMygAF6llLPow5P8loERwQ+ENh54UbSCszqq11Gc5BUnZ4ZMcc6HuSNboerJfm9IA42VQYJiXSl+s5suBRpKUSu3k2aY3alwF3j9SxTpM+3zeqQ06lAWvdWkRU5KCcK+CyeKzQj2sqMhtvc5NIPfkIK/FG9D275d0gRxbn99pqLWsFEOwjMEVlb2SLvLDCcl7Cq1ephxH5veu+XZ17hjiN2bWrGJRykV2qWIl8EIg5V7fu6FIQCeVcWGSiE9SLWA6DP4Q19rcvhSJJkvciSiSLFU8AD8nVEJwP/VZX9W/6pbD3jN/P4KJGimEbyVuI0vP0e3BWlJsQQIphcz2XLIwiv+Yiq+cR0BTnA9obLm/RAJJYP56bI44TXtUcEV8GZCYJl9teJQwI2be5UQWaeBNO+4kFGCg0BRt8xSTRFHpAW4IoaK+VZz9w4FnNGH5/q8fgj1oHR0ByDk0fBroe77gbbzH5alvVVdq2aWsJNrJ5OSmKnCOpo+wv9iyvwJLdrRVT17FRpFkx5kCuAeoU36Jomnb+10/65Mp4PbJ7wcJ8L7dRujSreWiIQHYuNiLzBBSIrMLRtBCAS4Sn8JlVG3Aj76NSI2Oti9thXZuC2odf91rvv3m0yzpKS7zP0r2CuCgPveXVpaYkb/FJLNcJ51Z/k5Lf8LFszZzVb1Avs5TvLZGBf9skZvgD8UppWEYQftqSWQp1gSjXwyfjEe3Wuqo6Xj8KySL5gA8N/+7OvzXNqY4O2XRzxh6coi09x43VyyQy8qB9Gmkth4voe87CE5tJE14ubDirKtfs0WBNBGdRFc6+eqz7RXsPLe62OZBObpclwVqawsjn+uUSU7gGjf7LEpLqyzpDZgyu0D1cIk1tv2fqq6y0kJOcrX17TrDAqPQ7fN+cOEMEYhR5smb3pnYLeGSu6kXe5zk8Iojv0Zu4GCZ/oD3l5xskRwCkyRrVLquEXgJ/5UvNsAHIDiEANgBQPk7EQWZ/Cie2AVtBIOTakS/Gu73/a0dGwN6LN5COs/R3NUHvBmCUWPtbIEavTVDwnQNIfVWdaCpb4QIPLRia44ppdMU8V/cDA30yib5GXhOMH2fPetBPVZwaGT0sscvniQcrSYYYa2lL5+iTNoXBy5EoYehpWIhWgvTVAQswXPB3TEFetOyCVNVdcamO2aqIgkN54KmfKm4jbSAXrtH7APdjXwggpCRoDRKSzQlWSDzRTK3cZM5rnDgFCgGQ6ppMWmeYqFFuqe40ncW6yMIdW6YJf9mulivFU/PmyAuRv8ES6nembDK01u/y6GEbdGvEsSs/mxh36qAqluOk14hSJvMy5wNN+T2IkMtYkkaaKINuqOhCEJ5jfqnn2XuiIbddIp6/DCXazyCvz92BWGnsuMKeUwrje00ZJvEuxPztjprurp88fG0W+Y/l+5Fk3OOBeu1JrLaL3ZmpHYneiR1+rxYbiJqb3yrglwBVE+9M2Rv+UsE3IU8gxvAtaDIVPSeQsvatN6bPlrRiWoCMVw/VpfKuzyJB4soahFivsPcdWYZ2OOxZRAdPRl2xxdQG9E8rskGZK56jHyy8kHGFHgIiViHbtNXnKXqwsRGQKasfqu7DPa6Lv2cGNcf2paRNGwHXHTeavttfP9XryGTFDTrO7NO60UhCgGS6J5MjM9XtulUDO7Pqsc+4HZin4MGQGks4ukJgRnZPwWQvgTyFwa0b95lat2hBBhEUhJ6ZDVBLH8MjkGJuvqNtjH38ywW+Uif0bm0vGKCZbQa2lqIbiRTXv3PagOMpuTaNypckvTzTSRrSUNCQhRRFphZZkVDpn4UGd+vD+xvs1Xam1wfsCTnJF6WQ6YoJj+EV7g6boZ+xxL4MFwQ/Di94YpzwUwQivfs7hbbxIYDkite/BxzL2AYaSi0x19doSSuUTL1pLGMOVLbaxxctNdpnyRIVhjNY/vpLMkczO4vfbrVEcdRRg56t47kGJAo5uTsyh8BjdSKlsg1xXfIRgpMaQKTBg5c6uOkji54cgFxBozXRK+i1YxoA+umasloSt7TTfk/4gvc2R0I7U19ArOg4XLWxW/WEw2qCaFI/maSUX6QFQ0BARlwVB2Av6KF+UkOur5doXkkNuxQD4mXV6rsXlDXGM9tAvlPDf0B/TX3G/RntcS6YRcYYbgozNXbUm7kjlG6Xut7lsHMP05vGCd/gAM83mm8lXjNlgG/7SMP7Q+Jrod3Dh4gcBgfcZno8kf4qWw0ABQaQFZGeEi7onsTdKEPLwl9OchMI964LSKvN8p3xaTM99eX5Z2eE1YTP2wS0C7C2w1kIkJJdDK5L57dSS0jUj/dkqI7ywLmNgg11FUcDxpCOPPY/GZtUojl1SVfxYUmoiMN8pB9RA0Y4Zs3QlGrxNsiepRRkhfLlWxczYIRbwrm0YTF8Uwb97Qan7epYNMpHesmLyKvxrnLJ6kP4xbtzkrBsi8yxLcydo3LdvuirbWmLihSCBIgmR1YwVhZaeHLggONsB3QJqCXnEBGJ9BjvEw12Cwa2cXNRdQw1crQ2NzPtqKVRm/6RmY/KVyX7UsuASWU3hiCKidcTYWkkWeC1R1RC0jad9gRt5lUhMI6w7wvmpASJ9QWq6aSmt3uULpfUKR1PSv82AWCwlfXONoHi8eV3QFxds2r9bSroQ74AKv1ee8YeVD0Adf4IM+9pIylx+l49jQK6rWpAWViQnXsWioZXhH03Rm2gVX+ji8eE3LmydTniB8jG16tnOyte08UlVUvOtql67GZL/1i55vDoL6ltg96tTNjgXuS6fNOdC3nl/9X2yru853kbOZBJlYjyx48qKzfZmhSltY8VY0WboqifD7N4DlGxPbTRdZ6PnlsvTUJ4UL6Y+7OEwBnnMKPrEu/ecAFsbHOGMtWvG3lFYf3bx+4kIsLu446JLVJ+Gn+EaP011RCoNBhWKr6wwmNg6nbL2YAXCBejxqMRBFAkfCqO9tZhXOwr5Cr3+jzMPjljLLfFHol5l+kTYixJmcO8SIaS3UQfGtKGx1FYlOuZsM68ZTvKod8naLvENxZQu6ffkPcWddKayl3J1tP5aXUhu2poBfES2g3BvVCpb00mkwJP3D5eFvC9klIkqM/W0PR4gxQijUTge2kRfREUiQ9boSDscZUONU1ywigiFaU3maQeM69IVSB0SlMgu8kn0XZelf0rS5+SRQqyMEOnFn9+k/EzH9rxyaGIrUxbiPNr4IF288sQC0Jy0TeYohFSZNvvklAp9PibrnyX5Ec6okpSVoLolWkxSVhgeIxR5YtDU+C8aVj1zuCqL10VCVvJuqjx4kovlRe/eKWeMOzjhropPjGWCaYDIMhNpC/wYZU/b8Ubwcv08U3P+rR3EtFVH2cpKS8IB2/dpm/l2WEt9C1j4oXEeIUzH6agDieJBpaHWYU0h9qUO3s2U434Ve4ejVWXNPPZCu5rKNfNLpA6ApXuBITwBHVXrm7FSzFzAwtdHXX57dAR7Jek9uKgOM+USuB+q4z+4IBLA0IxYkOKF7Gvl5DcXm0DphVh9uhxmhAuqlB87HoZJEOlDzJxBwIQ4pjXmoRVM7hnkDLzV3Z4irLcDe49rUlezLwqzqxM6K/IWYYZMPs9Ic/cbUP1SCiCJcE+cXauCvS5SKeHOoQGplTrw9JvlIx1DdGLhck6C5es9YW8BiQyt9kE721k0WKFrTEP9NHPOrs01BU31ayUREIknriYz2JtcZoHPBzgLnPRAI2WQYTEG+ga5dLEaSrka+alxUai9ngVEH1SbtatK3uPVITOEUCoDzF9nU/4lIgVo0+crdHuzfBcvgycS23dQJVvVjwqnArlch2ilSXpFGoFrsfdF3Do2d0Gp4T8HE9EWxmMqfxWMy6oQpqKN7ZAM68RRa6oE2FK7CZ24y0U63IVBLboayabQTFYLkpRJM8ceHnNwyUsxXzzSWotK3MXmM0W1pVsKDTSpIkrjCQOg2S2Rz5+c/LAYms8QippuR0WXb4+Ik1trQI3H6Moc6UOLPmE31kVTStD+WmE+H7ItEgyZ+qKHyye+s1V096wZ8+4GJL9UCfdb8TQZF7UdXZyKhYA2dGuapVIcWazVSKAuJliEAmcbk4ggwSYWqQbgi2naPngaDH0UNSi2AI5XdWx0qbLEKX01C0LdtkwUtX36qtxyWazzekvubUSheCGrvvwqHe7iMc/t7yagTW+p2Q9tcsN9+DZlYRqfyw2A4NOcuZ4IgMjYOhG9a2feQyTzkuNdm59JmY7ig2WHoizE4UBToRsoPwvghzCfaPc91GcJMS3l17vr9bPiB5G5wAEgHxeBHMBtvr5tSZI/m+bMbGbbkbSg1hKEwfCalQ2d/5mEccgSjxO8K0IDaBi8BANU+66fpM0uzr9exmtz3kYlIl/IDC6sEM1pAvI63zU5MKbXq+BWecGmMGdth063uQHChjMobw0XC/4Ut3OSYB8e0klXbUnKvinQSiHyyqqYLoDflOwUaAfakcdi9XoHE/Yjhpgden0egc5roRqYdwWLSZr8QjIarkIk/MaKNg+ZnaSidTzb13xGhwxPPrENZqbAndSuzyAZrFr/U/6GdnBjGlbhHD6Q0NmSmAS5ANEn7z7n8XmDku67Omb2n5DpqvkS4FzhdqCwcj0BpM7BAU/19j3rPRGgKsZxdb/ljpaJ6yufc5Sj2748nGgxSO8cByVgON6drutrKugnKhbaH78l5z5HQphgaEiP7UkDGrWhzSITw/B/pEvNaA0QtZMrfk8BeVTNXEFMpjHE+Up4KOBeoGczrc/eL2ZhYOJijtUVZZFWxHrhoCkm2/YteewFoNo3M37MM2zO+iHEf1a83cNFj12Y3YbRPT4IJXDazz3toUHMEBhozvQSDYP/3HhrH5tQ/X97+6SsGTm5avDxFoiJdtdVS1rQZXqBz66Fh+MKVaR65kXBtlwMKZ18VcEY443f8WdvWCWykddkg7X0dlwHNDoxnU/PTSHXQOtVQmEYJZajjPyIYa+8Aj6y/SCHeEfbAVyLCm7llUzM/QTuzmNWknJfaDsb6xQmd1dovkVHG/c/YjfwCf3IK5cA7LV2xWXq2fFi7nWfeO4ZTPk3SFMwOIzH/Ab9IG6QFjp2i0BUfXLyiwvuTDsF6iD+CEF0YrN0VMOVxXmu703KmcM3mkRkSE5pH93tPXhRrNtn9QabU3HZ+eS4enNMoiR8feLaflwbRegX7FlzFbXx3womnkb207fuRz7n8nyNVlMU6bnvJxjFdEZ9H+YgiaBgAuZ+YPFCfvQOz+D9/dMnhA1LPqc9HjaAL00bcHnYsqude+c8MwYkmDwo632gPUvKAeCBps0qqly7Ai1V9PUZHbFXvmfQ9pD7K7B75ICuZCANdpsmjK5NJDQCG2nyDvCDBiWP9YWT6lhYQs9p7+2BOX6mj3Mq/iGHsLa1hvqUnft5jhemZnqINdAvCzSmpa09vpxWWmQbGl8pQGKJVAn6yQqV33VxCDf7HKM8PezXHHXCVyji8s1WZM6jUGzE6Q2kkZgh1WsN9/3hhsxCxH/niZ/faB2n9dUl1c5Fp8nDwqctv9cn0iSKEYwSATN1aN4jMqMZLVv5S761NY3BYizmcUe++8fAjzagG5zeLyno7mvZ4Pps2mQ32DoUyO2hELCw3lQIakMHE1CHzGwnNPtV0tRq1+YczBpMPNG8STYOlxJaDIA2E4SleSqrXQpV8IOrMEh5/OdcrMPX3aKMN2XN+GSWWi6MektN+AHt5rmFs2yt3oymn0jA9C+XsXD4bjkIMH/TCtyERizeJsL1lpSSlTEC0fqBxrTgp8qvUeH2cUGGJyMt8EmiqGlEDYCr4sAqKFGf+PcKzpA/Ls79u4Mz5DJZofUSipl985WXaCN+38YqJUayd3sjMFptXd/PrYvlgqpDeJYQcX3PcrKy4LSuon860PdN6cE+O3aTYAKxmqwSAiOR9MiPmBobG1JYY2YnfWyOQkOj/H/RrfsyokhP2WOLFUpGLj+vwKdkTi3sVKOg1/2lrqKDmSqXr8oD4q1FJVZWi4VkdRjoMe9CoiW99vy2zwbmoWVEJZ4F3yFdxpzb/Lv+UuK7/h3osDXhMRtHmCCZJ1eAUfynxZXUvDGt1uGYsRtjOKrvczD+y+xgTVykXRQV+0W12dKl3nPIvABKEpJzouzXAlwEoaQxj9b9vywNKW+dnFz965/Yb++ipP8F+7s7UIhGrvgDySw4j/YJs6XGLcJYhYu/AFtVu194ZXVie1dvIrua1lSMNk95rCvDaTNFsENU4Zqr4bcFN0nkweKQcXd9iIWBJmHmKXv2gdm6533oRuUWx3Q2+9uF+wCArm2NzMzpS6+fNY+o28tbh3u2j5IdZzrpne5uSyWMc1MxgwfcVUq33OX9zn0At68IEgOF6sNTAR6CsOAX/noMeSFQkeXy1Bapbwo1OUhRp0JeH6kRyRL71LCiXO1HPGNJtM2ZFvmmkz/VZYT1x5RV+NqU65o514ZDfBLQL/14BXJN4Z/TRh6XiC5RphStqcaAwHIhx3HLzN+lJWhxe/+JnHjF11tqOFWhnmFMqIp3vneW9pRCTnXsqiO+IG+wO8eN1r7NTe14USoWcnLeeFzWkmp4BKYAeuvVC2ArnJCtIA0ZXxbDTJgC81dUv6AwE8y/iIQPOd8ISdKLbE0BVnNIfVe/ZW+vhmQQkyfLQZ6PPpcLzI4UpAeyF8mMMzK1aMGyaUwz6cg32Oi5thNHyS8tHds8kaZCxdS8GFEt6/9JPp0t29J/cv5UOypedAgTKi8VKSIre/3xfqUVtcsPK9T8AnkELca/7VLJMczITyNmQeM4RjsNO5FV6tkRb3Nt21j0nI+eXQoVpyuP1huCsmm1XXDdudupidpqniuxntPbRiFt/e0YhGZZFlpmkHHURxLKRlj3J62eUDm++bpp+t+DsCUiaDwhQBttM1jbgzirJUjiOG+yAFZjTkBV7m8K2yqmKTPLUcC3gO+nO90DKPDLL5XnSTpImyKIf5tDZtQI6LwtffqLH2elmcStak8Ngo6r//oq6z2vWfsJrpX6N2Ws9LxnLsthvGfKhcaAjGyv4LIqRrUnxYhJbN5FxQSvnrpqlox9x3Swkje6DJOCnMs23D1lxcLz0R3OeaV56Ol9O1VJoRm77ylc+zArQHmOPjGf/FsyKMcMqsOvdonKqA9vZNEQ1UKRoifyz75W136fnUNpxEOYPsF7+PLMhh8yC38NeOLhx9J8165FIW9N+UoMxyeTY8XVzlKXpXB+oOjzrivU/0nwizU0U527l5R9GXnOYuQd7At/gIXO3f38HZ8xsWSEzZQn2gWugO0YuIlztRrT2bVX6og4UMHsf3lgfknWIbJkI7imyD1Ccq7nJmJITtDZCY/QHjpsk/vi3DFk3uZ36ko4xM0PEo4vBq6wU78tUjrI3aFXy7EI9/YC6yYmmrgsFB2gp3JwwEkT/q9nsNZHaMCseCNHp5zXg/j6a9uzHr92Rf9oq1n+sSQo0MQTrHyosbo/pHLJG5EM2Gx81yjc0+2PJtpCPM1mdjYWGjQm79V6eOIuxdRoykmmjTHMzSyeExTDjHCQ38JtB4J3E8pCqilXc6OzvW27PUQDuLVNYN7TgG/OpAVN1rhH2/0Pg8ehuTAFWccsneyLP5Zdvz9n612E1sOn8sCoRSxpjwDUJ8FmWl7srZvsm5Fp7W2XKJW+Na3CrEyLIr3lQlbaM2TVW2ff5zXduLSagu5qtVmJk1kMsdu3XbKXzwGJlFmOpwRF9V/pY5NYV5z7ZqhlzdxrMV2GYeVQcZiObv3xN2dwPGegA/oOsxoKf34pd0RlEwaQoetEl3xirr8chnUdnT7kRsiDYE59ZAiTqf4TwoxoHAKxE8ZzQyhnAKye7DxUz5caiNXUtdFd4cOmxlHprBYAFnaGauv/eC8GbHhqnS2xZ/Zr+z9L8VJe/oxDIWDYJGvMo6EmZANIFw2ySeSJQ8BryBbt40XGqSqOsI6LsL94ojvoT3k/15rT/f0RaSB/px6rWVKONb8MAsYbjk8XYHaP4z5e+aYyXr4xxdN1k/GkhGfyYWftlMGoEqD2PMpVC0/TRd1CEElR5nOhtEn4oTFWHeKPASsmwf57H9cDVEPpVMTn1giwQGdZrIDojcnkSMZpckvUdcTMLFSk8VBjYR1dCUXu3o89Juy/+Kf/dtanH7zYz2V/QcjLec46eQOsfbBaKctep1OP2Yka9iy0KMRhaDA2e3+3oITPWxyl1VsvsrvmuS6La1tFGA8xzUqbNVCMh/UTdRflGMPK0BdMWpv5l0tVPLTb0Ls8Lgj+db4gqT1aC64F6IPUxbYG/2iyLH6d0KqHd0vCsSvVxCAcsA5TYFFveed6QJubiw9yk6QAj9EcNHO5T30W5OVGPkN9CrQTDkuz13Cz/goAaiL13ZaLyPrr0OBszI9KcqLWLi3CZlepeg9H64spDPAk46iAfJRP7XNjmfgvQsf5IQGlgI9PytUgS18lhc/SlQc5t6telegWwKw9fOYAuCUvdKxVy5S98t/rBKLLBuC1oYVRNTkfM7atJdJhfpdltEDaBuuy1g9hBrh4Jrghu+pqZqUk/gGii25TA7oJBB2eMs1BWhlwoxZ9yokeuG29YOB4a2V6h3pZHbFtyv73HsGLH6v0folMc2d/UYqqFn0jNfcN1WvzR8QCkDqPKvlvmrJzOcECLnFCxHvF/pWo/D2/vE11wQqnLfjZkUruKkXDKDYKg0zQvXZRbDk3kRWBagBv6Pqb1/ckC4zTvUo34IJxgh7GrcRjynGNa1bkBTQAeFvkWQtG5qeRClOa4nN1v/Zvdo8ZFmUtAftwDLdjhA5nVP+HCBDn2QdjBjN7k+SsnRmEoohfps9G7+qs4a3LzvuIk6Lp8/AuEG7UaVSfa9ZIxjUdmaKf3KetJBXWwBwBS0QdPSOv7e49UM92emeXVW919gzQJZF56KCXURrmvMQzqIauhsJD2IT5o8FvdYqlyDIbTMKbYuqfPh5y5BW/0Kvpw4D/EG7VEtAu1das+aV8JMDhdz2N8T662qArEMecwLVNkMBpMFru+e1Ty2INdPu0xAvYksGm1zTJe+jn2DE9pTLEUV00nwVN6JB3dRrW1/P3KO2YiOkpYMQuRGPUCi1Ej6XKSzPrE8D5C1V+rpWv2py8EpTxc79XeatfT+mGa/o1uzfSm6qq937o5d9rKulUAknSkYyAcJI0SFJM9hHzZD/Y+jLD0SYUbmWwzm7EoMCky3j3lYrHkf040XT2ukQF0m+Yt/SJ57wNsD5JSH0PJnSjAznWK7qBx0NBH8puxhkxn7/KvkO5Y312gT7jHGvoMJZzclBFKlgxqpxpr1wNgI3bJDXhPIxyTyyYeoELPeI9ZaACUGP70u8D2mAX8vCft3cJ7N1UHzVIBnPUPCzqSCGaF6F1KI+oZ+pMcrAYoH4kHNieKCbhxVxGvYawYI2WJmOKlMO0HLB21zBUBDKoQh8HHNS8QtE4KCnksHRBnjIeZv7XX3/awWa/uvHmsQ9lP9z3V5n3mnhoktqU4XADsdw+NExrTtc5E2pYIwD4edudXravd9dOHb1jsJWz3iflrttP1egXMADE59MLk3EyC3u1YpqJxL0FcC4/StvDQLAshDltFBmveuAIpIKratduzk76uxNZF1GQNM+6O2wHGJ9PfuepNXgJwpOE5LwRk/gl59Y5xdyhunPSihZeXD8TFO+dGpAqQiWNSWYtULf2FD+tTuy51+3VmvlO4O0K9QoZYbwbl7yAMJEHkiMdF8Ypkt9jQ5PkD9TDkyhuDppq3lNlfhjgIKW27+FMadmErNVwqvPSUDFqR3JwinsAgdIAM9lQqMaNcI7S1soQJpmywFL9Ze1B0+Yxi3uySWITNvKTqIflFKpm8eUyZlS4qP8siHn0elzlaY9yWPJyEMN5kVVekg3UHGgoqsVtt/PDxDx/hMGg/+d1id7FP0fiJfEkO/kUGeqOdWSNx93jAxC5IOM82YaTgNIp7dJFynePRofcXW+fIEfb0AhooLsQo+ypZy/3pRC7laY8scRGjfJ+e8Z0EkxwPNRk4Mu5MLwfN0Hmy2D/NmZQaVD/8X80s1REr73FoGIyLxyh7TjbIBc0ugEFryxaP/XvhBWv2+idSsm2vCJEUpXP+poS9BdwE21d6RpGROzMkXwWv3YefJsQ5k+WD9VYVS774W0Y2EptJi/wP9r36vJd5MRe1Ow6LpsRHecfzSRLbtBVPJVi3eYUJBSCWRDk4gmBIJx2Sa/tOY9YV4lAB5imI/3HULPvD5iMo9YwJnTcBqIvHXNDrwYhFc1Z0zbGzHj5SPg5jOx2ClA7fgJad4czJbsKdWF6cUW4rOZ5gH1NX/MPgTnxoNx6dRSRrm3vgLcB9rHAhgXr9tZ0rDhAkbGI/fdnVWz5tuOiufhRHXVvxEyx+imKxnNS9HAjbMV/6EYpEt2weLvY9RFEIi7QW5NE0PFf+uMcraMrzA7T6m6EmeCZQqdePiJF0sf3ebMdaRqOIwECMzUuYBy5/xrh1jq32/cnz5isxoQTNNrsYofbWw2rXgoTreCa6a1FYy/qd5LfQnDIGH4Iu/CvwoNCui7Q8wF0cBO/Qw7zNhroRXzd/2In1CR+3z4ChzSVJe2jlOauv58QwCndaNUF+VZu+GwE54yACqgmzBb9McafAFwOCzv59jQTZd9S7n7B8VwwaUsLInSB6NTUN3NlmGModPs2Lg73AJ6pp71MJLndGyV/ypsaq3oBp7I70FvW/ODu2Gyh0A9bp2PUnhTsLi2mwlY7+LVz2NBoxlHxHeM5T365ihi4+NBGKiVmfUTn6XAaT8tnJAMFYcnTnNYvqiBGaq2OA6qQbo3je97Pgqwo+7B2FBM6CWU2hClEu/hZqa+3GCeENcLcCG8m8RYQ0Eq+O38i7pR8U9V6Xhkdz7lRNh45Ll3l54R3UC7q/OfWtRfbJBs/3moybjlsoEKIkhGRWhtMeKvYlxUfRh8HdZvXHRWsRFHJWfC2EoxuUrCoAiAOI/1j1zc9jq+lfIOPKqaY/+c8hF/e6wDb/yrtrneWrvBDy+NIIOg6wb+kIpj4LzKZVeydq2gyqe7zBhL2g8p7RgLXPi3hYzPTShe8djGmst+YlA1kSAp7vyN5iDGYu8/xJBdlViYh4MzvtR+9vW3a0ATu9ZjcA1oepHnfPkVuzVWAxXLD5T/nPUJgM3lXEl0nlTeDwsrTWxpS9+n7yWwk7vlZtpZ7jsfKMQo0Ws6rUFbDECIt5UQlUTqg2R1vUXfFYrqqu9Ura+VN814Phsowmw3Scp0bAapx6b5sk72ncA9pVEwjZXuZttC2Dy5VOyDrHSffvblIyua8rGPOpA5OB8orGk9RTtvMQGBsLySqHOAiOEikJW7zYwh7lvAv4Sml2+6MOxZ3xypBnk3Pgw5JAlY6JuT6UYXmAHfGu7ABZSBtCQoM0cRNE/tT79QgZ8BrvYCfKNX6HOuHCDoelVjXJ4rBpoTFL94oS8hvCev05+MmMzHl+6QsBmRLjxAxLvTz0Eicpim5sDIXExLzECmhknasBs3KdbU0Zfnq+wNCfQRDtT5KbqHHlYTPTwlL6D6qBbaTGteIsWTt8viF+LHfLsZulYnt3AJZrYwUpWv9gCRDFMCiyRbHDG05hZ55Eri3yyBJi1OlrETuxA/IRGPbZX8USI1fodafbu3OMY7Xl6LBFfPTMwp85EIu9Jt7TN68hwMnPpWhPXwYjd6Jbi6kdQTncO9RfOzL2rHcA+W+Md+ixP8SsyhuFHHsjONh6tkud4TmnfXPVjWwPckaBtOnCDZCy2RRTfJe4d4bNOmZFyX9rCL75PORvErftxLsaTAj8TGN0Q/nKKuKiQOi41wJZ65LteFyI9DEXUiDnfzjYssSOBoBBzgJdmJrokHMHMnIbQc+YTi29Fd3smb1BrBgZrR3JFTDSo7NeLSsZWmsAF6OmSF20sHOwsgNiJY425eA9RX6DWOcW/3+F0eqjH6pOb1zVjVR8nenqp7ITO8vkz/PBXId5dbe0p+tg6+0TgG7jKaCQp7LdzMlFt7+K5A/kZwvZYrpGzvn9P5dTZGkrbO8jijozYhu7nH409X84ZR8HKEDXiMe8FC5VcYx9O7KkhnbKJbUrA4f4F09ZFgr/EJpsVhnDSY/uyqWpwgUht6m4zkQpp/+Srb25b0EhpMOKawc/SchB/ye+v60Dx/yoC+gmF6AjM9qV6fXqszw8TrLPXKKBi7pPqS6e4D3NfDTBad96mommVUc1YDRI6k2mIuIR4Qa1Vk/TR0h5tq7TUTfkffrvsJs9kQw3O/FOcepIluVcO/bc2Fld97WI0G9H6sdhatiWXBR/z6FATpHfdUCADFjEaSFtkW9S3JeYMiUsmTnVBUJUK8Dslw4EzBQLLslR/SnG2FmZxPuphDEv7QxpQXQ7iVRQPGdjmO32Txq61tu2Bj/exkUDakPNqC/YDuit7QX+WJhiDU8JJw/o+emCSNRhY8MhvWwrPxH5fpAKCLS1mi/AdYJsJ2A1zM4skVgzRjhDyCJAXFcDKQHvaVa2QN+qiJ//N8NgYdN8CWjcjizKP0A2dKX6SyEWZRM7Dq1PV5Gw6rmh1RYAOU4eI6lVJRyIjfHRJ7qH9FtF1LO1dTSeOZ8L7MZUdJEjAJgB/m6GHkI52+jHmf8VPYxbO/E4MjWKsMoMSLzH9sl4l8wFPFO2z6KX71C9nlR7JDhOxhEYJNuxx/be38L59Ta1yxcSFmrefdegeYOX4erE6646zuTrfAM5AqEKodWHiir6wnTbj0ZdcwDzYOImKnE4XSyp/uFHwI+s6wv0u2DlJ/ThAC5o21KJXJS99Sj0nZd1hGquCHGhwL6eIig7HTQJbsHS7wcKmCVVhHvVqaTW3CL35lHYIgiNSgELGrIhMYHSIIGKhlEgyT5JGlt/54ik2kLBJzu9SVJjzbQwS8jf9md0QCTMTWBcO7YutXSXE5u8Kwgkpl8gk2W82t34Bcp9DTbP0gcDqCdPM+DR7EtFBYnrVSpE1SoibTltIuQgmP8SPE1bGpGNIdxZcK4Ft/bKAztnJXssYwc+/oVHoYzJwsXvPFOwIva2XzPAg/58E9VlOCDPdMAKdW18EbwDJ4TULa0GWYg7XKOowIYWerI6gN2zvMWzarsxB8zOx1vBUizT216c7iwdn+ikrHqewPWZC/pIA890/nu7kTzJXG0gp/fv/ZVmxuAAqSKnnBJgGWmrptrv1OjGD36zyfcOfYTzOx/ck2Ze8hOoUDjaVhBqD2XGQwycKLcBUIzQ0XvaeKd7XsTDFp5hPr/QdDrFM8KraJSwTmYg0G3xxvRe4VerncZUF1w0vuH7JaU4GDecWWeEJ+Z5fESLLGhKeiNCrPkEfAaSLYXFKuAMTQJZZk52CsrUvTLhnOBX7xfq3M2bNVv3p0wLIpRJ9L57GNcfDNIRR5WotuTz4kfgi8F9r6vSpyOMs1OGAZT5dr6wc2lWDQ6DPMDCURTv3LNZz83NAYYMTJoa6BP4dL0AtO/DuywFPwc/sq5bK818nNqfeMgunVk5jSQReWO9/ScAeEcXakCfPLeHRI9fpLwN/C3x1EkinLrc8UMOohxqhmyqyqyvKlundiR5uJrPhjvW97C6Ht/FRm/EYXpYUGPbj9APLA+kJ5K8hFyTF2UIln/RbrAapTKgP5ziwdfRH3f/aKJlqk4vkuyZXMTjEX1onqNe/idQq+CFEUnJUPfWMVqvtdp/ZKzOYJ1E/Dhyiz3rfWbyy/+V9vF1SgLSUWmOn0osHndmgS15KF7j1In2lAH3ADrvVcj5XW4nOvcMT32rlwRKJdrw9ZATegjIowDV9W7fJSNIOV0UU+Fny9QFPyovQLjBnx5OG9GO59wELSFzKkn87mnAHPs/34p5R66whz64ESfZW4zbOIkBP/S3kLpBbfYY3pm6QMX4PBOuCwRTEwcSbwArkC2c9Uk/+OuGpOgl7mIO7ObjYHEicR6+yGYVAUyE9SHwHgxu+huVGlPQ8EzmNfXSb6zZedKR9JAuorg/9IwvQ52u+WQQlvyNeDlzsUoicloIon1OhZTml9o1456U1uYuaq4rr6Y7nCXtEROStplS+1uqz+yBXEFYIEdYlx1+YClB0yDG1EhqI/lYveUVL3MXaIBT4K/siM8ucdn1sjdBnZzoeHIwKeS1/CfIp75T3ZGHkuWitRSAYvm9E47WhF03Yu/mHQFz+WeycKUYTNv/xmmzLMVf8uCCWA1RRr+twmhFDzNi2UsHUsCb7Y72uj7Yn+QjhUa1qiLLN1SUyE3Q2CodpEIrg+RhNL0UcTmmeTM4LjX8UOYVGU3wIWJfh8ecGJYfbH3EFyjaN5hVw0lz0uprQFOaOHMNWiCy7/V4oBnTmdo9MAtp+OtDsvrtdpdgJTtMXukozoyn6gLuZRourmrQmCSfuAktGLMccAW3SoVWDBr6GvKWdFG/Z82rIBZCTvHL1H9u739LOAyyVgPNHzQfwyaB8SgQyulLmnvG+BXCfyJiWrMl27aNYL6vGvOP4sx3NtjQ84SiWdYSPNrDM8P/14PRmy8TrCjorW6C1Ko/3cnLPeYzpuHC0ngHe3eJEHWorQHrrO5rTsOc+eEPO6XWqusD2Ow6xsMaW8V+H+6YmtQg1k+m6Ouvh2CoOavm7cSEiGXfMaFqfRS2+RIPeIz6viGEnAWEUKd/RswdQwS1VIVtiwd4TzM9Z2655tzjPsa2NX5VYcZsgdkiZwhTDiHzZ1q0MQ/Yey3VS/KBZkTsQ16wT0N1OSw040zneJk2ZAuSByuGqiLHw0cMJFXVID5QPOdKpShlniTN+RUzvz3NKfLCLvDtaPwqMG+BGQu/QlD33fFBGh505ZhUae56u7lx2tvqNaPLzZbIwai0QbHEJu1q5sA6s5UGrpqNmq19yy70HOxWhjU4syelpro6D6VI4h381AHFky5XxHSrqpGyd7rd7DZwNbfHsJBUDFmYKwE5/c2BPJ6g0aBQZvGwZye3ZG91v0wF8clprLDmQWSdFP9HJAuH6pBaK/wKybxllBgCzGenhhDR1pVxDBZe3OAta4ZoUnx9H9GXSKW10dlVopgZizuICUVZFJCznS0rF1XEcSGVinMf/CgImBu5j7G6n5Y+JSGJb1/U9ODmN4qqqvaSqyI8HDw8tOi3O+8wUvou6vkjDTwxy7KArZK90OMh8d69TunGH2De/5OUj3mSPr5QJ7bhTOHX3JUd8AMNW5xQgGBCRRPTbOFrrxq6SAjZ1WOttoARBYQXrdzBo6GWcmqkqOF4CvyWcY0+7GmYV02HxdIKlNQcRsd0qzfBZTT9lIxuGS1GPp1zGeqjpuvD9DVSW+33YRgrNBrCvlejmjS+WO8bd5D3yrtbXUj+vjONJf3AqkMaQeg1lAnkY//sj1aG6KbJULonfWXxgIquUWJ0OnyjASHRR4T0RsokCbwD0rvvYCNohuEPw+3SLXSqEHgeXKdQuSKuvM1y9kHTCRf4LXsSZ44uvXOU6YC4OpSNm5Flat8FeueV+3/kzjnSYwxEBrSi+7RgQP5hlKHy+kymgCKtc9d+VcbFtidX19ZBIAjdPP9uwIxLK9oND1El82lZ0lYLtrBlaGEaaGBMOqOx0c2GAKhNryoOpOA3w+JYCvvVBCwQsjCe6RQh9A8qS19kAzmrWUwqQIP6sH12nzOAvJvYX/Pur7Ex2f9db4sOWODKlilIn4k7E8XCvYdWL0vc3gDxnHdUUMU9w6vHhsSowf5+k6fbz4jxzeYs17gJeifPrpHeL1E/2eYHBcOebKYX00Md1PDmVKZONwDckb5Jd/kiSbOcoFhIPuOrHHO+dVSI1QgzNXViEVaKjJHrPP63/Hl9S3Q/rP1UbuKbDg63Bz4ZzKdOVyf3iLXUrdJ6MKLT6JjreOzLLtLa9UA93jE7WZTqFVuzrfZz8+vjg7sdU1W4Pi1LZCrczKH8OgX2S3tCI9wVw3i9miAR1GwsJLULYWNcrr7t/rhBrCZBVHMERJLHUpRRV+8bZuiFyZFlVqVjv2uExJjPRUrtf3uxF04+/zlh6NpVoTZMDfLXKF8fdnQOKIo2RGrp/r634iDGfjKUJZWFggI41PL5IRCGGN77YcfwgUq5djzqwFj2WHNzL7mTdPucb/VM/kHxTzxVcADpmzSwosA4lhbB8AiyN+Zo2AA4J47+wOp3QNwr/HYknnPaNutyNA42XCPxj8wYkKBFNZEKsn93iR84PEmhavIO6eSY8WaXYBzUF6Lr7yhhjsVsaq7XVGhagvBbTkRncUNW47V/2ng3DvKL+EZwmxWQhee6T64TxUnSDWSaquwp4zuwJj9ArGur593puUl/GmSdF89WQjYoaFpQf3nmq5R8WqT+3J5pcdkx2IUH0nANIK4qsKGNcNcxTyslujEV8wXK1ayMx+rxcFrGm6AUFkxLWuJulXxscYmzGb6pGPwDEjYsNclaJgL0gEikJqLRL1fctxP1w6ihys/7FLKex6lvB1jGE6P95bDttb53PAOU6q7IC8RjP5uoHT3OFYZL/gWmz/jTCWW43l8Lh6/igBT3zt7p8PLS269jqCovWaF93DCHbza1teFa6d1afT/iRH0fgNdSXgrKW5zteGoddkDWjB+Z3NbMXPRCFB7DqTrh2D0l0frJc/1pkDCLIQVr9nFrq3DIl1I2+UWg1nijlARQWzJRP6M3hhZwz6TuecOueMl5r05F81414Oq+bye2bQuqy0OagsZX3onSclwYxoQONPY55pb18DXhamE7BjzthAbhgHIyHUFN5gpogu+/LcYCyTSwN+0wtbvNXoPHhZsNj+dfljBIambD0pvuiC7nkA89svbYUlO5/5vY7dAPYQYCCizI2Cg1TVb7Z3acNu0AdyP3rZN1cIJhWSMN6VQBSpPLbh2J5DgdHPstfGlTLn3p4HaNu7VCiZNNbT4j8SlDCPezglKBNs4KcXqBI90UFFHOlbA4ge2ebAYpSUzjf3F7uTh6JbQRnbxPGGtEEvIX0i6FHg+x6ASC4JC6uP4I95AoAwMc6biHEVbYF6pK2yDvnpaqOSTSoT9CjwbfdrX/KtlvF8r2oFHhT+2R8NaGaNT4BsUZzaUzkiyr/ceklh3bb2vAMSwQjS3yvJrpjw3WIE/k/1npZ2kfLI5rxBT6GY9i0QfaJ76NsJQg/mCAlxu2TPnb2jKlS56WSt79/9Qou4ShIPVNqQqwyhtnhSM5cOwZu9Y9vT/kvOtSQZWeujJdQNlQvJGha2HX8yrn42euer9i23RmBc4JHNtAkGdlyozURin7HZ3QD0foEhpfCafW4EbM8N8hAJEW3vF3K86OlqzNJ2cFrceaH5QSqUKBdkkKfx7ZLLtLfUUvhVypxtlPmmch5zJr6LJL7rq5aNkGOkjrWERohT1FmsVnf33SnASm1QKqGh1ge9AWeYqTtX1E5daYG31E7d/OTsTsHaChsU0rIGHvuSedXNZTx3WHvkKAXfdx5FUnHGTckERw9aMG75zsZF/ewAItYgRxA32XDGw7w8RkbyTcuuO05g6H3Vr6LGVkl49faGGqpDgmF9FDVuh3Dqr8BFUQKLee7Yk4NcPEH0ZgL8oCY85eMcrcVPSlnvovK2TCNHSBQQJIkm5mBHQ8BNoOskfzh7FS1NxafusVvdgNv6tooVEmWbhFWeNBBtTlxBGLJq0WQQCQLjUNX/FWXzGIcmU1bLpY4nmR1/ZKuXkg64Wa8ejSDoKomlW7Xz3tL/3evQbtmrqJnZwcclzAGisyEX58Y6iw+CaZseqMRT6n1JdGzYxlG8fV0Wx5ASkpGFdwy2q+8kE/1r+CB9Q6hZAAiAg0/nhlVxndkK1i0CSo0TkD5JtORpRxdMwTSnGwNKB/kGVBK8edRmQ9eFvqkk5qvuNbd/Blyw3l4ydAHBDv6m3NrzXM1c/AFWpBt4x6lGlkPEoCH1fMGZpuXYwy9od38b96Hm1oslTzWETTMRIwe2iy9osJFNoc+sSeE5c3J9oXUBck7DXpL7KTM9m3L59CLhlN+YG8hjYRAL6lMjjJKADb4E6oFtYWYfsJu35Mi9WKNnZA67One44RhWt+eh6qogmm+hdhRA50GEnCf5ccDZsLdJDUpZUUw7a1iO1BtkKGGJV6I5HEziemdiOgW/YEsumVL+BjBIWy3OgRD+oO4vvWpB+7L6K4UAotnzoAN1nAVghztTIzjWrE6mPdjaJs6Pk/rIMGtMw8iMLsfEQYRQYcth6eeeePwnWaj9eyP6mkOErCatsEMLhbL4MHCArLkBJMRR47+3tsDVhdikuqL2jUpC5/Amk1olh89tHcxv7WndcoqbKR/H3e7XH3gfjRsSEhzDOZSKoAsmOWtzVj5EBKrQ/zRiHrh9dRcIhHobmKD5AKyzEptRsrFocff8RrvRqnU5fa3pNP6Lnb5++1LZL9zkt89ZwJwkWTN3Zx6JREhiGC09hDUhrYcxd5BL3iV/GMg6fFf1XxFnb2h5Xyg2hUjC4XKWVnXub8H/oxRRwx+XIZyEekMj4AKg63Sh1D0ZblfGRYxPeLD7Lc/BZmAReoZGFVBpqlitTLFRsxnBfD7k6wOE19YSPfvAfZXAPR19ZDfiPZHQmjBlkxQ+ig8aXndqYvTb+hidcbPjIpy1gWj8xXQ6oSysPdo2Zw8wyDOPVJwfak9vT9loI0IAJ1VJKIvj440FBeVQmg/GvhwEPRmLk+Na605bMfQ2EPvKaUKVQyjszTztyudfJgEbDiQVQL2Sbtfe0zIJTdFWpuXF3uhLS//L6w+Dz6ligT7sqwm5VceBi/57Mg40muisHmC+lK6mnbMkF1zP0R9B4SMefCv4eSeheMiP0COWjWzG14FdAgV55I7V5zvhtvS+0b97bPfC9ikD6c2yTazPqUdLo03J6e9fxDd0hKqqukTGQM6B67yPfOVR8lNUnTnKiJKOqRKFZy7vfRY++61a3j3RiDd0VzHoxuZKDFeD1BzvGzDTNNrXHm2hqihCB2KDvuNP0XbPIiiOU8XZo0KJOPv7s7l+yU04f0lTECDeNHMW/cylw47HqlRYJvP8aDe3OQ1bd0g2OHuBqsPsVNKyEZyL14haMokIIfQxe9G1GiD58SFHUZ0PmU1KMCAZWl7WtMUgbUUFcVC2grKneye/pge+nm/KzG2+XVopimfmoiOk8zlQ+cKCW1xwgySjnMID8ygaANgv4BJV0VsE/qgcGHIFRJ5WURlGDFyUmhIzvU9Mc4k+zzXQwYeS5GEwd8qKzyiUuFlyYK+Dg++Xfh/KcSIICVL0o6BRKQYi7uXGQ59l+jOT4w6DIQ8JTAOEVLTvhgE0hdy22ZhNF6zltbkLVcunrrHbfSSk+WN23wKfum787oJ+uNLTuXPRVTjTsi+o47daOIbEn0+l6IKMeHnDKF1biQxrNuiZbW80Uky71Q7Y2kSJzG7XpDMCIwmUtcxX2tZhlcVeqFD3z2s0Lq2YTSI2Qi7T2tE4hCE/fdgo5M4lejaXZwZhpEOxdVBezhMwAXSfFtR/4sGxrYuhIgT4toEq+ov249ZrvhNRr1xo7FtV+vOQGPXvwB5zRg9JFiKPk1t75mubkNjokgD7QzDtGBbqWAqZs8A/t4fVqiFmmVNJmTXYmmijPNzFLwjVcu4VbP7kxjO01h9RbxAfX5G28dn0FCG4ecVhudonRGeOcVkat7TXaJ8fE46QJwkTgzb7OoJBOphBHMJYSsHbFXWCONRWCxACOVFlhBiYEz9GaCNgyxc6JuN8Shm86Rmlb3GO5iGsjX/k+0QLuh/BSKYtIxJgl0rav7cltgXT1iF0VegAwzv9ONsHAODUmEnqqHkjXOoCOwtOT/h37jTDQXSyWBUDmo2bMSV2TWLEBKru+DN0cmutPFZzsdo31PoGb5tLG98k0vADfdiKqYQlTb6b37Kpqh/imwEcakR1vYcA9RTWSXnQ0St6n2EjnZfTlNZ9pIyZCkOr6m8Nmrhta3AQOSSQzJtYjf+iz3LvvzESHqBu5vp0ys/0jmHIPwAbfs4UZMOTnkmyjqHdCLUw4KnEL0EF2R1znePbem97sICXUGL8Mq17ffcogLINSIM9+H0LRd9LI2VZeauDMx8SYRqF0ptd+/lk4EoViCVr0QUSvUW9NjRwZuotREqKDRa5NaUN7S4T1ODt/o/hJGYUmoK8cgKNBQazmfi6LOZBkyYjnsYcjwtp3Dvm28Xl0WIR5cgQigzIddgbQ59hucvsoEEJOUl1rKh1AY5gSWf6n7S2/33tkZmtkGpAgqoGIcsL4oWoF/reQDkSnRj4en25rjzMTgPMj+wls/TEiU4lzCR4j2W4UWvNDRQK9iHuYG9tLU3h1YKSyS+Hd+9fAAmEU/kflZIlQ2KrH9CiX4TcuFPpKsAj1Zz1Rl/FQfTDk49FYpKSVrdOLKwbQQptliJOO4/Oz0Vh9A91VqvJw6NAnexzsW+18dWQOYqDGPRPVBV1YkydhrP0vvrw/yYeLT2hPtTs/NpVzAtSJxKHQAXAvdWBefmRRpTi8/hbYuH7tqASOaSTzLD9g5wo+oBsHvdU6678ql9nrJoduVARtcGP1DeO6AM3CI3SBcFdFmo9hR9w5Tr/amBye2xgrQmxK2zL0SOWgyX8phZLVe1oKugwvK7AO6zLALCOfmIZxvH3Fqw8MgR+/a3V5OUfzoOH/BSZsTk3UoowmunR16KPpcRWDUWE5F8z8gFde+e0XyiKJ3AzQ4JTH+Eizvr9JMhGP9WK1MRfUg8OLInncNMs8tEUAxpCiyri+H5MEm53Le9W+DsBd0XEBMm46aG5KlsAb6n9Umg0tb5FKXcsCUSXGxeslQ0liI8n/NRGbevEtumzTur8pi8GZ/ut4uXHwGFsQQA7lxqvBERDb51taFw3DEReSNm+1NOYxRSup3Lhx/6kQaJRBEwjD8VtFrbItQiE455JuMKGykYRtdqEKVSc+5iOpLRuBDPBHdEVhsAflwjtm2o5tFdeP7WAAs2wprjE+L9QYCYmTbetj0I5U9dJV4jLVBODhSD6XIGwpu71Wf3tH5isvuv4++11RYzQeL3SRpTn9zj8PxMUbm7gLZYBdrQ7EVSwhSkk0ry0tLUoy2EyLj5t4PGTeD4iljcqynrC/3pna9YjgYbtK4lB6kgkYzceEmOimQxY9cJDKlu5iG8sml9zOIBn+jQQWjCc5IooD/egvSUZDQGRXAdLWwFkhTwnA7//7PtCjP7bd2jQVtQ6BHuIDlUhduZA/AIu41P6GkAgkDSbuecfs0j45CPkx8iBkdUItm2+n+1k1+K0VQ7Vm5by8I/99bMyUCj4PozrlvXE86uq3/uJCrnsaAAtjYrXHbDmKQwBK8WgtCRs86TDh7EMlCNYhJ3O9ncGoidMa3BZQFMMz36txbbmw3CHcdtU6mshGkun1gJ4YkFSCoTIx71TDXqAzHII2z6lKwgcGZtaF2rTJpibzcHh3gBfcGvwozvz+nkAUIeT+dwJTHKsPOQlWgNXmoJWDR8E1TFjrvcwMFXDGanpkFvfZrOEEf/BYSY/chY9TeNWbGugKOtSDCUgtlbfJU40vjwHShElH5vjYBuepfXYW9FTr8qCtsPkxfTp21IBbTjz/VJNLJtei8PDloefQsI+Z27LNp034Mgy20gpoCW6jDAAIhufgCGbVjd454ev5uvNTZdSaB7L8ngTLFuJ1TicSVBttjuPjVANi/trQEFLr4Q9SlvXsq6mzubJ3qRbzKYONFU9z6IwHAVP0FijUAbNdSpew+nMHXiC2j1u1elKblAAi0igKe0sV4k7nWyJ3CE6M8R9EnAexzAAp7D2QA0IcTFs5mc9+9gqb2pv/eoKmffUsyO9AcUgmWRC+BGY7r19wQF603/c4g4LGrmlg7dbFrE+3/hDjxuTR9UCbU2Ux9jji7WjRKCffP9/yJ8uKzDOmzdrBi4SNsn58vXbxKMrhhc61l6bHkhQzSRjqcoRIoWAMxJjIF27HQBEnxjIQzjLWA3YqKTN9TruPrK8tERKEob0/j3HFDwgGM9wKMXravcckFlOAMB7D2wSWO4YQt6NiWftiDNheFI+xrHVfE+OAz9EXO/9Na+3RfBo5hKfSRa4/iDuAWnDiN+xOqHagz3KnBS2S6HTaI9/IrfSDlhBHGGW7dBpt3Y8nUuRCaBzoiQzZ8zw9tsFvtrUrJOvLhGh8Q1dCUBIrlUb8EvJGcCYcZICD+G7/OSGZicfaqJYPYRNC/LhYyxbgKJWRraaGZ9LR/2+HpHZZ0gewvjGcnZ/OwZ3CAFCfQXR3GwVl41sw8st06D28Lur6Ye9Z+HqeW2ylozZW9hm0+Rj37fgdSXhxbyL1PNcWkr7YLm+w9pbUHclWX6gxi9tehU+fKAm55hqtbM2lntCr4pCOvgWqaiO/eRbeseyaBntGzJPc8jq+mas+J3c/yaMVRbBgrK/xYbPpjVkKl79RzR4D9L1LBdZN32c20vW2fKG7NUND7Qcub5qTifyL05dDJZTd9biyORBGlw8mSQ5cYwZDnnzxJQACMWqKv2H0s+TiyczobvbFvJejRhAfqjG4ULwjLqG9qWyOvDbz+NFdascRK4evjb8GBHMq/dVCsw/s3TEYYbksmWUKq6yMQeUHl6y9qloaTNO68UiTG1aEKb8n3BIG7rdj30EdGbc+snesKIoVVlCK+Dep8OaWz/Z+JFWs6QYL3d1Ai/KmyOqW5BDCyuolm42CIDMX1T5QzY0EV0b0bjCAH/qL90wBtGWSLNx13l8zTLRbWXTFWdee2Qfdoe9xvzoRVLpQPgwA5HhxuOoXO1ueNbsm6uzTPxFbBjVdADDiHqHt+LAV/iSVQPmFyZhLIFzq7VY9Z/vt/Rm9EyqAw5ZjlqXihogdYzUDE+wpnpWK0hniS/hu8iEZF7MEZwXPgkWUjES9q3osE0uTsk2eegJNyzJL9E9mCEl1fsnjzympMN/4iJYEPwT3W3ZuZpSJpaWSx4XJwh/VDfRrNpWo973lYWDsHX53JW3cCoFr93cMLWoYiwMy5EsCVsQfi2NflMHCKrzcOLBV0ewQ4u8u84UxoKXJzM3pqPtPHywvDR5lSaptEYSZx/gF8ZIqvD6J0HsdKfnJt2lrVQqeilhAK+OFyhDTurayqM5F8dxmOVVUOgEt1t8WLkDODi2Zl7igUwAVkopZNR87bjACFf3hK4KLdSNbr8Wr0xA4NDb9dj82dpR8fEGnD0BzGzQA/4BQaZBK4Tj0YIOmIJwWdz6UnJdDbjlZ5uw/97/FPox7Z6mVWVr0z4WG+D8CrEfpPsHsBKfdP5UT9c1K2aMQrCoezU3/c2PNsRa4o/gUysU2yQirbSYqn2xJctf2m7Sg7qCCuTXUNKi2VDdtG9CIfnJ6f66rY72A7kbEg1yZBF31YXqZ1wiJNltz8UHrW1O6wRZ7F5hejogqKFDG9FI2aM0FZWBVN7kV/wqWOhEX1G2pbvg3iesygYhfB/WsZFfJ8PFZbS2qfqt4MpuM5XbZD0G9/QuTNNFh4EisD3Wel7nCwnA9dxOIOIear2Jl+CRKl1RrRX56k2PF956Uf+6sMGYh+r0j2dha68C1E/ur7xZmGwklPV/AeDPFBrMLfiRO8jr8PiSoTFdHGRc+vEd9+20d5qt7/frf02ahTFQf+3lBT/YLEFChzFTSEOgYIv6XufCvqYAgG3PVP/4M72ypc/BhVGxV/vZXKM3garJAXT3+3djI4MBAfz9rEgv0B12uiu8UTt3dAX3dkLrv13fVdSgE971JtOtOvIY8SUHaxq3qlXru/xk9yOCjTpKMY2INcetLXO5hLHixwHtmvtaa2ASMiXTMIT4ohrkLdcTafPcmXWNETJ9rNzhpg38th9185glxVouAgMbtKIfxNian8KwOtmJ/lIe64qrHtvylw7xoCkfBpRQiaMckLtjJCzXvulOaoWVdjYWowdpdfp39SeY02JfTsOsO6B+g+sYANENV1yOkuTacrToStrwinnyslw5/3FzE51OGBgIFNG1i2WRlMaWOaK8NDqwi9IlA+1TekslPwgkqx3Css19vJeDHdkF3ooVkrGkdOEraVS/CTlfkF5LmG21NS+0UmtbRs+0qYRhlYmp6jvDqA2WJFsYh7vy6+V1Yi4AisB+7XFtXZW9kL1LDIJbNIMytNZMXwhhcKPdRD5rk7QtW1+/KZliwtSQmYfpxS9MFVzOdYj7syeFuqvd+A6a0Cux/v0HQ/XQm4JSiFigGl+QKZVlf/kfSXIKICL4UM5/fuWLUTrZ7mB7VE7fduGR9KNP2Myv1+yNbIkjpxWFz8rP76i09qqfcLmch/E2dCZrPutkyVnGmeIn7uyeWze8EgrwLRbjn2Mp8aA/faAN4CGWKfA1zgHYNssBr4vhxQ6lLHvhxYM3HZFt2U2fIbrT9aKgmj0mfnL1cxaQy/WnGTlfPPQ0aPBLVDASCimaP9E1vYEGWp3y9dF7QPdP/YqqK+GFeSG1M9JwSpnZp46OYXWFikgxNKdBlj3sd8PNE9Um8DWzyRQGoVwPeu+Ti2iF7jl6E31JEYDMLlGaWC3jSs65QY/A96hHq4aH7Jg0xwGSCfoeuDi3O0ilwe7vuYiAleksFxoOj8+lWivy+8pIdoVbYmCnxoVVRtXpMAXf4tDPJnjqxjf2uJWIblhhYYJVDkpKpZdqxdm987Kp+bheZ8BxAb2/jqasruPkqxVnCQdvAeK2cjVxpWqm9nW3bHOxqVmRI85MvLiYo040hB53TQLz0ZiPXtUZXHt9PG5pkr7LnnpUZSZtp6+lXPuSKB8W9wa0kR5BCjb+/OVyt/sGxWtTvWMYWV2Lt+6qhQvD9t7tKELwPNku17IQQguvpmBHLF6Q266+vQ4Wp/v+BlM9Y49a5RoyNdivaxBRLAiN523PJaWfvgXk8zZ590gG4GoSS/Zcsr8VklE/whzuRO93rV+HYqpa8cdCE88UP4jRflYchODfKDr0yTjxuKL3qhJWOf+Fsps1ZiIuPEe9CnNrP0i7jDI9icFRxmZYDXuUoFGLXVzbKBzzLbbEU2Bn9qP5z9BnV7IWM2aVw8TKUe0dbr8+SaH1eKGQorFOlnhBdQEE86UmdnkQEPYP/8O59riqviDD8QfyFRvbcmnfzfTMiNZYBUD8gzjbnSO0hpyrd22/eLsuH9trhOjgx7N1RN5IyK6joAm5BW+dqnMgq7hIGi32Y8+pzKjIw/xDH978h3x8l6j9SS/ST6xHlEcihD9VUb3mpH7eFP6nUiaDi6VXlUnnrXCPEI4Ci85a8hoOt5feYK7AoYrwymwDyAOVVyevz1Msu/pLukNu0GLNikNMJn8wXHWNghfmROi9aFAmu3sF+jn9gAFBQg2BDmW5rrlmIkergEUsZ8LWdanbTQRlxAi34mt9tfeMoZ0sKdh8KgJDOqJQWLMo/umHTnwCnXGZ5cnbFLv1V4Ssb70r6wgKMEDbFHNixVP+CBTGlfw1hHZjMmdQjpB+hACgH0FE+Q1vtsI1+ZEdfMJMzVfQ142E9s9bB7BGV9xFp3MCW2QfchPNfJF/tnLOz2CB8STj+xUDCdaaJZYgpnvuA3ajfAKudnkMbmV/Bj++CHoW0wPESgIRmPwSAMDTDjJnzKhtmwlGojGJUkP1dgKc5SphJeXUxmzK6oInjmo2Ha3h9tVIXPO6sOnYDt29SYNrM2J7gSzjobuq8Wt4d83WrSnVKS0Zgm0s5tSape82KUHYP2wyOa3e8fWrNj1Gms+rugO20JdkM4d7igZjD02VQkYZvp8MtLsQweTN9U1t5IPkmlvNezOQWX/zPrXgg4x7LnFs0TStwGSg/5WAGjVYo4SJitKPcBcQ7XTbgpMNBcpQdjdrZWjHx89CYqsaTaFjEvB7Mge73d7eGsMO4NbGnjxyvWLeOUDvvnOhHWQZuHuX/Oox6ChiahEfZ/apYbLJ2hotgERZN9ukU/Flr1KdyAzoULLMZDZq86zd4ruDXDDW2i/1XlLEHJL5WnJmrneWRt1KgVzfZDdsQ3j9Bqemp1ypvhvs9gOCnBXnjrHrmqp7poOS4NDeab5AxQ3UI7uAHyVM8pQSz2qElndiSrr3KtrPQNbryNGy5IbWLcxs64VqfTbtIMjfTP7SXAfLMnXAmsRRwS407A69wPhxxRErHqnc4/ZGYkshmh1VXDYMuAoYSDnwBw2L4LRGy0c8Vl+F1BG4NkytcmrnOSAxiKfAa+loHRJ46pBLS7Joh4miaCCNF4vF29IAMRFNfC+YuFqtnURk7iod+q2w7c88Hz1he1QutcQoly48he5t8YLMZFz/DgA1OnLU2j2j7LNDkTnbTgJXfWd8LD747Cby93ULPXjpVYUuqY5PcQ2N9lOrEVO+V3dKVGjT5VKAOg1xY0AM/eVbVO9iadM0eh8q30zIe3XYhhsUlprd4Zs4edyjHhkTu2yE08f19by1RnCCHrRK7tLmcYiwJEK5xad4lt7HPZCg/MsDZnDIRSBBH9FHcS5hfnMm8OKmrleYzDD+QwUnA7q+b/fLcOqmcZY/bgh5CVG/jgFxmUclh1cDvtntMtUFShyrpr3FEoRKG5WzyhN/N0AenU1o/oS1IHDGbdbwoFb1v+wNCaNCwzJUNmeY1/7HYPXojMWrFCDlKEEA5stNlNbhO2PFMi9gWo0ooYpES/lawfnkx5wS4/p2uvglWRXH9pDCDiX7caVt3VpRSXr4GtQQgETqSSUfzXRPpkDOy0Q6fMYP3mLekBvznkSihoyskxCworvJiUCT3aWraOqeqwlWCzgEi91mSvZ4hP/u90B30c6Zn5dBxR8ogD6vX7HcJv503IgJ5clx1139APZ5egvUXxGsAIbozKq5OaTApkUpWmdr7q+7FEzWLNSKEMKKqgOB6zsz3hNO7jK0cAuaW7DK61VNNDfW1LQyAOhmaaA5el7RnciRLGq4Iwcw7d3FxrT7F/VWkAo/Adk4e46Srydx5d2jLhzx54xK1CtrEDn133bIxRiaGr0qwxLj3vw/mW2o5Mnu7prbAxzrJLjy1WG4/vmbdmdXZEqIK2L56EUmC4uqgBu6DDDLE0ZNTg0+92+0MpOr46NB9q1fOPK5rkXLMpgdx5y1M8OsG5XoPYARPq54d1uGigd0CHne1uFQXqtLK94/f/KDK6qRaLHMhoIJzgEsYeuyEg8KwF2JWAtPf5gTdi7/4IQDNH8os9iKDPjO2oFBM5g1a1sd+M+bg92OZyiJR0ced8xJ1LsG2gZOMcJmMKZ8/pjoFJ7B4khiNRXqldr1aBigACxnS99hATEsxZSRp9qL4AGmvbhH7eyjPKvJMD67obRa4+xxCj+PJSmgeb20TjFhjPQREp59c/Ot1FtMrneS4MO4ytPLe4uNHrBYRwmDx6BmFsevhh73Czkn7AkaYU1TGKnmkODXVE8xMV44O73/YFUZrOBZjotaWEu3ppJB1VWkmDkkxvOfA2yb93I6bJEHXjJYLQeQ/oEpieUGzXqdezpc3hMTE+PGotjGQRqR0rlYW6/L5XSylzd5FgVmy3d20a8SWHEcDV0VhSFMWv/IhYc/J9rR9/Mc2jydMPRkVusSK4VXCHk+SCxd+ro2oxhOvH8JbUf8Tjfz9vWt+cfx3gJonEbQ+TcNnxc9OSHiD4nTl3f8auRfYY927wtM+9Ub59qTUAxoQcjm0FsU/brjmBBDdJqALtPTftj1pkBGQKNUkcp1fyUN5G8iBBqbAfIyXqQm4RejY/6G8pX9uJ194LnL/rVpB+Gz3fZGWCGKiig3B2JXqL3UKif4yTkyRqYfs2Ypl7AZqabEQ4dHF83FUjaGuLVET3H70EsDANUdkEMZ6iMbxNcv1lD5zXY5nopYQqQXjFTbYT+nBd2SQEda/5Fo5BT8uaWaayIm0VgAZ0CCXDT2YQWUAs1AvtMhT2TCBVqB2uzUWo3QWixHNYhfb3DPAjd5nt7Wzjg3pJWHN/7qw2/WfGhJCStcBSLH1+GCG7yrvmsoEwgZ7i7xrcegXQga5xDRm6V+UxXIBNaShT+VYefDCmbaQ5NJfOagDTEh9H7zpTkXkIgvW7c1UbRkTO4lazPxfw6Wra5tSGz0u2r6Zj09c7Y53AUBCcjT9oo4qNnUaybsne6/+nqxABF1fdJhdFTznvihUa3bsBa9yjq7oDNzESfx9cZo3GswUIgsMv+wknWqOmqE3ZQrk0beHLlyXWsLkDyqyhZmhqvyCbR4RnDrdYqXDhzCr0XjPfvfaSBrq6oJJSX4YiKMfbjYhN1lnYhzY//felkdp+doQMhH1LVOj5KaGDdiFti9kCiqV2obV00hBx7oILG/0HZ5D0OG5XL+Y6WVmt4Jq2vrzU++w4HjWCwox9Iqzp1VpmmcCsW1u8JtVjvJ/QwG24O1n0Cr0HMlzewnxrAEP6QkadVfJEdQLkGqhVU5KUGEjN83InJEsZYpyJbZ6ETrjUFdRHvzlhl5mHmdt1Z7v/5onJG6XdL9iiVUhGCPKtjq/laa66ZTZoDu4xP1aI5Dq/CLTWnRf0kI0gDz2yiy6HPIlOkL1ArxE5p45RHjMkPHbwoMXQ8GJ2oGWV0i0uZunA2FTyoB4u2Qzci/L8Q9aysU21NR9OuA1gJ5yU27WGi81ENFihC9L64e8v6fjDtPk7cjnPegUm9KAoorTu93ZPonta5cBvJ92URh8x4SWA1J2VdAD2WXMwDtHWgEBR5ee37IASFNSDHjKcl3vrQXn93LZlbLTAyFmBSTfUqDAa5F3mDlGo/cSz/Os+nGZzuN1gQmcvxXhIktai3OrQAHsPxd/k4CZI4WisLZhqQaOV4Bsq9PRBktxAmXkdYOSo++mIeCTj891/A2BIXs3vL5LRho47mbrx7ZZIPvHUVkzz2nzuz2tLgthlI7X4TDFamINCzh6M67fhIHegecUl7Bb2GoqXDtMZfjPL0XYozWtqiMEGgG/hcjQwKOMcYaXpV+/7XNHHS9/u3pSxgBexRU3MBKVAjNt1RfDMzF3PxD4Wnwzd5YwJmvBjHoWCnoO3X++LBVOoSbfyvEKSEowGn95QVsMth8u6tdwT+5mjI6b1ojoieVPJemNMutW9UmWol02EqDigG3dCqi+PjrRYgBTM5YrWO/qodFMYSUyg54sgE6D2f7Y9yf382LQBpd6PYY/vXGLizPCq1KythzNODFz5tC6Eih6vIO2IJaGqkyoXncQWiJrLTxfy0Rd8dLN4W9d81aN3E3UOgTLNBCSVz33FGlSRac28Kq2oBFTnPsr7+copGNXZKM0PcnKXckFZy4x7aU9g/8Zma1CGsKGDKzPnSd3vR4BlhNnr0LdYF+QNODK0sCrWGVRKNvXCe6bYdaP0dOQ3G6ubiH0ojDJEDNSjHm4DeXJRZVGaM3nZIUl6MzFVB1gJyQQnthlgl+ExGeSdTXEWqJBk/Q9mfRBDJYM5c5Xrrij8rZbmFsTFa3qdWvCjKhHaAZ3bPPYRVf8kHY90vDKDhqMtw0TsyqVT9w1D2BfIR0YIb/HzAuGcvoBmBFV8WmVONvDASpT/q/90WufUqaOHmQmLW2zRC8cW7wpAbM5qWEqizRb7zsMcYpjQWFhgMbvdD9FsbT8AjU2ZDRVFBwWdB2Y/24eo59eMDa6GA8QECtp1ikmZi+XiMdghiWDiGsyZFs/uC6UmpMjvlNKlmXdd02lN3v2E1zQcF096VTC8gz2zk8mM+vClnDXaVez4O7l5ffNHvoUpg6ey1wjP8hCQ5IyFceaC7dYt7iXOp061A3Ppj/3gwaC0duHQFDz31gGOxKRNkxPWj06H7+CvGZWLs0WCk9xwuLqgeqphEHc9uJDUKY7vCNq5ZYsHLy9H4p+XV7oz6KhtqOtn+4hiX84yXKOgA4s3IYly16z+3+IvOULsDxYOq0q3gm5jS8aEUU1bm72hWZMYZ+nKSyYVP4W9Dtd7hM7x6SKaPbqocqyDOZVzF+l/4pFpvqd6teJ1QwoQpI+M2QxO7H13IMJo4tWoOqQK/aomluxMhyNPFmjqmpAVhFUfuB+dBYI2DD7orp3wG/+z9GYAfJUeixauTL6oL2cWOvanBG90zPpHjSCuSXvelp3KbzKRjKOix8TquAZRDXPDZ8t53vplXgciGOrNR69Lh1InMlODgHyC69OFxr3SlbzwGvg9yARCQ7Nh1z5z0qHDp6GAtk18pC6t/ilJPx3BA0Ny1O+h98Eq08GVVOHrY5QFkENIhaeB7+ES26DO+3do3jBRKxujE9aFufUVKe5Oqvaz2Rtj8TVXzHrpiU+uf/rVMXMRXYkTb+wND+RI45CHVYVrU6cb/3gyUONh3UfRpyedAN92NLl2XmPi8mFAFQJg6j+isefaHfJihzcldnzQJrp442ue7uzLCReylKjhJ5ZP+hexhAfAKQ8/p5RRIp8REe1DGqRX8mbBUx7E3znOvsyvMq2m4rKU5mJm3U2/VtljZ/rOEm977ay3KAM1lu9LTYGnwB+0hUgBNpAaBmLAfP3HHqvyxcoPceY40/EbtxAiYKz4kL2u08c6LvXSgxQ8u0+alYmQ4R7z9vrFPeBQcN7zeDiCulPCj64aY2mBLck5zQgiT/n4IYbH1QnAuGjrNBVhrVqB884u+nq2Lc6LGr1fozbLqmOxyZihfycIga6UpZUqi+0VHoxaKi17ADrdA5W8PUqx4tPT6TR9ZbR85u+790QNsW/a5PaOAFLQSkQWqbTboj1PnRA1gDtmcy40umm7zMxos9Txvp8KXAvnfoibhULztdh/rXaRWxnYe8siJaaYxz76zZy2rGj6NcyKoaH+sTvPJJKYQyqAgWLVbMcQTaM7QrsAu++1LuGfCrsYgbAaGvkob5Ox1O3l7ROyYLex5WRyn1KHuNQIchE+7SCRjz7Zr30gZQhY82zyVgaTRrPRGC4fbEgk+oQ9mG57utiI1w88J4BvziNvXJUVqkHyCC1cDeNgI41WzpGg7H1g8wnfOBvKHaVxshAu74S9yYPYp/FdPPRMsmCLG19XYbaPSqYecpvpHQmZAnloCFbepCrtPWaeBGbikSBHVm80p6eYwfJtwBsXOR05c405NrqhMLgBN25tF41EbTdHITWYx3FGM9dmPkXW/MjP3BuZMOz3Ad+rcafUPbbJVyEjTHM5VG3dGYoHDQ47M4tyAQe1MKC8LuIKZLD2MtGwgHptJ2WtYUzo0rbbVI+REWqe2crrAQ6WfrGNE8UabmSNqQGM9nUXAO7IJewRh+AaVT6WlCUYS8nc+qNK7lUgZbROOXZrLg2HI/CZnzz9qYtLSh6qkLpXrJJiPs3SlavpiWXNsOqQd4jSN0RREpRumxdyHQg4EqeKA6rC7NItSeB+ZeVKQm45+FlzNbk9Z8mFn0ngWlTyKJ8PRu/zzj0MQNHIEu/h3kpflD2DtPOjBKwn6C0cF51J9h2LSwEhlFdXh5/oYxPQqaWZn8c7+LFW2vDn9uyX6LBOBGZbsmbpRFERGP858TQYHLyEfFoSIIDtYLqQeC1C/DpBk2jbTCrfzdOZqfkLiAJaKehiShB4JkAUvtxrG/RLw1vteOROU9xbUMWpH6O32RzvbI7+eidgTpgYd01UHX3PW5PyCdcNeseY0tU490vGCT8Bq4qJmy+ZoSIdJU9wnSGtVy8nIgCHxUmpHyutcjRtsCSKnP3N5NcnQoTrYy6mcG6cDsULgsBv2D5TfSEaFilPie5XCTEgMHhBhh6L5tqhNbb6dMhux5SIdZAcYMBfRRHR17rtauEy52t5aYppPvB0lg40JVhK1g+e559gCKF7pf+YxT84zizdSBao6TGGufdYaPTInNanVwwSEtc0G0N/kGYWbkFah6c4leEsuUI/AaHxBiZnxM8HX5PinOldlo5owIKsWxxIMoV4IPT7u5OqZElPyDheFx3qd+ZtBE5WP2wpkdWUR62rk8LcDEmCjz4FyKeyB69UxsXiqDE6mki1dtBmjxlq8DxDGKip1X3AX3IvOSuIGYd6lYt0gaSd10NDDkXX2PE/XsO5/XzO/tP3fag2ugBYeprJQ5Ju5UQNewLjbZctQFUI+0/vSDuX+eojmRcak/GUmF4STM+qHC7APxuM5umarVkdcGb2hov90iZg/QBDBxiOKd1hqJJfQdWEV9DrVgF3/D/FKJMvacZ7yqRyPaJG5U0Tj9Q5wGU9JpiQKWegC5gzHiuvXTWIq0vdj5CmoCcl/yIH+HhjonlXYNkkNUjmjxQg/MrwlLMDrqnjllp2tYkBzyByolOsZmxj3LFKo+R/+/pcJRSZsjkKn/kf3giSHzri0qJOZgg2PUPfBqfetk3fVUIxGH3bL3WxhJLHY9bGNxkd3A4BEAqFa/6NNM6f1bntaxs8QPaqaIlB1/i6NSu2qvxq7ln8QOxm9kf/Kh7tnIQvQEiNz+y5yup53b0cAqmypMm6SnKfMHkSCpLARN7XT6P6JE9b6J4nFDXF3lI72omybwL3SxNdi88jgTyxV1+K5OssqTYz9SFLcpNfC6VjGODgs/8kPTyzxT208ttFCeR4E5yLSK5PKAwIvR2ZHFtkTKDG1ZMSmEyyehVQBtaQgYASBAgmMEOhW+vyf3/CQgvCEJy1HZ2PXhW748ff1YLrEGXhv2gPL4Ioc0md3AEHdrUg/wnbEYebMx8ytA8kSV5Ft7kHbki6lQoLRsER/khKfNWzGxJriFB8wEDNlUIRgvsHd/dYnP5kIIx7ObH39qGyquvbT/VIPjA20Ws4Xyj/slAT6w04JXIJvHnfVmisiBD9EFSmRPO3AmhjwjtXVLIWb2qOKBGqt4CJztfbHaKA9KipUk8ZCvtjMLsPv1dN6o57nuuy0JVFo8qlZImbudGVRoWBkcDzVTpmWfu+JrhWSu7QwJ55Nrk8EgbgPBSUP7PeAg35jmQBfw/tFDsAx9yWkiMsOA6yNKxPE7K2gIeRAv7BrOxXxKHjbFyGNhzfTRwaZAJQGbcKP3MM0htTylRgZijnfRkWrbS8xqYXToMqaGWJRkUc6BSp6eyrqDdyBNNIxmyQhkaza440+BrV+Xj6EW8Dam4UrTdK76wADwQpot5ieWQcmchCTAKxF5hvgrObshLrlr3upjKRrvlLCxQUQ5piT3+mzBIOK6atIO5Mq6d4g45PIsFWB6MclOqMoKD0Mq6YDHhp0njMOH9P+XASXfbYhazxUJf6O95IUdp2le8aZU6dcTMA7dH9kjM+Rt/57ge5qXZY5AfmdEJeEh24TL+/kOoEWfEL8Bc//HrjKzgULiDCQcHF1kCqY35OKB4IwSGwz3YCWl+X1h+g/8FJ1boA90lUpKIT6FOsHEhqS1KPs0T7Hd3FlZJdDwi3y/zz7Rhx36V0IfGP7x/k6e1zCKxIQt6lAc8BNKC0pfIdZVo8mlzGGViv1JnwrjQ5P6Bdym1Dcc+phz2lj+LSh6uXYp+pfvArXMalOn9g1s4oBYQJg6bDBQprkLv7qDT0b4aVl1Hs5SeZ0sPrSoOajgz2t8ZEew8IDw65sSz15YbpvFVxjVSi39UXHBxE+Q1rJvsRbgWVd4rL+znpqPbPcIoqBNGpYeZkFRIbpjTjt/hmtBApGy66qp19zSn7xJtqKcazD+7u7zPUY7txffooYcY+WVnLZIt5XwN/u7kQ6/wB06wRzgdaYVYWZW2lDo90zWAUgl4tIFE/1EyuR+2fziCSITb5oVZOc50JfPN+7kchmxVA5dKyOA6vhPY1KfJmab1qyEc0B4fgis/0BE1MK0LEX0WvufsZKrieFBbFwh9BNYcUs/FgyNdYA9oqXqIqptDgSDuHlh26hidb5QgXXaVZCUKSXb2Xv+qTp28mg9SHg0mOJRHxsYoDEuqkpVbKXN3agxILEFFYZzKAWrP7HnEelpKr339I7tagcubeP+MV0ZkUdnoZt2adTWlT9lWdDDgUh5IKXeytNs5HZlRZG4XqfPAeFD+blm3XojBrzDNaAKy5YnvRxr793CsL98fzJ9Xc+hfWAJ8stPKwTz+CdFDueKyT5KmjHQJBUUUkkNPSDCOdcplMHTXX1lDx1vzsbrDuaDid4NrPWbndyBCaRfHPDK1M9VYeZw4ty+UGkPfEkkHSkDFM0ajLT+3p74aJO0kTkTiq5Y3A4KiS9oD8Oj8L/Vs4HQhBMuGKp2jykLdQRZZmTZ+JE33evBBEjB7vaO+mXMFxhKlIGY62RNZoVPl+9Lc28x+0LBnhpzUunADvym6R9EMw42+tbOWBDNY87xU316cJ44Y0s4CLDdPQuUOwA9urF/qEyXhvNWx254NKxwEN48fk1OwDHvJ27fD3+xq9o7kvWQer1FYaeiV7pCKsSGvFObboDr0cpJbVHchTbEU4l1APj+vJztD5FVF3gMi6A5lPDVDBZzFE0BbjfxJbX74GaFJ3p5EYMKU2m5TBJKGIegVY3d/mXwZaf3FF7TpA3M9zm3z5krzh57e3SjuGZLNgYLgPKirD2hJC9834vv5TPvEw8JFIKhyzUuHdMASfhXO+BuhnNSvEUJjUj4/tgPiYilQuAi88twQtlv0dNTipyOTSUd6VR8ELvWFJ8B9xHCdUAfKBPv8iz23/mFAxy6ApbJRJD5l4lRfQwd+toI63hQQEsjvaZ5xvJrFdxnKIH0INcFVu7b695h2rmPo1DV5EcV9pg2WPrseIpdXOgRsGVaUFSvaRfHxIUb/deyE4jgT+EAKgn6vBr0a2z5zYoMyIOzungQLeiwfndab4K6203P+tYs4gLvwxvBDEapGYEj4kqMncZ6ONwcBNdAw2mIAUPL025INiuvfnmEazN0pMynSjKdghZnvPno0esjuD7C8yyxXVMsj2Vaw7PSH8N1aMASSCDgSonoBKGovvSyijqZ6B6Cdk15/K+S9D0TFafNCD1lNiBY+T/WuCHQoGz/FxzC6fsOt3uKUN2dnOXPpOQo4Xe9q5vKydMniNiLs8RyehG9KabVFRDB4NJ6Dk0hguuGLOVoTOmEghIDJ8y26c1QtdjWlTBn6CMws990Y1f6imcCnNNM+RYjOPsvr4dwqMN4gdWY4gBzCCfLeEKqGEoSpt29poEDRmTwHgyXafiOUtl7NyV42APpvushtZmiWZHVe8T29Ip1EEePvyLncM7Sqg2olIK0/c8Ux5bPB84vDS39wOGDr7i0rEPzmUcAYAda1RUXQe6d/eCTsk2u5ruoGOFamoXN7Oj7U6PjIjYJnvKQAZE1wYZBDxXx0mzmZ7b6DI7yOfE3xX5d9AetiOMb/AUkJf3yahEimcoeWFPFzd7ECKmhl70BspEIClLFklmUWcZTVTYUeYto7BF8eahBOVgnXGANV9Xx3WP5wGk03BynRvIFmf0AHbdsXQ5ufPGHSeM0E6On8LMchxLljV7SyAEiKiydCjkHD2o5JmH+7QKbtxQOpI6BU3cABausDBcHi9UtlP1kmJ3wi9AakORLcQugWEEWSCvsWd1LDpHVFxjFfCOCX5Pq6puWzkJN2rZsc8uyjRdf8AII6PpRdAJt756Db82D1E9ls67kG0L2YZy/uHJZBIoQT6krRd0t1AhY+yq7yEc88ZegB8EyY9I1tji9kHISwFNXm4CHh4hmd9N68KxIF59HA/79cn9VVddbljeGHxB1XlQKY8hb/wKOnWn5cInNa+xsy8Siwe6RGr0HkdExRnEUkKvgnraBumrHCVOA5nrCJVRUnN+bgglaCWSz0auqeOQnd+QObGvOz/eKaxqKrfsvzQ6rURDP2PbWomxHYwBdJVZQp9unNSf0QV3WE1+cxee+MgN3IGQvP9FcDtHKOA1fcbVa58Tr2stL766GrjKCvYmjcUjoQ6ktKPdxfmpNtvjd0cW2Y/FV8y+Xnowx156CsnnYvxPKda8lDQ7vZc1e0xBEpeRixLnyZVQorHMhA49R7ITg7MROXzcezFGcAJPmhApho9cbdXH7f7O/3FxJrmhlRENr5dV77cNjqqFcYmkI1YGothPVO7APPZEBb002iYu7SEHtbBHAk1aCTeOKbje4LAf1eJ20ljxFVIABflr+xNzpICuUyqsY3rBlQtv5FaciQGVIWUTIxcp6ZLq3n3b8g//sU5IRh77K13HkeVY77hudYvlBcC1pjoENZveaC7bMZsUYurYhjgXE7ODDty5jjQzlOGvIWGU8ZrVHpsEJQes5GpdcpKueqr2U04AZltn+a/eh5l7JzmcGiOI77Q7ZhyUnMEEEh8RD5sYOVJryghtLaGZtuzSUf+89uA08/LaQICJ1Uu2z1SCI1jQh9ckh1SyQU0SpsYvw0SineFgmfQADFzGQ3pGefWw6LBMl8s6EPq9iWbR2h7mPCsjg9F6RL90b/1bLav0YYl+Ro6rsdhm6swjvcq51Z4NoBz6Y+Qyrzq90kmnfQI8SIjtMka2MvNsc78wF6InUX7VXKU81qkvJDfqIFQFWb7r/poNqN9aRTx1hIrlGnVG9flc2E6IoANUoQrRe2HaCIZCBadL+mUr8BoTSbJ39kT9st1xjZlbhH1cMTnsARii3O+blxVQSxFEA1BnkCLzPtH4OwXa7PjNBBBq9EfaHNHEH3D0vI9WX8nKxV4yAU7j4Us/6svvXGX4dG8FB+wwfV7Kd3YkpAqfRuN9U5rmKHqzNJGd8gL+5JjZTSycAvB02TfyMlybTJ7HjGwDUmFpfzpYthDXdIrwbN8XETOo62JiT1+a6w/UNitwxgTL3ILCzkVW75httA6i0oz5noRfK9v1HD9mMhQgAHJhj8sbvjzL7iNESoHPfx4E7O3+qO7AMfj2CmR1D9msplM3uu1ldylM9dhQvseFIFrxpdfZI235Tz8LkOtein55zGJZ24DiOajmTGv4EDvR68ltOwVijQvfGvKn5jKQo5zyTQ87eMYHoPq/MHWo3c+nJgCXI0HP3zvO5y3j24YMPdNXYvIkYKxQYIGIN+vt/PZzqTalHsX4J54UmkWTRPSnVUeHgPl0P8VrHxUCiZYUmj7xllVYA0C9LEzFioetYE6/MTzcAsS4RtKwLVefcTLRlRz0rDIKhY3MgasmokXDpo+LKsqLQDww5ZTnFJHrQUjlriouyb4OlNU0RmlBEIXo9cLQAMdLC30AeWIJPzOFjDFsz/5v1gnQ1aG/cd90s0LDt/bJ7iZ6y29/uHpL85cHnwkfLaXONiJ3uIsPzfQeXYVvw7UePtLhdyKFkkrFXw6DvGbYqpsIkphsvwGR5IffriSnzON3rbNmk2FwcLW1ePCLF76vAAhjJ85QyOZVc5pH6E2uEXsOJzTOvs3zO8+n39Sv3+y0Es2ur9tQ5QETbSCPLp82qtvqsCKOKpCOHMAIAtlaOmJoiBqrk5L2pPjfnwNMigAGm5VBuWOZAkcbeyJQa3vYfIShB7Gbho3L+VJY/lQXHAGXf9rk6SwmNVVr/XeEfFyfBjFFZuEdQEHlu+VX5jKpJeTDl9VcKOBEe1XsU6xbfvF118nGidLEyLxnoc88MlJBKM3uNP3b6TrcBASrQ+Py++wjgOYXxFBubKG2NLEOQRJA+ImTwk3C845M3hbMrwenzsa4SXmqG590oq2L/a/iOZuN2T4WJkRDIPZP9ddA9YjfL5Qiuq+UOymPfohpYTxfordR3glPaGo49PRd4VW7iMkJkyLA0PwWEusFlzkoMe5rk6jxoVUzIj29Aw/Y9e2cnENWXFZkInizFwNAg0FpKvDxpxdaXoZ+PorQxokk4ZsxZU5X/pVhLagk93lmIr+A37RGWLsCPs2OlWiJf18iDNLkHXV49FrgOMkwMQPmFU4EQeUmT4cpcOktcnKC4duEwlfv6fiu0QkEx89DS9TVYvpAVgCiZ29/sONVTghxNlK/6g/+1zcHv9/sXOsCJqaGSFv6bBPY14/tuntMolmZkTYW/ghTKEhFV7/K+NVPUTibZ6uAppC006pgfU/GNlA4GN+p7HtOSSf6/EfN/Fiu4pN3xRow1JNQ3sY1rOBAis17t/Rsnm1bwgg8oRew5TUiFo+NMuMmtj/rwGhuSMYbAB0Vms/dirsq5MIuSoijsnagxiW6RoLEFRyVwT72e7Z5WNgEXeDNcX4ww42cBBZamey933zSqO40TY5/AqQA2mjieMNVZ2Wa5lzelQpLhSIYysTzywIDp4eLJqxQQznpYsmQ3fraXm07d7UM9qWoBVkF+PyfIhr2QrBTWg5qmTKvgRb9cbGD8Kx1GW0/qT1FfF65x12WWluUxwRL5aFOCa75n8xAD/6UZvdZ/g+z0Wg37JPcEFnmsnWmxuQPnxiCfJVowTTq9b9efGhKfZbd6YE9RW3jEbB2WHueHtRnUvDu7TF8y7PB4ABeSR3Bbux8hP+SDNNO+Daabg3pgXxQ3aSN0pT9P8+Fvz6s+6hVIHMY1tdNU0IXJHG9eRyIyLZa/ccJ9nAIxrojM5O1j2j5T0KxHHgxcuM4v4aXCxpqBEqV+AL9jsR/aodR+NqrzZt4J0JhnfNiM7GyjGAPglQ3PcMCbwD968ZWIx2yB0nTWAeZ2FjTBPoOPFHhc+IRry6UhpMSBa5sc1hMdTYSwLGSidJz5UdXlXuxjKBW861yYozV/s8VQW0qZ1Can3i6gZW5TfrsRJwatw6fIYrqAu674Ly55rdhA5UMhreW6OJhwo6oWOFn86jSE5Xmkdw0bl7WwL0q1H0s2cBQwzCIU9xAfCFlDSorPU8hsGsPMVTU1KeZmbwyLVM313KkoaVvbHfQ+llHwRO1PsEkzQ63s8QDP7hV60aKJtzlYi8/QG17Oj/9E0Kudz1ep+h3P4iGPKSDdafTlTJIar4ux1BaWxiIAPNwLdQnsVZKczEueVZxon2ErqCNuXaHt3re6zA8qiAUgnC0n5q5iMoSSL4y2ziZyeJj/9V/PqZ5K73l/cIgdWwjNP+R0n5pmB/U1EkQLP93sALa5cBb6sNwIrTFzvUoWvBkklZfwQt14fi5DL5/ojjrTfadabXtOEkyS+iHSH/XtB5rOBYOIDB1hOTJOhdmWWG+xRUr2rbQrStsE/Yh2FIRT8K/6+74Yl2R1kTaoNwM0dS2v4taWixZw3kqHj/+vQGV0JPPfPRiMQNxsKhIwHjUZAl5kLiKNP3EuuCgfIIXw1pht/IgbyW3lVA2UF8eOfvCwwYpisQgHmzFz//kVQDJY0RZqSlwrBUDU9UletK37sb5k/y9nmA+PWr2obyyFvtEmhDx0frhWGKeZqASAZnoAu3d5HKp/h9S8slUPAm6rTbLIOSSEGOW9NQGD6tiqeAwB4iw81i4FEysatmsKF/JjWQ+89BwTccuhX/NAKGOQQfaNszfrzyGYTuNzFLxCy3+mt+8uSXaNZv3L0PwW0X3YF+w+LCuieKQourDpd2cpz81DxGuL3GMVUFV0oBbzo18BnTTOABLscPxUQmqGmI1DysqcFDGS33NASQGjWFBPL//W5R2Y12aGkYyn+Zr+bQIamDxskDzwAwGpSbAdE8k1qEE/x09bjClaOL3IcvzKt1evMLWisLdb3V4QOOeFZJdAk3NAcBcIjAyKLpi+voQWWb/8AuVcewI/F4eG9ObDbfLwnvl961NhsJqFwuUrJV7L9mQWekLkKpOn9SdPH5Rwn+oWIOCgYOBhbUKc/0TMcqBrYCM+QiP5bdoRXe7kHcMX7saW4iYX1rFJe7CHa+Q4acH6WGgVbwbmxXt5rqDLVg2DqRj6NjZdm507Jy81qCxnugccRArK09p2UWEAIWWBIfz99O1Ypj25WLrNpzbvzrQHiWUbOqKJPtJqZuS0HNOusnNdEmaKi4RyASGqbz3h05po3ydz9jRwRX6CFFI3+NKbqlJzy0Tz9uZyMHgbr3RqoSmt+ZryQlwvkYj2iB7X44aEnythgYKRRt9d9Wpid8cWC8+NVKI3nVpcwPaNMvTNeEQDMIVAQNCm1NRKYBtbLJ5WrT9497BgTZKWJ0AB+uaYE8CGSeT1ekgTa8mr+oB9yCq83GlX0rIj9QZuMrsXtCpGamu8HyN+m2Cd9NqbKA+cTx959ZNk/eMHak2bw536vle5kqRyIHkBB9aqbZjNL7mFNag43cNUriEAlGhH4Psp5L8rmFYRs4WI18DPBtMUalTCdf35icOg3PONJwBaPIFQjklLNlEAESkaobLdLU2A21f+eJMtyf+ijj4KksUG6we9LVw3pSHDgvntFSOuXoF/TMd8Twvx0Vbm1eReZcxwGTNvBMRFFVE17E0F92VwPoA4B1aCEwMjgWjZQal+ovpviiTjoMx1SD4ky8thp6uqOOAZuEBcFXjaDb99ihZdQv4QKw+LOxHc/zc/mirEgZv/StA3Qm/mNZu8uE3KgiSGCJAdk8pybOncajlje20jhyqCU3xdRRPk5hQiBEJ/a3lvhnIEWVlU8A2E5wBeNCOJX2N/mOeBKsX2DzViTjQFXBNa9S6CMrGf7GyLV33RBJ8dHOSXsIccJnafCrtvB51eC3AjvaR8+8y/0MoLECYoxJfBLu3c0ayCk8eyF1YJ4bS+pMnp78JdketFrpy3aCh9pGW6KgtDBmAWriB+rFyjH7pPEDr0Lhj1IlYJVVUHgynDtOcAJZJpYo3Tk9ZF0m4Ryy0lo3R15zyJ4knGTDcD7DKljctwffxxWoI6RpfHKDynS3zFSzWO6wPZtiEvrQIpm+uijebV/FOYSpBfgLyGMlsq60SSp9DzsBx+0QrLtV+d0lbGKODz6wdEJWo6U1qJpEjBqlkCyXpHWvY5TrVkEyNxAX60tgkxHncrLf2XnPA1N6KVDw0BP3dZUUge7Yu7j96vo6Um26MyF7BZf5O76e7juyICyNbGuueWF5UEBAMU5RGlIBGq40ZeflK1Ee3RlgnG+U7+jrD+y+PcsXZx3hwxLWZEh8vJUCSb1jUr8d7tukiqLoKyY+xA8Bq+b3KZZIvfYfsanQGwQPprF4SoaNekXuU231v1Ie3ATw6gz7oe6/CZyRnYp6lcKt6VuewamluDX0fyxgbsA17aoUxEd4dVo4fJJ7Z5xY3Fb7VyCzpjag89ZDgDMvNtnOg5+9rqv2IAUPh7Og7cmBvmyiQNcpzUvLXlzs6A2WRbSJSgFNmunZ6buS90oZSOmJm87ysqnhkHltZHzcxaVMdqS2Dv1mfmTZCcP5knQHHbO58nqP4O+NKlH5eNWu2RQ3l0yJ848RBj4JeNqfVCFEb/0qKmdBtezbWhCyzzHpD+Z+B6Udp/uczMoOyxuyEDEOmmv9t7fS8efpml+BQmtjE652+bwg8NlIHWGitM7B/ofekuAJtok1tb1yYLKoxmcNz5flqj+87gMABpEzcE4Gzhq5wjhyJqLX3N9NoqV4dyy3KPGXqEKdOr/P9ncsKUXf/eecWOIjn2fewPFG/x43IbEWF6UXsdROGE7Dw7WhIg1VXewqHj8eJdw+jjGC42QvQkiOWRiNW4TPErwyiz2+6xGgA4U9QBZKeGro8NnohE0moWxa1ioPQqQWYIZwfKpaUcHFbQs6DxiVVeGyPe7aQeUr3Rr21mXhRj29VoGEh4XmDYSRkQbECNOWd689DTP83kE8EAl67/Wbmx1R2unm8rbG8TurSBd9ygG94AWEZ32FHUNOjDJ31MfnFoT5MJuU9VvgJZwdqRGI35JyYZewqGvbY0/yzhfirNvNKCFC1psiLTetvzzQhXYNZlbroTXfmcj/K4oFXM8ZYX3wSu0uIlv9rmN4T8NqdCz+M5sSlYKiVkgDinUQuvTXOWZQ9oQET1rQOys3pAShazofA0HG91tN+I579ZlYjKsxo+449ay/6G+oA8b36mnCRakzgrDLYrr5Y67pRAstaOKtVCPiztgWYZWayLTlq36GupTBhCeEgT8QsoGkMDdx/FGLyNULzjK6d6gdDThTbr58p6EdR9VIU0JudN9sPbM/BzrDS0AQf5+sETP0xqFzouvasdezv6y0wdA0XfkA9LuVjAsfGQWF7QTV0xivFKPCLTUzBnrSxwGcsnbFbswWWyp2yVk04l47HUu/tcJgdM/M8H9QEDDSGZ5UWJIsf8u2n6JsZsQDroeYWNeHD8vWEK5yq+6Nl8WNQReLrvj1FO358HrIqKLQrDtHUtzKe18XgmhL7h3/QNvJGDOoZKS3EnUunjtqu80SZ+0HxRGBW/IfgBBSIMXnBmoEMEsvapcBUKJTG/eHvxbQLkfYy5Iq8wOV1rZWGMcLcCcL1aZ06YuPpwmCqB/SxBWQ5z5JSSw7W4laLSmxyQonDzCdXVsJvTOch9CBxyXQvJ+bKag2VWZo2HSGRWYYgoWbbCMljabbn188DcbXIBmWiVeCM1Tm+HJZ58XjmqZN7MO8X7kQ65bOwuv795uFqB0/PAcVz1vUXyWuXrh3fJEEIcG2D0p5FHt2af20IIpu6MYm41RQD7Gk3+3Lb0oN5ddYfzreLnu0bxQfw9j3VYRRoIr9kzHTdbd6/jcoiNh+lpMnG/O55MKpeGaFZtsWfxk+H9IRi33+x1q09Qd+EI2aMfpRXSFrTyx2RpYB8mqkjp5GftRxJgESJ/b5tsMmeAxE6ZVB6sVzH4w7oTarkEslnaG4YhvSTkEQu8RjX0+TtfFGKi/fo/JegTiMwv+7Q/roHXnb9BJjGApHSb5l3qpTF8Q61QXnr55THW5DEjeWgs0WYFoHJVBx6Zwe2a+bLs2C2Ul3qJ+1BattA1aVJQQeUPwgivbruWKjtJMdmEhcyEmQmhQqtuhka2GQH/3Jl7EKbIpGHdNor5uyRt7mUQkcn3bCxi8VlagfoLHKvzYHUYXMEggyTO2AAv3L2Lg0Q6bjzLawt3NDFhW/vijHw/+kDiEacfUr9s3oYGCFeBQM5mYhjAHd45rzhyiCuODd2XxikuBYyOijz7/ER/rq+5wlKUr1XTwJgHLL5OXrAEONnh2DHIK9FZnz7Uu2iH8wcDPaIFoes8j4iyfpAuciq8iXXEJRPze3d/yzncnMgdCZRVnABHePyXwQZw6ku8NLJgTem3nT7RIysFz25s9vvdFNTgQ4/qNMDYss1uCudGLhDYjhFw4A4znkgjZnPIRxDSo52B+CRx/M/RglXi0jSL/+yPbC9eC9y5fOpRoB+REO+timlQgkKEbziFxSJRTunibM96+eAPpldkOnBJzbjXQv8KLjafgm/sYrGd9Xnr6hew9+fCGdkXBnUnnKkarC31SSfoiGjBZmSIxgacFytA4EDnLx0CBn8kFXmOehmHYoUSXezL7fVoEq6gb90E/ieMSCJWV/+Dl073knA21FSAfVIuCz3atgdztMjyRlMC4MSjIwz215WJc3VJcgqT9fPo0h9XkWjVTd8ZbcU6NGTVsKKc0J/ZD3CsDrYbN1zsozQ4lTIfTiZyHLU3MgXwfPWB/c3W7iHgqjqzZDT+jYvleuDLr84JMBod8nCo9VzwNJUsBkkfWYf3GGQc50kiqk0KfT58bLUyqW2Q6+wUGRQBFjSCAglVIJOjZSPrSjiojEtTV2WXHFKA/m8LVvltIPXo2h8Ehi86neZx1nux5+zB6jbGLvOIFVmdvyIuRGWw+JSTx9m97SzqQ4v2UUTC5OoVXBZN6iLlXOSpp1FzBDwHl7MsVULOH3xWCbvmbtUmy/8tVhCvkuUB81eQPmjUjwZ5Os5AZSqfqJQh0zHYavLMqziEGOMytJ9HMYtb+XZUjJAijb2Sz6Bg+R18t+F03kLF/zWkUERo+PdC7gkyeumYFJZTmT6plyuBkbjU52srkDf8LeVLBy812MRoWEmNf+RU+sPXeVXeIKEWXHxAI3UaytxsrIcsIaKXqFA9upn7qzHfCy4DXQGERace3N/QIxAKkrbfA+sy1UrypcXAsxZRwulvJPlwWew14P+i9goG+pMsrMwlj0JLVH9fhLIt1hTWN5e/VTmdealSMzbAOZVH7lpzhAS4OcAkY9CxrrOJhbyBommoLfkG4bnDpj9Gv+82eWaj9m0hamcCrX4nzzpOx02gK9zvw/h/BglMgB4+pMk7BBGpniGWNb7ZItkATNiwLbHcfN5VcWw73IDtMhVaT42/xKbtKvBqyTWLzh2q40VbaZTGjRzm+0Xcn8uJ6CMq3NWg/QDVh/b9SHANvH5wsF2M7S5ySJiT7Tu4z+ieyeoDhxuAHCecyDjE6/vaQMKadoSWetvqFZIAp2rUfhGkcghI89+FpGLcnDPeAyLJs31+6OMQ2MVwI3wpXQeURu4sltzmmj1kacIhSh/ikRIxcfRIdbozSSKISSY/qwYYdCQBTHPA0JkT3e/FPYgi0GxHMt+xpn8yuulMRlFepPYlLRzrB6Dh6O3umnzbe+BTQbdv0SJoqbJ1/r5O3mSnCy2KoUznhRHLuODidH6vK5sxNBCeleuCcWd9ls+opVTlr06efSfLTDJmUy7m5w2eNICKzhrQckfa9sk78YxO5m1UsS5OO9KhfT5YRYRhTRU4Nbc/T0a0ArjPie6TlaSTSGJzGQq8VTkdtquRzl+MyCPf+hA4sRmWHFXhi058YkqQQeSBq7bF7xIj40ovsz5c5HMcLDyZA8gmty93lmKgNF8svagQwXaROG36LmEwOYmDW5wW8bEGuPW+fPmpivLprUFmm3rAaPe6TlCTdUzFwKu6DkF/ilGMjMjYhlB5+ODQiBZynDoQkJX9zMtlu4jOP9iE0DPr71p3WZDu9qIm/5wUfcnKCJo5MQV3vAOSi1wl2C+GTgWw9kiFxNcNok7Cxu7Hi+kT0dKCglTk7ia1P6/VY873XVfbSM6DSonhiHxx4JSOmrDS6xbX/2G6GYeY1rn30VqpKbjRqVFlbyOfwvYneDM2TyOHonpCXyV1LtaGSzblnnGG82OTTn8tIGVEy6MMRAcP7F2JP41FXE9hOUTODuUZ3TMnZEtDzrHiCUZDZuZqmt+gsFjE8noZYEZGgNT2bPYGbDsTPY6LhEvtbngWdIVGADuPjM7qu608mieG6/Rf4/SZoOYdJC5+aFKeelsnn4TiBAkByJ0HrxnSIW/AfpVVqwb7HbTKsTEMyunkZMkEBEqHPaaQhj56oVw5Hhssgo0YiIK2HrcOwLG1byZbNqc2O6Tk7cXsTRop0n19p5JFgFWlXQ1TzLw6W/8uE3DZOG0stiA/37nxJ4oRU+gSSOPBI+8uY3xnt5IGQYYwxoL9Zwhx8HtaXyeW0CG8qUZniJAPnnWsiySJlOi8c7NvWbS1IBIgOePIB6UbF1fn63eLc5MR2dT9Y9tW5hXkFisKUBQygK1IJ/iWY2+i6gXBamdYsdnQtYNneLx+tZKHrrL1GMaAYTys8rTdE6yi0Y6zs2vTKDKVJq8qAz5qDLSjsOQPC5fqD6BAq2woJuGkPlPX6+Yokeis+FYOJ/ydSENBJmkP6RdiDtDqeh5N0i+hUoMZlQ72ldw+RLeOIUtpQE8MTzEDk9sh7wQL9GCVJQ7EfJz06yqEBLUTMiNTiLdj8SRZ47qYMvRUcq7/47/XP08K9SYOa/qTsbxK97f7woGiruP0iisrwSDBaTWrAkCn04nF9SHCoO3MJR2RqxUpH49ujHGkirmSmFNAKLWtSAIKLEHxYOONEwbRMxHkjRPy64nhN3FecYbAu/ANEwlxbklj/ae89pdKiBtvlfpXHhfAnc4nYZvGt8NAnGYXQ7Dy5lxz5fE2npIPJzwwZOmx7H4fEyCKBWmaWgExFEkt8YzqGR5e1z5fEds+d4jIEv9kc044Ugu0CrZ+VI2qW1knqC3Gy9eoCQElRzzBSeak6iEg/eVnm98BPGqAtvwmnnpbAb5gg08i65Wz6Q79NkjcZGnjEquZlx+dlvGxCrZEGnyxb8dzh/pyF7RpMLw7CfAORLwM/4VfT1rKehP9LHA3p5NhQs288au2Ktf/Hp2uHOWLrHRdf58G1+vt/xyqYTYx5dTUTdftHOs+xTLCCW2yVWhrpAS2uBa/B9PEtYLNtMcFZNYkO6TwhFG68Yql/hnwz2RJTEoZsr85V4sjZLUyPXBQQ7xWYYFEpaM4DM52A4UxlYSguPBrVpNhya1oO2N3ySTjMGzJ52uW/evVbqQA7J5Up0MnTjfT0P4O4QdXjs4U4BQoBfLR32nsC1W521nAA5yXQLUNtoqrVzRffq/4CqMhcPEnc3busC2SuR8jPo4QhbkZlp0PU38cKfPHndx28vgERjDDBtpc1BHF9rsp6K0nel+iaHLbUmA9TOodY3+LIrCIs9Z0fEwYdNl4+gH2I1Jrn0IJzk9M8YZJpkU0BW2ykL5vXEr23KyEcauPvdEsr9gwIArr4xJZPyTzfL1Nj/izdiJTIVgHtWs62pRz25qhNjVYUI4fX/HUjD4dVy9I0LP6/qwpAaeaO5X+gjBY80WGwW0+8RVpzUnZJaaalcc6z1QLlRIUY7+7lmHK2MhbEmXiV0R9/BVWxMGfUlOCFN90TXOZk3ZS++GYR/J/9agS3aWJeH5LNN83SDr3IPli6zp4BbuxczrQDcI7WPljxZGF/OZap3h40ECzGTSi+ZBssOKenq215axSTCRuwV6zq+ppP79G7wD+nd+qc7+lFkD3K0if5iOMnxpgNnJlOGUu+BpWmXPULIpYPoyP0zRX8ATNCUG4DSAEwY8hwMcLfc/3oexiF9BRZq9WFHNI/hocwNHirA8zj16NBnG9fG1GvLpwCqoQbYF8J4qZI8BMtQkR+u3YaJPB0nK4zZCBiQT0qKr5L4gJ8FuB5di3UEu5WYpP1kgt5wNrH2qiX9/YEIbW2Qm/y7YLON/Qt0xZOI3nTuSm194jMd767JuaSTkIxl5qbSTbHGxwPwXS6q5iRNH+e4M+M33F1xLMlMNiFe7mCc4cdaXBrz3+ph8oY6Wz0MsS09l6vJOJj9aZDH7b136IEfDChUijD3aUB5V7Yd+Ptr8hzDm+6p+1bOgC2BhjbWA1iD4nfRenE2pBx24NtWUYApoqgq9Onv9OvksmUOGjrcqIFXIZ5qkm3uaRtX/7poFFhhjFEjVEBZtzqpcBfKk6/uD0ux0W6z7KLvh8w0A6jKt8lshePRhjpMLHCLFXilwQJYyqSTvFXmmSIQu+En9//AzZ2521nJeM705tmhYcM/G2/gIS9mvIpyRSEprJztG6SxrHTaSWsbwLL4ruaPqP+DuA36AJrcQOQO5VPLMAQY3n9EyaYL+P3of/EWQFaQ89zgYmpDPZVaXkZCmrdpyA2RRFcRioHBFg1c063RjpILNbzmiTSGz1DQ5KMOXtDCuVL6/kV0fhB8HH/zeE5F4CeojikqBO6t6ATq9hxh9stoP8n2zL4Lfhjq88ztoxtHfj4ND8c1I2eFoDS300ScBrEekoM8twxVKa4QCsYsQ2tgPq+N6EGfYlZi29K3oubxUWs2jEBzg8452FgguJsxSelTTbd3dZ4S8iYkj7dafxnGDWyf655wQQZSdE2cyBkXUOfmdo8IMkH2Cyw5tSfTN6BPO99bR7oW1uRQsxfrpsJjxYb1lbv2QO3C0mT6Icde1moD6crReuC+N33kJA3IewbOXghLhz8PflgSjRteyGBJg9FGgiwSvtPgsuEblBuHS16qLAELcMNNIak34CiR13/E7VTkHlQ1GOe4iFZVji1eQLwbVkJQpeThYtzFvZd2pY0vPzDw3boEh+7yISDRISfpSBvj8q02iISz+4GRCgQTOTZa8mO47qnvH+iNMu3ZPc5mRxRIp6dkfZ8djuwRzkSjnHqgNgacUlvthTEuItJ4u+F8OCck9NoaChAv4YQ16XcJpzjaH1TTjq4kFyi/m4jSPsnfsFjnauHa/7HXLB10IBqNhQ34lor7geK98hCEyiXQWTARxXoWwWusxQinWW/7o4+8VoyR4ISeKx1a2+6vU198lKQ8sbi12EeZXnqH/f2RqnAOKdbXICZCBTbu1KQYZD1NBoSsEQvJdMm87Is3se+xXBuy59HJ2n4Y69ZzwCfh8P/QeGq/dm82OC9FCokqmLmS0gvk9c6bFAcUXQqRqf2hY6Es1/qyojeQjn1kDWKSDhTthENlFswQkXbmvNGznZX8CZrR1jfNA1jXnTxnGmbF8BMeYGueRkyJtO3hRKovhaJtAN8+QYpbHt/UpWD1voD+K9LPNg9W2bKdqhj52/BjU20buHpQsxqSsWe+tD6wgqLHMwadwRbFoHN4dw9lEfv8i6pHSp5/c94HZ5dE6CrUpfFeyjbR8g92Kp/mACM0Yr2qn7Jp+soHgO7Gua1mCI0Z/tSZgDygNi5LM9hlyJXXfDgVHQ9EpJIHL/qe1r/RUWP4B/emM5WtpGspurLNdKprAw3B+2arsqN9nIJSue0ijj6mrfqhFWuS48WqdtaQvjy0/YK8fmhvKmfKOj7niMfFH/q3NOBG+54xwcNK6AFBJL1ufNlLpV7Q4qG0BQYufHL3PNQ8DJhB+kO7hgXamMvx9Ee+K+dv8jxHQiyagRx65vaQKi2jLalk/w5qekOhbKrss79FDnB+PfgDY0KsUL1OVjRdwqO6xC/Nta3oVCZuyUdbS9Gx7Blnqd9GNC9kJQPwOafwSVANd9sY4BWgvIUvc4Fn5CmjDYD0vUtMndRKI/F774ZdwFfqMvvb+mkRZbSr3wZzI8XhlVGWJ4ONbKMXefTEOT5o+zZha5XETK/ZXjehFs+VuM1FW2Y9a7bRqts1fTN760TcjdL2/iv9v25VZ+FPaPj8Eu7RGmUOU7kRqbKFC5chZildOWWBIBZ6c307LnuLO+i69JNDcZRn1YI0IyAYPD9wg13/30ZvfTh8f5HxazmKvQvhKjM71UdSqMWDzsc9kop8c7ZNbVyGItRMQ192D+v303w5Apd5rKUPz8jDUceBqbavOsK2e3/hUNzMIysah4QE0Lzo3BMpnZT7a8YZRRxuTo11+rUKhTXcwFWqqXgY+KypsM0MJEXAf+k2OYjM4NZC6HovZRPt1lne7PpYnKNme0J0U2qGjRIUE+jumkQLqJGieFPwo97HD2/Jg5tZ2lHYPBYzr+bv/+yyNAfsNfRnVZKi4C8gTpUFjv2TgRJ9gkn0TeSNSd+1BxBI7Kv7QrX+FSPO4CareA9mLLe1+9hcW1NDLwIi9upZBGB4gITMl6CppVRJdv9/ap119p3kJZv/d7Y48mg125BM4S83jgVnKYYPXg4U9imN1dwovpAVpYkkfFXjdwLBDsF8g5hQsSG6A9vvNFrpqO9G7adoGLoJ5KiVRhQA7gUmVpYIB9zYpTK3xZWXpjCoBIoZtLsz55InO7AjI+v4aTGhZprwaoq2YrWoIScnpG58qVlDxMDvYd3IIB4WZyFC0MB6/KKilZ5kxbBqx8PTJzWWxkfz0ZCmVUu3LHNqKyZBxL9jUYr8/xRFYVksJm9xrSlWB492MMbIS36CsJnwiXTi+ARBIDM49sOwACcBn7IOzImVAfv+w/8oBpuuBkYC8sb2nTiMugBG+w1PvRF44kyDOfPGkbn8ofThjrKS6ujEwsyxmRx2A4dfZP21SZaP/GjAGfgbaY75y2Zn2oqJs9Ke32BFPYklso6DKafo8zEE9DuSXcLbLV2vfhDeHjL7PUVrM2si5MBlxKt3mHm4nk2qFbxyUbnizlGee8xXw0e6UK2o4DEHApBAmZi04kcFrRnUKHj+arw5JKwkGq3wg6DzEpe+RPmBQK03ELCQ9AgWre7zsz6AOYXEJ1AwJs/yfcdOij7qVjeT6ojj0ARfTBALusBTpYOsuODDrcAuIzCTBbPZ3Nz1JeoC7nPLsQvVc3irMyr2HjGPabEKk71PAKd59bNH2k5DHZrhA7fMQpuRHXwgerKoTHgBi3jBNBjze4F2YcxNprXUfb6484JIQzN+BLYbqnC7XPdkhTVNX4D7LT4JIu1V4vji0u0zczI9vLAvXMXZq57k7YZyH3/gvNR5pZo1rxurMKVgpuOWANJpfc8qTkM3+a+tuawOm+2oJdZgRscOe4b+U7B/IHwQxgqlbJXxx7FPzMEvCFRKAhFvVfEqpeUl4obQ+bn+uunkYqKkrpHWoDItlcU6QlK/ynWDesgo1Jze5JIHTIc4f4Cd7JBOv8UXaG2DLcNDMdSYbAUWm6P1InVKy89wQOB7Ss5cA2b4BpdItFUfvdMrkWsJqeUD72CBfstJwmibilFlj4rCnpLYLL991yK/C+hBpg2e3kCzmr7I5wdK9+YsvhNtWtP1Az3wLTGxY6pZgLaqzyyiwNLRpmixJ830oVZK9sDAJkR0jXpDJcn1yh+RVgNCYQTr8Z/ykb4Avh4O7HJqrdw6kTAHOIivlnKxzZAuJA+k9J2O7uuldwCsYedmK2DzBM+XMpmJC7MtP1gYrY+8gdud8SENr7/l3atO26owDvmAgAcNgRV7FXhY1qQQ5OwbNQSeS5IwAStGXJq231DYbvZzejszxuHWwNSkV88Ah8WFDpdBBhTkZXJjDau65JStGZYVs20i7w5d8GTeuBQOqeoUVjehCOIDlwxNY1ZUWYy2xFvyRSh9sPbrnjedPpF15TomEX4rk1Rs1AxdFRucHHMqBF89njYentTcrBZ1ewznqaOv5iL8tTz1KkCeZweJn8E7FB7jyXwzIn1r7RCyEaKiGvRnmAO93xKCkUZ6u06319am6G/QFp/rk0UjbXSKdr/NH+CHzAez+l4lHlGe0ph0YzP1PT0g5ohUO5BGfpfcoOf4ghzw7zyHPUjtVN/Fdgt8ekBca9W7G4NVp+a3i43yzkpm3K07G7WAxaauOsKtnkQXCRjcNFoxKpKHEefJER7gCE2gzjNu1FtqtNJl6qN+OBhbGn7zyveFkrr5u6npzy2zdC7nMsg56vFdw879in+14uD8gk4knStTou2aLkyskOqqg2Q+UZ0/zlwtxxnrikp+KUEDWV4AP64zQD9kNZCllCOQgmVpaIdl+ihBXHskkqyQBR0EJpxDmj+2JgtJlYZsF2TopsFpMxIQGSeSCjr8JZWa3zAo3sTVu1jRS5vyS6ofDhH9kESWHjNGMrh4mVE/fqAaEODgX9yi5AQO0UF8B9h4qTa7LpAXCSP9UL+3J8c+j1eESuklPdwqEY/c5eGMiycgFJlXUq1KHvS2flgjmU8Pvkubgfh3uePVwBSaBPZT1YGH6/D0hHXLcglOOlAV3UHs0aouS+3OG7ZBaJgZZJlMHAFVnY3MhgP79VEp4GsW4fMlLzAwgKcCLJEa++86Vocwy1BG9Amoc+xSKY4XlNDbT75vskZ5mEr7W5wMggaCp+f/tqe6+Q8sdMKe6K3ntj8zM38dVr88q05EE7FUB8w1G0zTFBQYxsOf3vUZbVnDQYA0wkklgHzgKtabU650MAdpSQB4uOI9OnysNwZEkNKunmhKqj48aL77PRQx6o08o1JSRxCGIdVk7o6lDQIurDk/qiQXSM9/fKBh5EzGuBc/wPeP/qUqT3VO+bT7+tANI5dMkA3U7uSuEUE6+5uK3oBThum37T2X8PRgoXyBb5WA5H0I1irXSdt5pKsQwRFcuLu4KQ23cMFBDdTW9ppEAmkX+ll5znQg5LEYNyWuKk928KA/BqOS215gKLn3UGZ14zdbxlcsC0vgWFMmf6vaUdJKtqcX4xwqFjD/ghxlOvp2VjCsnVBjzYVcdFqYZswGDqOpw6ygwzOXgUdlD3nRV1pKjZMb8MlJw/UF8ZrXkR6iUhn/xW/12g3GWOKgDXtb2heirX9/2NYML1cr/t3iCpFIDMD1Q8E7zDzfwajA+wL4xc4WhJxnakTYebFD/9Hsf9S4zFRpbEf4QVSfh2Ov5TbzmnN2I8M4yztxt3W8dShkm6mK3QwMDBG4iN9dBGJJNckfkbcYFnCej7Bjn9z6r4ayAIFvVUt+m97jMLOgAeFRHYoZxKI7LUj1iuFMBN77SKUp27oMZ3xA3HKdUAyvlUQTCvl7UrDW38LXgl65655nnfs7H1WJI8jads8RDklxU+RQn/Pv5IdLFT3j9rSryPNNAB8gCG64qx+Q47y+wbHjPDZrKve2mTfWQ6comfwjqgp3pLMy2AXnnDQhkXxW4hnars0lI+uMJJITsmghytHyN8B6O/fCfKvfsbfzBnIhh/ggLbZX68CafIvGoeSyibDXSwngO+CUoAbtAUwbLj5gv45DAmRpzd3r/JaJwkKvS0F+McDYsaGg3bLIgkYFWDgenLbGvLr32SblyuggfTVeaOxGvlxWRQ3ZuQHpEqsHqLQMcMAUiHuvtiCN5cbL/Vs9tLou2qM1uGy1emMV+NsY6lMFIeYiAwPoTZn+VTPke6d2EgvMQSWuRx1DdeS0yTjJ+9UVnObsgOlYq7HSzMf3Ej+/B32DFyp2/tQohV8+iRk29y8opdfNOkIw1/aIqhowu/k4yNmG+aBc4LDTWPllQp12jX1y8cFL9REL2enrkrQ1LR3MGvvvEDIR41vFpZwdcA9KC1f8a4OYVIPG/mYu03mW21NhUF1SciGfpI9C6oC/Xl09Pzy2Ls97KuXgvBv1t83QN2y6z7eGdLoTPneBvKVQu7j7JloWHEPYmUWzPCTW5pKc1Yv/FlrYBoGKgJMbPDmpITYorUStbMTraum4hZVZXvi8MOuzbv14B/AffGgWBAiVtarehphbvfHBJ6kTxJ9H1P8/9kx6DM9elmiywTDUBQqOiWeN3To8SGy15bNnuyQqQaRrKhp2ZGeGZbyNkaZlkoTPAFokQQXep4MJUDOvd4Ho3FODXJXDrW5cbLsV3NWM7gJ6MZZR99c3z3fF7rj7jbR2c3nLKcFwzn+BBTajQQYaxS4Vu53TGSlMYoM4t/Qm3nriVfdLi+Tbdh9YhWoTduLvoRMAHU/L67l6RuFbDvEfb9vnIB0xMhDhte3WmZAVwbs/iP6d/E6xoUbq6LPsythV3Zr+1GpyNV7rWpj32ixKcAamsbnzjVdtaRDaZxAz8nXx9BPrNH0uO+/xkS5ju3y0y+TrxW3et1Tad7NHhEAGc/x5HvV/qpI4AzeWXbo8ll/9Q8eaNAeRhZPMiJsL5U0QRSVIq4IHB0KxY70VpwR07wsgRE8EYjp2WqaiP4eATYe/6Iicti7Fk5Unb4ciU3Hu1y7P8rsa8VpEqgh61n0S0s9ASmkQK9kMXJbKbx8uhUfkRkjvezrvBn7cC6HyD9Ke+3oH9oEwowctdeQrbv1iTvkaPvYxDybLZdC2/FNeYmTUgSSE1CRyG0H4mQ5DlisH74RCg+nItaUSGEdz5W7WFRnOuVW0xH/7l5z9u8lC3t09VS+HgoFI9ktrWpRHNUAnuy3OYZxORAia70pGmzuF9jWDg70Dz1trIMSzOilpdyhgj3imX4t6U4Qy4eVfW5L3ZssA8hk6/XDnRuzLv7SQ14M5hl9PpZY1/7rAWTyTrch9ezMFlWFTCxyIKGxhRVlh8SpW0uVUwp/lBd2K/ValI70lVPBnrNCVpcA4B6VygVEvbX7QR63YTo3tFm9ggu46vI4ma18duEHytRhQ0TfH84SH3BH649fsJ6t1awRhrhhR6JD3QDMRDHRxTo/7htRw83CZkyjq1ZPWS8TzZjc2cVS5OI3RYmXtrx1vuyXDga448hgrn05jXSBRHZ8UVKWl/gJvLcQBrGTnthTGlZ9F2fP9YpUQKCp72I2guI3Jp8AHdIy4JtJi+joKlg/3l3z80Z4FzCs15s1G60ekGewr2Whsi29Cech3kXDrHp7t2k0D/nYfgX7m8Z8MEcv9qD/My7AQNqlvn63fnoApZPhy/1YJZ7eQywf2Y1NrHTUwamsXcvTj0K82XvDTBMVErDBbA3w7zEcMXNIQACfqn+CNcszdqBiGnMOdMKHAN51OqALq8rMFuY80000ZOEShboLbd1km1483AK1eLBwQgahIRVioZmNJISzmVX1CJQm251RZ70V9EgZQX3s3+WTEQxc/C7oa3whx4sG6vQvMzCl/XLKsuA6W9w9fTFHkPGnF8mlYPCOVVG0KfEaEZ9X4/A0TUbuVfMmU3/faRYEPaB9g2OLSYKPdqSz9MDbmF6Twlc4dyeeOf1Lh/QtNNos9SoBG+xtmrnknkuhoQSoNQ40k2e0eITrNy9+XKzdLES/46lgBySvnlX8DYpM7AOCUBm2zge3bwNLQHVTgpMqV6Gzmri8ol7/GZeRoSQ66IvN2S1qxOJKEdoQwPI9D6SWwuVNloHlaEOHZUBk4WlV1zOp1zDtIiZXN0qteyBIAMQzcqKmk2aiq567xpMCJYE10lPCX16JFsCDvwDzYDpm8CDnKxOXUas3Cy0Ytieku1mGsthiF7euIjf+7D/2t2mb8z659i4Tl2iljzNB2ot8lUnzO5GXntUdOb/GHAT2DQONO11dVcCuJBR6VMQoWIjZqVLCiOGPiMc/SzBtGnNaVZ9avoV0z4zlA0717NoGkOi7kdMzdt2nfH9moXujn43jAsFj9nG/fGO/4Iqak6Se6DKNpaEnde4xKpmBsRFC9tCFmkZBBF4ZW1Nlzai7bXqs3Ky0Yx+mjIs898QXLtdSjfdf+GAq7oSL6tT7+cwlKYxb5Pv3y2LHSQ5LB6QuaOTmzqyIGbNOETjYRJ9v++F5S+DHJz4k2ruCJsnDzRZayEJNj/3XnSFp44bn260W02f2ns49wBXJr7T6rlvmAws6wOUlSn2SLyOU0vZBb3oLyxGWlU41qTcktQ5n4vle0VhqSUwSc97qgcobu2VU5lymVOLsuXJJwXgVANlTnUrIkjX1ob7SioZuJ8zEXvZasjgomr2/xBmwF59g2Nz6YvekoUkaTb4XpulKPNAKGT449VNn+FxZwLDYq+rLBYp6rpYXM1vp3Be4dI465ut9hyMblEMQdPfvNBzoQ0xtP+b2e0KwLmh79dhx5ioCI9Xe3Y7xiqYBHwBdVZmlWD0A59Yc8mWFa1Euf/BEZ5dPgzvfMcxNIdNeUfUS4qLfz3b2trF8Psnf1mEFWnnXR7f8nMf9ulvvX9AL4RxUyafzHpK/hOO5xjuhf/BD52Z7/jNxukNc6w5vzCfi4UNLW94jcJJznjGDNXBlWUlAPMH69jlNo31u2xjIlRWNPTW0N+Bvld1uUXQa7uo691bmwt4kKl2AfaBXFAscIBwYcv5zyi4+0ouUeUU11C+/mmv+mazFDVtaJEtwAQCOtFNrJGklBuhZ/Nicc7+3T1JF4d3DJou5FL8IBdx9IVcpndJ063rjJ3U5Z6SOwpS0Wr/WX3IQh0AledQJzSwk/4C9loWk/qTTfSxYu+KYHg2O09fPLYEcCmXHQHkWzbRMXfJF+3hgsrX5d+mnuQ8AG4ZC6clC1GsI/d8faD8B9xJE71MhJYeIRPr+wtB4qLI+c1afAaCxduLb9g7+sO3LnKH1ytmyQ8beZkKolczZppGpFr0B6fJDzYupjm9qAJMszMcsxX13xKtal/CFiOc7UGzAmPv80VvPq1XJlP/wW3tDH9LYtusjz+ozMj34X4ij28FEHME0c5f59AVKO1KJhKlueBK7ehINPbAUdB3TC5JwEuJJPpX/avUQLsx1kxDL/RuTodLbWTuULJJONgmnrTWalvkGdTVau+1IDrAjfmbFtnHUhrcUj5WuZl9twswom4d0nOEu+TmaM4IR0AkfTBxDogUPLaFxVpIW8S6+/cbKJaQ+JEsTSD55IPFqog7r1Q9mxoYXZb/WDo666/CkLPehCdqS05I/7MqhG9JWrzaM0SmaWiql4lTaeAF0sNGHDwMu+zRLkrrKTSC8rzM5Pj+JM1Yygm2AWbwSS3q7iCJ7eTyKlp5Swb9KFCiMKkTYnF09GP4Gsntc8rNtXTOargj3TeuYu6TLwaqxpycqAU0HAbXr9Q9r1mNx6moIRUXEviw+XKGKJ5USrH01MGDJbd0guZj9BoPcJluixgH+/aJfmY+T9KxtjYH9w4zErEcxzfU+AUeOSROECT6yDl+JGIheWnXGeYqTnEDbRXtgros8LLxeKadX6pvsgqybkVgIee/AVqPA8eqcDiQFHJPfd8YZ2fFct/rn01zKGVcDH/llv+/PwNd/SZx6Y7nJNv3ug76RXD0XE2AKn7hVfU3rjpv1RqRriLvFMTA7L9pgFHCOUbdDOjYUiKIpTXn84FUdJrRh/16p1wQ2KMgB0HHURISho/s71xziLT8ZF7+ftifz1xvKrpxI4ouA5AlHj+XYaWVNFFEAlW/wK5y6NdWGFeN4OCtE2OGiJJroQKXDpZjaYpDJg/pc2/VrqSwEE5hrL/GjQ1qSafw/9ZKAn/FZhNUZW0h1J93Lrb9BWsoYnQZC7x7DpZGohKxIF2CkG/FAKWJ40eVjzvu2FQ0wQ8fmy6pzGDklEwlzrpT/UIaFIZUlbdbvrEbkXu0sM+4zlF0aq7nH03bjtkAYIWa3xLVhWmimKwfiRgFDIgaPtslDCTtgA3wHWwyEGcItMdmO2FrrwF5gBhHF7uvSh78k6JrUXimPgcDTIPW8WJRiPw2a21RUZZs3luy1E4Lf11otnETS+Nf5tbBoj9YEHk+lbpWYEev+xIe/02KWAWk+z5b40oa0UiNoozHwF9YDErxwrNstTPYLoF36nY+sQaGy6j6O0Q13xuWdX9WgpjTpj3J2X4gUpOPxkv+rykOCpMWx9xyUyt9AiGzGMUp8NFD1LdyrWpts4QducRAd/TvKptN/YJYQdKWct1W4+qhXZdWbqd2pxdNCkHI2z5cN86lEGxE8kkIVWB46Cr88nzVSvQsL7ILh6qEITrz7WGy3Whgshhd4+LpeI4LSVz8dPorMwIC06/Jm/PpphfYtlgRDtX+cnrF81ns9urLgIQK/BCYMWrhla/d8tbgOhNK9ORpY19YpcF53aUcpzNsl6AXfAhSyQCEZlx4gCHtNWiP/eoyoDh/a+M5i4q9uBjlGxGVlFviDsPRS7bHfOrfMANfG2lI3AnmjcI6qFjlhMzbRo7AIMJ1davEAPHXL8NMSHlfH7i4shXw24Zallc1LhqWei9mLpYvExoRT48d3KzQCPIlf9bXdoNXKpJY+lj77NVXtKCnFM/MTUmWTkiTxxG8+y6vnSrK2w6LrI0XtnYtpUTT21XK+MDdSDyuEPyyQmP5OLYldGSwpe+zjcJmWou4K6uYrELGFptu4859WF4wyOkVn3OxLmCOQotviAbnxJWcx3IHNoHlZGZc37cGUYyolgadKFuhrBUwRJk4zI5Sdj0gPpeKp9MmB6/6/bxuQRWi+O20L0sqbWqmTzAFLOyyZRKa+HFEoGAjtRv/boxf0/tE44kSIZ1i0o/68J1erqgGHjUy2ojxg+zk06i6WJKbNuVQKcSeSdedIIWG3Ja/XeffaFoSlFqmoLEqJVMMF/nu1t4LM5nvAVoYdgi3daS6A6zJDaiYTyQiPzOn9Zf80cHVkKqRgNz4i17CkIYOk2TCIf9emIxbF7IsSj4nBZVDAjymjUj7D4Zvci7N1hlYJ8pgfk/p01gTNcp1fZOKBdlIhTWzAWDtalDQjg3m6ygjTdS52KYuZ1WAG/t0LgVqdQrwTNTNQGG/VAwsmsv6AUnbWxr1xaani0LTpTTxDKEWsoQ4QYuCaywz9Xcn3nnxc1xlLSxzPbkaMZ1BGguIsjtvqJWL22VzK2nVN5eziFf1fT8d/uIEP8hd+ybRdx4KvVlL24MZ/rBq5q6kXXcJEnefJV0M5xKo9aRU/jSmByAH4q1bFDUQ3ISsIEF90evDMohMovMybc+U7PDh0jo6QY0+1HBUG0khaBWhBinWQLNtHeOvRnw8udnT5fMOr4RYMtHLbfy6xcCxgl/7F/v0VCFS1si5nAsVZZ8wv5WiJ4G3xlofM5Sjo8LYXTf3iKBK8kLmDdSHi7hy130Ab8kKgem3iNuGCyLO/XxLH8PrI2b+Yh0HtQGUFN7Qy9aa4EWPUshKTt66pb5wxQ2xI03hu26aQjVzH/J3vBcmxWzShKopJXLjVe2SVJz3NmJ/dJ7PHY9Tg+e2w4QNSZDeaHRVfWZpVUJCnXQ06rVZxKKc4LRJc9BE6qBi/WaN/YJhrTikHzGErtn4QRgwLABMWhbcedosXg+qtEq1TdqcC3+uG0v5OUpygGs1JMLJByn3oe6MVViG79aF3jM9TCQNO0O6rYc7UlxImGNozqEyp8rVq4db8dDWS9zX68QaG+P6XKupjsmG01Fs9He9AyNHsNGrLhmXqopi+khjK8iWp4xJ06hLBqKt0186bXTP9qq5PzZlX7vqgRsOxe9yipleHDj2HwCE3uS6BzdxypgtUeVl3QDwkDBLKCc6SY1tbwdFyc7GfHrcaLj/y2el1RAp8HOBJTO+l7ugP2Q9RbcCuFhfe9vl5EmykFX5IDTuoWYk7fAWgE79CvjnL68Z/FewE8ghL7DQaZAD2xmAbPbk8AEDyFq8h8t2mMgtPam4UqYN4nO4loEjhnq8zTy+tdbV6ukagmJtNDYbkfeoUL9NUHPZNdYAF8jIe5RvV1Z0QdIkG0on8VMEbFn88tKRt0gIIIDiv7msJJt+78oCjr5pbFjN3lutdEwq5T+u2hTPBayu4pJfZSSO4Q8x8pRQfMFuxcToz09aErNCVGR2JCrQeNR4Jac7jkxnKnXjgjTnrBeSxGLy2PPM3tMHo2ifHFPMs3b0V3AciVd5oPC0MxLWauX9idf9p/vOpQHH/EPNMsHFO/LvJrJD6uEnGtHoVZpBV3lV1OFAEys8FyIjqLot/wA/M/Dip0HbWuxf/r8gRPvBJCb2GElNu5kPUSdXtieS1ZSs4B2Q9DIUJ9X+r/wGavuFZOSPnsxaWOVErBUFlhDzuJGOW5EVmc9GnkzM8zBzC2OCvwfi91fWP5At5Pz4EMPmCaNHjDRStUGrNsR0jxerj/ihpAwa0QoNUGRIuvSvUSdZnySUbfXbxUi+SVQ/UPHKVvAAT1DNkPzYuSjUxofumcwAg6CXzZOr5GUBvufxL7xhZvg2H6N8QRsIy7P4/PrYIclaO2MTjFS/DEfTjGG12z1DQzWIOgFfNqyaE/oEzQaD3YoK8rQ3MZ7sAjbTBLafM09QRfAljq7HL3CaOr6d6nm+Pxh3Iw07ov8wK2VDIvIB94gh9IJJemPje9Fgbrh7dlup3og9rI6/wWNAcdDmHsQlouCEZtnDVrYkcuWIRJJ0yyTFi20BrhPcnWYZwBqUo5d6W0u2zxMHR+Vd4VMg+KezRX8xTmCkBSDO3eF20IqOW0N5HwXWb6g+xlcYOiKEX2cUFIr9LXgqQwJrEoojbh6nVhkPK9/iN+Rst1BKw3UjkMSi0O2m7T61whraw7sfzHiy6Yr4IR8AwxuyfOna2+BWuZXaxnfd/woOcHVBT9ZWG/ydFmwLsTvct94hRoF8nVUBmsMmz8YQxQrSA8lbjF09Skm1hnW1xHiEsiWHU6gOLbhwGdaJcvDXAknqbR+jZXxt5YUj1fboY/H2CzDY8McNUO/T83T64J4EEZc6GPohY+E0RVtVMtTshFE2dw3YBKgD52OLoPAaD4kR/qZOitthsV5XN5KZHmTTb7xat0nA8gpqDWjk3ZlZQp2h0XgIY9THevLCJcncjOIa6vLehqYKnQd3HcZbLlaUOxNTiDHmzHFyqNSlQZA6DkCTvtTwcFB32YmKgC95+4uso1FPAFkYV/blGX0sAqdXKBDI7tHg9kabxQzirBO+V4tBWP+aqqDRwsEtxg0VfzhAxKCEb0gp+8cod7EqsvsF0VUqnZLkJH1bqdWGqP3oQ9wB9ZWM8JzcY3ShrMAs9dDCiPWYtC8NPac8u7MN9xE4Zz/InLjGnpoGjk1+YoMGMHcZUNzCCr7OYqqW+RPDTb5bmCv4TMKOaBIvV6I1GIaQSZZpLhJKAO3iHULRgweLJUi/gxOCKqx7+fBm+y6YE/qsenqa/Mou2TYiWU/OuBgp2Xwq7r436+MWUxjPAQX2cvjgWOnaaEjdHAvNmpr/b8xAQzh5wrS8qOCXtNfBruRAY/DyYHfvhSIxDSiDM/RKRs0RpYNMxBb2if96t93gRiuiqtOo9HKPYXiXXS5XNE81VvgGHpsm/G0oWY5MGQcsE8ccVCru43Jec82/fPHc5PpKQi3RrEHuATHfTU2hqFgoC8++rHDt9nDDTRB0FlDJp7AsuDIgIiEx0MDlu827Ec0IS0qfCQKL7/BuYCH5dBrrTvZSXcu0HgQ9+cOu2V/+lMaWqhOEurpN2QDifL+AouTckOPMVgSgNbn3ZLjkbiubx1JWx+dZdpQM/lH4+KuHy9XUtEJpCQDcNfIg71nTyiLPDGcfiygXNFn23DAhuj5c7HpTDc9xqdWTRxF07cZGSTLqUsRZ6QQ1w0fOdUWpQCxzKvx8ZREo6HpEyOlFm2nWFVYosn+EC0e+ykpwecaQY4OWRE74O9q7X1CVGdQwMgnrykWyfmoJ3Vd1wNPcnhnaPDr+/yjzfumKyvm6ZdOsmS0YoSt8e3ZVZMp5brc+NnvJPoDGDGV/WFvHCHfNOuJiiwin0a90/mM5L2xQinFzL1UWPibsAzBunCybhKSmflpioB0fQA2FwwG1T5NCiJIAWA+pOHvnWvUoVFXdVyTamSm4teuS/ULRMqYPQhozeFqAHf5pYtpCGTZt9wbktwFDVn3aAITFpuVILeczgh/iqxx0E0Ovciv7FBQ5/o0rCdK1xtZGNamnynyIspm9oVt+z8X/a5oadzAeCa0uzBMwd88IJuvjnMabm0lPvuYqYN+hFB/ce+bpOuSnyvj9Knc/XvzFj70WPThTNia+WoprxadaIw8I2zPA/c2sBx7p0gVcsqC8NklskZn0oomidWAQLDwRfvqtlcGcaVfDXs6ZEvJtL2h19lY4i0LWlDnvvnKNR4t9Au8rDrZVmrTTOkoc0xIlRNsyJiSFcI5Yy0tPITTxOKyqB9onxZ5QXtmcXAhT/Ah0mk1hTWi8x9lGwCR4DmwPdVcXNJDpZBMDsFF8Wjlk5ETU31wXvEMgGDz2Mo+SbXQ2PfjQBcNmIUdCaDJK7EuhZCBBvhfodJvt8vQkF+xn4/GYFW0SpGdwwYajVOm0MCZoYNb+SKR72BUBUv49Wzn4Y7AyE+501AcVhgPal8Oao+kJTEsVoUToiXpfO4lJp/uxfk8egmTMSG2R19PVPbwmmhs7+mum9A4sF7VvjM9VZD4DKFrsYL18ZPOz79/9O1XfoK+I9eIb9WDlQm1kVdIhAj9sjNzS36Lx/ROYjVHHrdOzyv4tgvY3x328UwSe7cNa3hwdoPZKu21VnkAh0UiS8rz6yl69qOn0WNyx6ZHaHg8moXGwj9xL7y4GY/GcyMMN7SDOEueShG653gfJI3qw0TpmaG1yC3jVahprD0V67VTGrlp2R9u7oS4RZasge7jq/+MWukPtiQwKm6au3qAT7nKItLKU8NuK6Zd3B2wL73GbbulZ1QyXNpGuSCWQNMtMPzfSOCNuyOe0FDqZETd0aQJQJeah5rXdHsCUPW/ehj7p1G6lgBGX0AJt2AEqJ/ivosI+u+d5DivnxpGJQ0abb9FWKrGM0oWxg7AOgrooQLN1buxdc9Tj66W7+CrDhnRfit7rm6wZs4SaYCWtLPobbWD5UuSfQH6H2h17IixBDzYrazwUFqisq+HT8TP0S4i8xGUcmARobhvIsuVJiJQ2qtb+9y6KKNOflZ3To1IDsFHB4lyteLYD4eZVPD1S9Suze4b7S5fDMWelyEflU1YKjZ2hfYqRmG54wvv0nVrX6TsJH2x1a37pII5GJ//iZKiMnpk0WER+YEOLeVsxQkWXH00blXxIVqWYKo0d1euCHRSrBhsZajBMMpC2qudc3AiF3+/CzLFmoPdbFK+Pn630BJtLHmnRtgzv6PXLyvwKaTCFwYVRL7+iU6bF9jeCzITiqGkvWcZAG/8gFDPapCcirHnuguZ3ITGRwwjkaaHcLRKbPb2JGM6/gz8UfX7MCXLIZkLe45LdiMgdBfA8s+V7FgEoj8GxTGcCf+U8/snJpygI9OFmZxbNBUGaSEV76g2CWkTsIsLVLPd06L/9VL7OPyTFExAqNuMI1fdsXUhGTn7AbV/a+ZGUzibBxOq/8KdUc2XYGWCqY88x/xWXsIfzSHt/I25yXzkC4vURTutAFjEbMu4aCyfyETj3ufyoR7lkY0nsOi4pX1fOZ3ojesL37jNstJmBKbaHIqHov07cf+63Pex4OicQmujYxFEVh0APj/U/rOPElP7OO92UmQhkjYzTAumXUtCSNOADXmNTtjwLgkh+lQc+9Hx1Adu4+vhJZlnl/bYrqVvoxPyPnQlOmQbkJyOeofqh00WSI7goMLNML3oHPt6Il1KDmfGyK8cnlxRUnwzRTtI7qCm9wnZJhmq/oI4CPmEK7C5G0CwfLuQZdv2F+zGiFkn+zkxUd6LuiuGeauwqcDWzbwsxCYgOlhYgvChgcyRHMxsXqdsL//NEvmEG4DcRHfpzLLI+rMPFexcaIigDQ4AypIptrZKmPY9Qdz71x/QXeaLRvy/s1NRH4qxqWND31pvyrK+zdebQo/4Q0op78aZMRUhtVVZNYIgKszvKguvY6nH7U7SNsGt+FphrAko2SsJM/W4armCMnnUn9wfKHSzMW7O9xQS3sSAOlU1ZtL8sP80THDRpHlv9pWlaLUr+QK89dsTWi5ShCJOMjF+xP6qgQ46tArRse7oMN/oq3mJtClPuQ1L+YX5Y95KmyuOChTIKCm0J4Yb1ZUENCc6NlJQjCd6PvleAEGj7SMbrZFE1miFzsGFQNgNcwgpoN2Tls5IXFDzm6BfpZdagIvKzg+99Ef3t3sWSowEWEFF5Ji3hsbOaiX9GgxS+6dLkamgeCyPHYy/ZlcYUoJjd4RK/9QSAx0kq36xy3V+XWhyv5WfxGybqPPvEdenrZrh18uyyT3z+IXZEzGBf3E/faMby37U8rlmi1po7RLjuTlSRCyzoFWoFx5tra1POSAcer2hJk2rci8zjCSASuLoncvdWxSGwDRuTSmSH0kD4AxRSTM2qGuHpLGfy3cd3BBexTTWHJTBlUGyUL7D2+ewLb/wd8P5mWWDph7xaL9JghJuBNECAwRFXoKKRMVf4Q8Yrgz10uLuzO8QRYxIXwwxp0FXS5JrIU2M/pEja69dsjDUZrA+ItE2A87GScfsxtuYhey14H1wwMi468rEtQgoW6EINX5m3kLk4ZS4mjEc4Oe5G0IU4eOlHoYxzm7VPvJ01TGxeTrDVHIgsIz78JdQbHvD3xbq3P5O78C6OI0FBmmpM2hhEha9FjdsQMXfXF4gXnMh00lp3kuwyWMa7vI1pF0U8DWJty+dbcoGwSM/okkqBlkKsmLYeS0b4jicr6E8Kg29vOZdBNOXOrfjrEsmGsliMk1Oux1YzQgBUnDgCzxq6IU+FQpjnqsyZiK2PR0bLm2Sw2bI+0BnESgkUqP66+HuseB/zWjw7nG36Zd+G/GL2eJ/1L0honaSgW2L6J5TBVgug/QCJ/rTrwoDAwsIwvXALVn98f42jVC3rpLL6JqKTRLitWTUy8/vu7aKoVAoEx/F8E8uYX/W4u68JCTgao3yS/2B+qKEyF1dP5mlSWTH10c6CfeLPJpn4AJtrLzbp0EEEGaR/bApgx3xU/NTCRtrIWybrF5+ebTsrtUlLcZ0SZ41oF+m86hVqndYqg87mJAKtGasxagmq0k/Eh55fqzp1jjlbLIL93LSlA755LVNFaTk4JrkErPnMAx7EcB5kO9/Wm/zqIELht4Bmjb3J/xUs8Ao9j4WK94KAFmBduW7W1yqkwCv0PDfLzGqxefINqoXb4ILRfCCzFFWMpW4KcPIVnnKc4JoaUB/Q+A0JkGHC7CKsEEhBcto+mzb3BWpRA14Nwwn955IN2DPrwqzvEX9tIx9EWLUFIV/ZM6/lS/mo1xhFK83AuGPy2g6aP7ZZ4Rm6BPCcqjUsS8MdZLi7nCSCpwAFOmKqadQEt+HF6e1m0mulR+W87LrWevvup4RbRrHOE3pTljNlINNx1zp2ddKeLMbuwK2upDQYR9wcxkqcyaHt4TL21Ovqmb/6PB72eo5KcoRsbNYlKWIojgDdAXWdqpPFm/f7KKvXBpmzvmuNAb7h70XhQkCmhf02YVvvEvZIg5V2xvYNK6sEBlqJK3qd96nhBNBrkrNcOI5vUugJj3T4Khf2P4d0DzgTAMxuf/XOwz8ahI2Y9+207BCDIdYwtdj1T0QnT43Twqvqf1nLbUv7HdQHD7hvzVcr2m9mhmLyyWE+ZZOvyOyU6OiFRMXBUcWPMcSGIOk1lzM4/L2Rp6ROPF5KO3vRRurL/GtXuf51eGtlfPLuwDxdrtkUX6pTB3Hxj55bzTLEFYZ3W+EXFB25Z4GhxXS1ZZANMr8EpLJXg1fmVhudqNdpeOx0l9JscP16luEFC7NUjqMUirXr5eVnhyqoZc6FToxf1tj6CdPs4C/w0ylwjuLzqgOJLp5f4k2pai4JbVW8WoAm4wuoLsZmvVeRmwDsTnCDlHRKdKNJSsR2v9ZZ9lo6Tb3+ZHYDP8X6NzpO6dbJlLhUzGdXJH3VmndwhqurQD3xo7YqmPE+CgvWhfxnFarTWg0L2FAGytaBFM3tcdpaGkedwVtj0l7X6RBV0yBoOXwFgJhVG6tQ596CwLPKnjv44GdNNAMhyS+0NqKsMmcY6Ivv3SlcQaJ7AjpyVNmHP40v2YRpu2z+IVPYeokmXYb4sJM5bEv4ssnul7i5xZCfv80vYX3LbXMT7/30uR6uCMhm7HHkLyB7c5PELMNK6AKzYfshCwVdIVka77Aiee65D/Tb0kMOFWumbRaFe0mDIOqaz0xj5CSMVwFeHomIBzJ8g+T2L9sAjBAQBIAYJr9lqPGyRjDQR9hppZ0SxqrtT07/XQrdnvepahkZef19jg/FJwmtuuRa6mZMVuMgQiyC5MmB6mKtrVs+TILQF6cb2YkYrlJjE4WoNYBVJVKC/JGK60NbqayiJL4huB9wtqdMBmsLIfU9DEDBOTpjO7tcKmioJW8g84UTfhH3OzR9svqmZu6c0Ckfc6y8mHNRuCv9tCWDH1YY1h9LeIvrTH+bHLkb+IMi/Enr+n6GZoWVO1+JFPqN4sMZEE6FBF8f09/oZEzACpeWvWgaR8bXa5Bh+vQ5I2vUYD+PuOG/vg0zVTeQ2FOuhb16Qphu9VUuONcFadaAza7FRenVYsvFphDoYrax5IGRWCt7XNkUA1l5WfHXqxokB7PMuD+dWIdxZ8TbVaYccJNILCxoGrRMm+BMYpGwe1cGL/Tf/g3mTupYfFAaLuKQlON53scJKg+X1hONJ0g5tH6awRYU+0Bov0Fz3BM/Z9AbyIV4roikZqhRozR33iXNWxUaoPOR7frp+s+e5gbLmdgQHa+qbjDi91BtKoVvwXRBaw23oWs3rdtoZOUs1QwthV+bNLyDs6OId0gmsQONehtFj3itAd8jp+hRiCYvY3RmCOKkRmO3t9ClBuqVZlvx1Bo1bopyI19pJggS7rl/kXryHAqhXQ/rXduwts5t14Zpzx4r+4UdtG091RGbHHm0z/QIj7A7IT6dpfCg9ynFwBIKDOMt9Pv+xTVezHkC3LtWz0cBA0OtVplIguk6o74yp0yxI6kjRaepxMVrtaAg9ydyxS3MFSw6V09wXq2l9c9mRLE2GXwCRIUYl11sJHq0/iySigOra6bMURqbw9kSTn17FAgHQg3P/tuZii1TguRv+F7WSSFl0dRxDzDIn1QcCyYYc/GKZxyKNXy5o+tW/093HsX1ZQ48SSNR37gnRzny+PYXIml2H8iUf8Sa0ozpLOg/X/5Kc67hkVmFPolMk6Anf9gddeoYRdv3lFsJDP/gKJSiGjZsWSHZewqOwQzsi59MKlVPWNGJglbDXrVO9iS1iRxxWvFMz/RV0ZiIvKWNsc5oETXW6W08nfPofxzaFj64c4tu1Bec/oOgHeCQGPEjlhSaaxsBAh8kbPxkBbV38wIReTEDSjurSh+ncegwtOG438M9s5eKsO6GzEvQzok2huFgWgw81CFL7BClubjE8FALwuhuTfQ0dRyERb8uv4rAPbFcHCVHxjK3Adkl66on7VPEzcl36Tk4m550TCOHxFXFwguSWtE2jY7jVIVaraULwxPw062XKfr7GixkzZkIWWsj0tRKS8MW7b+4b/ywVDTvglKJtG57INskoiHgcm97vp8zhp7FiRHR2HbD7F4Ko09kdeJ3CcRF6HGZi45HhfHerfB91n2LH4EaebC9nifcUSAV75hwv3/X+RYd4cCPtjdP8DlYmISwGy0IX8jxgKdrAkl/mDgz7X4wKnAYPi8cM7Z2IptM21o98BZyPBFZy2Hyl0kJpvoPxMFC9CMoNVYmqrWoHICKg56NPkBny2i5rHLK7GK+NcWjhnyp0va3PsAnoqxs+ZzPwVeNAAMnTz6T3wZkyBR9xK+jx7zkvBNhMqgAHXP0dkfbdzjVyPgygu46i1b6AWdoWaaolfxQrZ2q3A0niBwUbhdqRmximmRUHMdZaPgF2oOvAKkUtYoqiWLrj5nVmVz9tcZ7/MimeQZeJq3dI1TZkOlG/rkzZcH2/Ikcjonx82excSsGo4xN9AojwY+KzyT+QrNe9rJ8Sc4f8QtLD+qIaEOi2jiCCcE0Bs0BVuNPpzKqKIePnx49ydlbH4G2yUf23iG5/bGX09yJ5pyWOhlCHfzLGVSURD9hKVwdu+uK2DxjzKDSYWqb+iWsBQtTUA3DbrVtjrsCzXH9UQdxuzCouT1B/tOPwldbo7tTI+RCh4qUno0rRUIyu8F1OEG/6W1NTJhgC1QXTHuV52HO5pJoy2hzESUYRuF9jVvsTbd53+YbsSUp9ikcWy6Y8e6b9mULs1dADus5elJLCcF7tsJubPZkf08VTHEstX/zhbTKXOfRipWOxBU50SPwFMhyavewpz95a66RdV2e7Hw0kL44fSK2BkHIDHOeqpv9cXUykIpUy8RJQsfERNnxweUFdu73EMIUYKnHGeQNhj3j0huWtg0lRVFrORlRGJ/jiqsA550siIZ9nWUFPq8U4eIYU2Ywix0UbdT6cLH9uBkKRiv7Z+RGbcujx3ciF+QvuomIbphaD0eqdEvKD6VyPmWsruIZIYDKsO0kaK1SeAsWWTE/v3//khWwDHai6fnzbd8N3w1K14H4jDxSzcYxQQB3g0pUK3UFj5F5ExpLTbzCUjXAHEn5qRcpYnC2ZnJ3gQkAGqgSIWQx632DD7RKBZgZzB+R5P8HqZ8yHpjqLef5OhgvOQT8TbC4qj7doW1Ri1u7me7OtDZtVJc1/6NyRFt4UVDLg0mxe9jyjKTMI+twSjg63CxGxGC/AZDSpX+qg90aReAvje016hQvkV5MDnJX3yLD8RyFmUlE+NkwPR9hUU1g5RmacrPqGQzIrlmVNDNMpMu7Ff3S6zYOIFIju5SYrAhT5C6ECDrr/aU6LlXyAiM3C2FLVAExOOGe23j/nLdK1Ndt+7EfOJQGctuZ7yaWx7Mig9GqnE2Sw30AI23M9vCTZugSg4470YgepPfEiq/1XtC3e6ba/TL1z3mj/PcK7mXov3f0jEAR39N9+KGUctL8GZlhXf4tRHprSMwKINYbFZEQsDbH+bu1nHvZ62OArqMxrDA7ZUyRP2ueTEqG9iD3oJZrs+6NBWx+SwK02bWxvSGJf1sPkoYmVO3rtFUyc2IFunb7J/kfYz6McCWP3JKNWUHj481wlwb9FCDJzpRq8usyy1ebGh1Qc2SfwatGZDsrA49l2Y2T4WEJrNyqWpYipvsDdUj07DVrLRLdKIeEVKEZuf7HqA6IN/qtu6x5ZPYci04gzrwRgpuOhL8nEH5uFu43pblYQuYa2lyxkoc+ckaWDUnbcnA2enmRpKmXsId4IMrbYatsZw9a+uVB1uR2jFkRU9vy/7UZaCE5JO9QURdFnf7O3vakfpZmOPlGdyQI/aBu6bkmSb5aqbk0E+yNOe9fQBCCD6Ucf5VCW0sD00KQcdo4K03/amXXYfAac3N/KowA8NOmpUHMzOzKFmIskR65QXK9Z2Z4XWfYlWfZ735/uQAcCw0PTKuprSH3BzxzJo0FJ6SEchjNtXAAOD21qyDAKr6p3Xw4Vh737sbzKR6rfowVhaTbrxG/8pp9T2aoP02k/1whXMunROAw1JF3PylWIc9I0opke8n7a+uZpEz1MLmg5vbpzArSkMwjTCb6klVysn8qUlISv5DwAgyt8kRDvIV24KCTCbIc+2NBuPoUIFeCGI6tovCbJSQ73/9mfmSNpRj38j1K0rqeXqCvFVw2iF9AI3LWXUZaNbJ1IPo3kCsULua7UXRFSZfoC8S9WFL3rimRvn63TxiOdSVfHL+n4z+AWNzKvLS4hyub2xmZsx7an1Mm7FQVEIMPCkePS87WBF1+HWtGCuEm40ef6cwB/tZ2FSzs9J01FcN0lFYU6fOl21KNcOlZcIc0Hv11oUVj4w97MIgm6s/WRyrF0g3dt4BLs4zPpeWGoxlhw1JfL3xGfD+6j7y7q6EIk4z5a5rumSQ3U8SBcNPU+461VRiu2zAUtMFhcu8BvHPIgP5T+SPlKfQUumkk/SmOdy+0BhLRdA6cMPNmugCSxh66SzgDOQN5t02/8cAGktOiFtG6rtsVVCYecr32hcKzSocxjirq6rR92gNzRIaBEUgZaYb6GGRgGtnONU0nPTBjvLb1cOsrdZHKn+L9tV8NGURuBNgWVx1Fgcqc/kByxuukM1YLcCxvMtOYOErjahyOFbSy95JZFftz9jkhL+PqG5GKyKPhWPsfG0zXFHyDaNGjnZqHqONLhcHbtjNHE/RQETSz8KSV++ZpeIrHg/cbrrqCZ29mVMvSw8tg9c52uebhfJo8mT2PQGA6BOXclrwPOyHP7G6zPWyIGhw9J1uZexfOT/v0ot3o2Oy08LYJDDhlh/9V2vvo+szDXi6y93/IM5d8xIAi8f+zm1usbBH6NcxbOSGleyV0mI/AZE4l7/N9fElLW9BOjjQI8uSZHC2YhHqPVzU/Nhv38xLn2ZnrG/b7D4ZiI4vUwLtoBiYoOQB5js/jBrZPoMx+iIvEzSWd1kxUsDhmPCT3fDtdaUKcwXtxEDVLXl4ZpSv6Uoi5bP0UEDMpVLMS1wM9AwXOpHBZtyQiWUMea/R71bzQQC6GybfUMY1lbB4VuZRAJuv0PLngMfE10Z2wmatw/L10i/Ig+0PfbWLH5CT6Sbbck0KHg4TqL8bV5gyHaKam2tiy6QVZGI1iSVJd6AFksoHmZnNCo4ehUcUawm8EmdoxNl1I2i1WH15VYSzii3HIrH0F8M2AI0+dWAjnpgbwXWB67ngMkfNbEtGKmt12f7Os00nflYk9uO/I+NwjxmX4e/npwPHYdFaItTZN+gpRfG1lrVLyBeCUkulT/qvrERR7q8DDhqnO8HAZcRCLI2FmA2esK8V1J3DovCgwwg+dw2/nA0VTswzKuuISfrRu2wgcIzbq5LMIR8JjCmZla/35PXDeXQglq8ovDyTR/DNzwqtQRJxcPbbxFkHqHP87/p0/lhKYHfcG6dQlLUFdXyQzSVz4OP4rplt32xVouyUbJxrsz6gcMFUfXI6DJzLhEG88sExgg4aWOc5E1NWYrYmM32nXvjdqRauejRGsnkGXDIASZFXYycZ+uMEsW0aT6hw1jinSKclxK4fRtxNlsPFtRzQRzOLNoBujsRHwcOgs7r90mmzGl02vlARMfZoEX7Fc7KTvOetEcespErZXfJD7Gwuh4KKU/Zi6/ZVuWTu9DgLSEGOHfUO6Gf4gN3yyl4ASXopMJ/cc8beWJZ1SuE67hl5OFp0btiRd8KTcWPuhdJbzUS5OTqFjTs/UPuPwsUKmaAy1/JfV5PsE8dEm2K2+vn+IYH2dBpTRqObVMkcOmGmWLP7pkJDlFiVrGf9/jmqm1yodEkBTRXvuZ/Lnbf9wMSu7kM4Wg/RlLE337nblWBaTI+gei/VnS4NoUOV1W07/P/6PZMGFRiJSvs350RzuDXSnESXKxhqNVTF/3d+nQgrExqJ0KtNxnqeSV213SzlklKtI/HwgIrAMGxgh3aBuDQF3sgR6V9Wd2v6qCufgPxh/7pmqxjyK4zW6LQCFZdzchc/Fozhphr2QivjLYlqWysWK0MZ3bOmWkYCl+arQ+1hIFhT7OINl/amUVMMkvy1LhaNAPYNKpvv7ngkTVk8PNRkOoKiXvdaF6H1gQDsrzcZUoS4yYoydcQH6lpzVY4VK1OmdUUTs7txz8Y8yow6cxFk7T2nkRBUViQs6krikMYjrNqbbC2BTR4y7+Cmv3EQ9z3sNJ2HzAS9sIx4pN8/yM8Zy7wyQph6OE5+j+8NHIoZ8L+eTbDAaYgSSvYpKh1dgtUsVnvh/OQqCp2mrikC7l/OV3VB083eHhTYzD7hscszqfgTl3SJZ2klZxkuD/SM5rF9hxwiSTYhU6+UCN3TeXbayvwwErbxiiAC4h7ogjqmdcVr3YkbqBp0EaEPs9SFsRHWE7pnM8Tokkzs6ByTRQT/gpjhzeYnVxR0M8ow7h/7tnJaLS1xoln+hDWFn9CDZts3ROBZ0w72rzpL2mc4SnYF5aYup30SeKeM5iM6HujZc+G/X+F5JT6ImwjJkpFQajekBd0QUGwSeJeZ8Auqi16AJemI5xnTd/XluNyKCYc0nJc01qYl3847VVzNlrozwygQdI7WwCost4zSSwvylejL51AARipgRo1Vab4ZVhfsCT63AY+PkVf5SAbO56YA2P8wXV8c+9Bq3tklDG2adjZxn+F7ULJMPFjPXk22WD4X3aRs0voTQ9kDKc3MZ/q8OsF4IdCUm0xvbb5WWsU0f9oMIoFmRg2v/RP6dcZcwHTBbVjukAPv4yC+6zcC/DEXmmGg9mCopKCqR+xGAou9Mjo/cgrLWX8KG1PC5wt3mfSXs6xU3fwHMSjZZzO+1WXn5vFEyjuml31gZ9riNQEcdxcnGYZihvWYUPaaq89FTmUE7mceUlUe48B6U/YZSVmkgJQM2P6rbvyj+0e7XMsoRZoxtmHnsmQcx0b8BkijJ1XWAn2u1w0Qt2IJavaTZScB9rnO7Ep/xdJWzT+3HLGRJGp8BtG7NthpB39wAhOCX8dbxmOL0VzVLozuOHImX6/jIu3sOMkLUw8MI39PozXeS+AlZ0Sqaq0A58Hjuy8tvjDZbJ8b76HG5rVdqbjP/6ve+iBmF086MpLfymgUqQBmAVb5+a5NPCuS71J0FAtVr1fTYdmVKmpMao+ZGYc+GCNW33tW+8eodBr1YpIN4caS8CTLqkuHL9lT6/tr8nvFgkvOmcvAu0P4e1rETvqQ60fvpf5iT+2i0n/s7hb1EFcDjoqYfGkkC6i7F7Kkl+0rqJyCd5TMgIJ8mKKYkr4mwVyxfoNCI1DbrmlQGY5q7GTEBp4Uaykrovciv02LKx+S2zeJKYuEAOXq6he5LFYcqyLbn96H/s+7CqQSWFjb6XiAlnVlZdLOUc+FHJ31KqNK+XScDqGJVTwP89e/danmHiv8bGK8UMesUCxwIdYYOMTJmWCoYoePNQu3gYiWfjYa4OaMSUNwH5UvhvhfBBigB7Itf2AsISPCwKiFn2KfD8GwsrGl9VSzZX8qPH66uNvOqoSbPY+iJ4xNYoyBMciAn6raNfUgj3L/ZcokPFXins3swqJmkCXDvD4B062bys9bZHUZhiBztlEKVUebNInusimki2N7h6/QZSIBKP1XyeSBP2ge3s9unaMrer4+H3UlyWg2XVpZ4vWUjlBRzLQij84eYVfxpZO6FPgsprRyoYtVmSWhnOunYct7i+PB7tev+Tr2W5Lz9MuKZYyfKQkKSGNnm1ztNgP1kdEXS9/kJ2ZTNSo5ziH0f4qI9+KmLDaffVTA/ljg3qMGgzugOTJxKvXmbYjKqf7/Jsj3BPHjJMxPX7qhHwCUWK9WcYoJ8kg6L22Jv5Luk2IUb31K7Q2Bxdu41u8Ba28MUuWkNc9qDfumhn+zfb+H75AAuQvA+SCad57FmpA3lUEVgNVOWQz+R5gyLCNlUQ9XNHirdHPnbT/YyBHI/9jczv9h2qfekMWUcEGLpKHfrAUJPos6pPuqzmwyTTk7nDj5+Nd5PRckjn/6BJLtdX2mByGhgaGjbFVLGuPOdaea/3e/vAYtlmJaTujU3V1Ax9ZvVVpWqPJQ7yZosIUM6Ts0VrCd+SoP0Kid2nVe/IcyrQrTaQiBxVIzWSRhTFfnsKbROnjTtQ+C+rIRdBt7cpxBHi8i+HvmaeKqKC3KSh30nl4QGOiSnp/Znekp1qRFJ82YFPNAN38COg7s1FgSm0PNvl+QuSQmWPDVaOL+H+wkVEtO+/bFxhvQ35uZxsCZ7a9lGvnqecySy8cA4gJvV9RHCRA3jXH3bX/gPpST7GB9PvcxhomBDZsgUC6nd/u/6oUG01fNVIBBPPE6EC5Gk+4+6dLyWBVI+zafDPQznqXzfhQVmk6uaR201IHAXRqZDrvIROd3k4EdqB5F/yJQi0XS5buHFfePr4nuRd6IBLQieQH8Gxg146SS9cvkBJBSYz03kR78Dk0J9GDSFggMCpry8E0JkR8g+xexYm3+1S1WpIZnDKiOFR8TQdAgV4wdMVjWSti07BtEa1TVKA7LugzQqNdxs0tiNJGc3YD7DQyOYhhbV4a8mdGGDOQUsewGoY1jXuM4Kcrw4Fntler3bTeQljDV/9XmXZT2n2nQBY6UgPL+cbsxDRKMvE2ZOscmqUtIMB7nNgqauI51afvriLN2/AZTb8jKTXRgKsGUvooIN0YOSKh1fsA3jFzjaPdQMdRWNfYQ6BsGlHxTSCewP2gLEcxO9a8rkepvW3w7Fik20A6b276kzef2n/MQlT2DCRP0GGRdSar5OI7IcwFP1KeRj0C1bXOjdH0ii2eXUnc7DOH3Js9mKQV4/URInI9wGsi6G15OAFhaV7c4Me2mb4HlH7sc+2oGqNXTS844kPWh6tQ+5d0V5Av2Mku/h7PQopbG5bsNBY2OD7QLnZW6YNcr4oAhe09DCwkXoylVUnKibwoacamafww8NXLHZHKL/nerbFF+55pe2JuNbBDKhQyb/OxxufL6A157UKJ5VGbYypMNaoDF6dSZlM7SJrl/H3GyRmSiw7jFxchB7NQl573CnRgiCL/whBDsDxKIv1HjDeqXiug+Oz3gs/ylSEaGwKRr9Z7r13d8BEzyTfugh1O9JNaBvSE8vzRIHsZomi4Th97wDN9xg6GeO7L5mFKqptDHmd0CWGof/zMIoyKQ4z8sRR0qgeyueIWm9TqqTWX9TJPOJAf5MME2P36q8Elp5bFYbiS75tTMbRrjXbdejBtLQ4ryJwsroocEa002TQC/yQDjahDDjqDXKv2CQlKTK0rcJQe2bNpFwY5GwVbhJXI5/hgWAk3iV38A5sa7yCl82AHokmu1qfHvJzYsI9IRwS3JXl7zMukoEEFlMKY3uLNYG/aboZdMeojIXoSLdTzbNRBnARLsrrFL7hztM7H9AxdpicNKmm7I8OMAJz1MuyUtNfmevGLe7ezOtrnVv91XCSi/AgYtbaziV5/yPY0R4MKeUTLqNNEAS0lQs/cqOj1C8GANh/qKAgv4Km4ayJM3bTTH+XbEUiSTWC6Ppn37CY/52QU3NZ/wXhS3RPZRrnNbUYJdVcaldgzEDkvo4QbWSghkqe22NBVxK8VpofkMPpxmWzWntwHu1BsfC/N6NtqTaj726VopCIo3SOvrLc9LwpyCmAdhZ59kHjq9SUAbPclPjFUDJZ8UZZUCj1y9AHRm4WcqMBcq2zQeS1Kk4cAokEBx4kL+h7mBc9Td5wManXr2370oc4G5IjFDuU5AorgtHufpOfWjbVcZiLg/wZYXYyFWdXf3HbXciQhVKkIgLzDd8Cs7q980e1X0t2d+tQLtsglAPV+oL7jrt6Yq1zUe+08pveBv5d612+5viPLFUBfs5j2p1AOs3vBxAvMNxuYmlsT7rch3Ja5otWM9XpF4uAOXYJwNhCBenxIy8bjaaZoVahnH6bdcWj6zjywInp83yydgyWyh9ZggekKeTcuq62qZozI988ToKoFFeWc24pcdOoeFILm3UvitmoJBkpLIRICQ9I5GQs8fpYt9h5LmfnP67IiXTbhFAqt08WRWR1lBO59gZK3/yYVE9cLImM+JCX8d+6OA0h0Ek34FXDqTUAsV4b9FAv30BKs9kDMLXjuruf+RhjIgJSBKI5Ed33En2xLwruC6f77kvrgOIsp+M1A1CYxeRwb4RoEnJ/HzOpPp/dEORnDJ+53I+UFIH3+9UiDcRz5lnLZkYq6DRsKj6BYs3GUooiURGFqhWnwBCuk93VfwZbvw4XVSqEeOtQ+FqGP+M5aRWfsCrc5j4IJ2pusppYNO81U8GU80eojKR+3FYorgLPubNSGmtYHzpne1uZpgRiYLwEG/hiEhOb1kJ68LCkMlrTzv2JuTSTp3TOwuZi6YkWTx5o6cHr1ItOBWHDgWSaaAhPEuJKsNchyN4cGrUvjhYYZ+t71xaqZuJwkGPnJQRkszhjkHfp2SFCxHW2hZ7yFpaPkAuKP2xMSTO/SOgiUGv1jUdzYzorkq9hJdZo8uR7K7qCuuiz5lbdV830xtN9O2v20CLzF6kfiav+o6krifrj4GWWsqOsSkSUbg5SuCzeqzDCdZsbkGZcAC0NBvbdHQkM6hsLzhLG4eKELJMj/Y0RQMMHvEkLw3O9i/UOxvA4ylONZddnNlmCInowJtMx4FnULjfUcCF2M8pLP/ZUpO4sgDKzFoo/YXTo+kfBgt3orCqGRqr0wHbAlULyswe4G6PAdqJto+4ki+cKfLgSH83CYpKAUEWqjhGIj/R6HIGqu1xpk1txuWX0dtFyn+quKFerFfJ+/jB2GHdRs2n8X5hlgbqA6WQu9ZVtj3UWXk9Mj3wDBfuX20VpUBTx8SE0oz9XGFN3ir+jO9JKhbRwn4hq/RRVQB0wYAEtVdU0LVhAgKhd/BPRHBORH8WmrnOPIYISp1scvAS5DWdJga5xcf+KZUtFOinITQ27yKelugqu42+PHxhbKpZNMFb+seaEqnLqgTYxo6uct01ByJ+8JCjnuvKwSir+kz3kbmrMLsSpORsDrIiYDzf0OS3q/8uY+MgKrmsyIMAxkdLUgEoA8ap//BGOPWpnygY5QVKdfc7cKYVLoon3zVoqLcIRW/DazNFxH6Fn+jHKLo8nZq3/yzyf+L06FmkTMN01QFJVJUO2io/f644SNcjKx2ZQlA9W+106Bm34ifRXyB7roJZYBPqjPLhpXLWXMF0oe4tLjKTOtu33mzlfInsVMdcaD9F6kMKQ2LJnTyKJ+a88Nwwq+QMSLm4UBR1qgU47rHbxmZmPYIo+zInJtANTCt3Dryf2lQihfGFJvMpVPnYjnLP4PpLYa8yzON31tsmfSI+M5czpwOgKlN2bzPiMUD+c6CVgj028GjkMId8fXkC/uoWXLfdEKiNCATZ7IHg+LHxck1nnu92oUQJw9ludD74Aj1lh7RdLpbuKf6YJ8MVt7p9vaHENGMpBAvCtTSPLPoMykf+l1FUnuEfE3kLHT7gztK+8Ypz/AEjnfwYFXR2y/nIK5yeXCsOWAUjBKSqymNS+iKlazLp2dN83aEYMPFw+yFvvMSuk4cpVpWPDmlQxF4NyMlEgLsMpoRFf14lHPihbEc0XoVRjHeZ9xIHHuoBHWFh6/XiMqbM14cT6NWPp4IeZyA9vO7iiHQOJbopmgcxsn63b9zMy9ThEx82Px8ODt+hGaiLN7DtVebZb6rSCvlpBOnaipWZYbjSeVVzUaIIkiqlpIcg127s4RPqVi0yapszx2voOTMYfxwHyXYQvC7Y31IpwVFtdUY3gy82VsT7sdHO3zgRuPS4tboJTnkllNRPBRM3iB9Z78mA8r0CQ6StJUfmiYasEugG5xm+UJ2TZFqXrz+ajG8ZvLG4K0Dhz5zV9f776YvyMf9RyMixr3BdQp2odIroQ3m2H7WQFOUdaPo+d1LGi6x50JI5TwNt5Sq576pTjuQVWRjqvcaRqXO/L7StM4I+NP2/5jIXsvGhF3z9SUa0xQ7+PT6YqUwNtA7cBfNfsKIOyjZlSID60fu3w++Vcs9WYSIUEap8N3N9vsWVpNj/TjDEiokLX4YQMa0VTpyvkKJNTLBtTLJBvMjstYMIVJcH/DzVmUgVgB2Bfjb+spnnR1B2Gy7wTKi1acPv4VVty3W2V7NTMefWohbtn795ziLtg3ntmP2XjbIqjoiRJHW4zSqajopgpY756UevwQAlPS7JOj+Vf+y2WS1OGMbgyVoil3/P0T1Py30RN7fgfxhhC7C1JI94IbWvvyoNcr1TmdZPFgn1pDevEnrIiGqjP4NEicj1sJ/JXvfc7WAN8x+CgwzfNJarz9dZE0VCNVQdKGbDC8YrIr5qRwCOXhmeNhLXjexc/rzd+kROm5dgKJ424539Tbpg03odS6z/QVzfCGK6eyL+I6yKL7jeA04H1eXAhOuxTq2g4TKCCEKsiEKdVy5V0SAgGebVkdRvUehuRbXcD04rkNAkLLEHDAVSXXraaUtq/GuPFxFju0b57U0v/jVwMElvZKTMF1Nk32QcfWMbJU79W/RdS09PTHvUntBM/dVxjvW6yVNGQzF8rAMkgF1rybRRsShXimv5JF3fNfZCen2JAKqfVVcdosTAojMoPeN5Cdmch6ANSBLrZOWzMm690GtAHeTOTVdwEpf5tt8qj9czJaxs5nW/fAwTeNRPT21S8ifelQbzLoqWrA6AsdvEeJufm6LWSLHHX6lOJYaumqZL86aaynxURma1YmOE6pDYXO0aG7RYeS7Df9XXN9rvUmwUIcdEMX6vRqt9c14HD4GLvFw8mqZiu5TEgJiSLc9I4ENqjR6eYH6hAMDFUw4tWA1xN2wQgQCYWRZkrYUV79TpZveIxrv7Us+VFVHk2zOawrCeQ1ZXPdjLyhnDSvx91LVukWSZSVSiLl/l6ivTfbvsBuSQgbcynBF0hY35aW9e6LWecNJ818X7GrGTc1q+88dYS3r6jATzqCTsxq8M7QM6p4uBUWvdNbiPK32zjx0lxc5BL6FioC8VvbqZ1DpTKsM2/D07OaCeSpSBYQXu7ui99U4nWXDV7w8BjLmimAeIAjGzgtjxM68QmE3+2PDuiiGEprGeOWiENLE+P1/UQ0njizwJ9T6QKjngojGqQhR8drJ8RY83p0NjO3gKgMZgwpMerdc2NxenX3RCkvG54GjJ/H5MRv7ZemB2qPE9nFSB/d3cixd21Ba2rQo9mUpWf8fIDKltvvy78OgE19grGRSjEQKqt49P4cIuzXnWDG838mB5ko7kL5DRTIaJPbyJN4ZNnEWBZsRf/bL8xL9H/5I8pOFBn5NwAugTeKd+CqED53wyhF3oSSeR6xYTGl0eRHx+kFrcp4TZy/kJL42rfqh/dpSJhglkwBk78UTbN4yEOA4yZk6+xdolGBVXZLFlvXOM+eooNIsuRVTFi8jqlA5ckNs/AdssaQLaXAD5JwnoATfVFG4SyyG7rluKiMp491ByWOSj6ePlvlQBgA18+KNoszJpQGSPtPCkXdLFjC8HZC7Qyq7aw5yGagNO6kVvUZ5XyMbfYXDtGCh5OHKnfOBpCGiFj/fSHJP0MYEsSLNuZu5reyrlJDgN18w9xzOVzZrhAvQgM03naE0jBrXHNCwDCX9AHgkzMJTxGyjqDuT+g9RdfDG5ALehPOvurMADvoJBrmMwWSS/RemVp/NKQQ5pNfoLm8zcix6CL59m7pCC6MdD7LDQS1ycqCyFTGlAk+GjBjDfUOc0sZyEbxgKpcwJ/gfxZlUnNPowquKiR4AyzxO+SxHSkkOvUTL5ivz9b4LC3aLsjkTt6beztyUOeB9ubX5M9JvlhyUyAYSZ6/BWQlZ49gquiD6j+AAJDSrJ4FLXhCbBDuVVPCHcsBV7rgZHtre0lvNEmCqH5JdCCg0G3hDoItFmyMMrD4an83dJNQeoBq/oTAwS+0/2iy+1rC3HEQSsDKRVyXaM2KL1Hqvr65ssNdPcPYc8T+Hxc2tbFiYFDP+2lr/cbp72HE3wdtuwltVXxjFziXhGmkmh/3OoO0wKpqimUjgCI5+7zXl6YzF/k0/8mCombjpU+Lb8z9Ob09O6gcTDdC6cHyxkrgTmrSXj811BMz56EjtIMAuueRwbclWJrphw5Yp/lRITmHEITLv3npx98zvJk53UV/Jsd5ND52tBtS2ZUnyY0xs9qb8D7g5uUo7lPPA2TDYVSQTDnFeAGo+/h3vkDMKEMUILdFxsRZMX3d5p7R3wuqxNWeoENA6RoJyUNthqLuc+IvwibrJ2V+RqpQ52axUIpevlasdmKXdCim5oDIUeIPGKLJfwMW8Z8IjdN2wmgt9NQ7r9zGRlgxyU4/0QoaZLYb8hl4AgZiG9BxxAC0hM6aGyr0Mf04nnrSuXQyCVlY1ZLHOyrli30460bhFosSDI/WU5OFJ8vYJYAgUh9qzOWIQXtHNBgu3wPee6VDSmX4//+FoyAEk0lU3jrRU/xMrYZ+FPVCNN8f2N+2yO5XH1LU/EmI3n1lfofLz3skiRtfNPDIpUxYuYpw9LdjBJIizXHR145cWBh8Qm8UgfAMg+znYDoEL8gkP84u6dI/IaJLmVgftc1Os1i6oReEP1Z0PRcxnGNtKUTcWBL45D7HR8P2ctxqJ3ZivW+x4cnaitaNQXPSjJ4ZTvQmZB1OaRKnTKo9KvLBi56YXOv38BNQSbEd85VjLKIu5/lc0JxULTGHKioivvbE26Ol9rjbMk8L0QuXgykTwKwYgpXAV13bDoOVnU/fM81Egub/LhH+BoQMJoHZokhw/8VqPNMEZEW0StA5ojkrLkm1hTf3mjiLzyl1JbQJnCApKh1lTjynqiOtHM/WtVe/0aKuNsSMEWCDvMxxGBMCInGCpr9Xw0s/1mik1to36pp+fvRMSIDAJ0eYwbwUtJr1xbfF6FrGyzi6YVjLLprtx8I1VISNoOHwVBhHaKXamqiSbOVMbUp/EBpYLnQNcGU4ZYnA9u7TQb+aLS+JDwIYZhWdjrhrtQGBzgQ7fQR1r7Kb8YRVHeSKyZBQh4DLLN2u5Q1FHxV0f0SWYMxsHbaBHdiy7qSsyyQQQkYQqd+5DXzGPznKM/rvYvXomXPMwzitlsXlNhWPVF2I0QtuVy9YLEfXF688XvpYSZIHXaynWZiTxnKB1JTtx2rOsUmCCLQt6slqhvINlEz9c1t15bDybYoFykXKapx3nmjW8fQQWt0+HnLlrJVLQsZI2fonjkZqwXeaUIlfWLvDm4r4kz+PLDPCHjc4XSsnIdSvtQoktujwvWAPvvLW3AJTGthP7LlJNnAPVipf55ObLjOIzkBnMbkRUKTFORvTT65zKLQsbeXdT84ZOzF9W/XEtl4/eadfg0FWEF/glQvAciNczHt6vhuOZucRIHuChxFjgMyV0Hkls7lWPoehRJ7N7WUyE//0u2Ihl6VR2mZ8cYqDCpLTQeTJOEmvXmliWXoAiS7+M8eNv9nALQoVUHuCvaLWA1DrgrHdOOWCmsaMd9uk+qVWxw0QStelqufOSkTsTBF3EdfiCJJTcguNmXXJXJOmv828ZK0WBBjqabR20U3xgTF2tBicBPgjxFUJpXv4Lj/CQwI0LAemubvrtNSGKskYIVHb7xcOzG53hY3LuprQ6eyXSq4DSHtUwWDhCVMaO8zRkWc/6V1rTPgoF2UrWACwYw78WlS/V7+jIFj/4BcBPbudLTU8Omgc3XPRmk3Oh/47HyE0kivuzBcJZfz4K+KOktgcTBrmzb1B1Y8t3KpXtEzR1mzfB9n8MzlP/qyJtwFORmWsnqo/7EVMX/CF59L4CbocSGafPFd38w1aMSNGeQcEIw9hntrCEEDZRnCkZQtHTK4eXE+7kOyhZrgMXCKdp2M7kaqnJItlS7nY0PlHTDBQQRw7xLVbjtY2Mk3RvwAD6/CFlW5joiownxzlprGAn3ji1fieyM2e/kMAj7wXrc5OBKDxiRT6tWg7lGV+GDdZnrGyDfNFnt4cJsvmckpf15CVc5eB7smGKQ6AakyngFJTNBf8OMUcAgkovhHyanwdqTswodGtE2J3hxEVojv8YIEuCm8fL6oUWWyraYtzxlz5TKAC/+DFb1PcuzyjgJongUn2PwtZbtaGui5GecptrLmiHjplwD6k3M0zHiZYWjyuSYRpH8hQkb0Cg0D1cDKvgcXBo9DisvqEwY1z7tHDeJ8kVt4361QpRrXIV1y+jcU5ht7kkL13HEgORQAydxxuChvziK+EtrKrbU/5bh0KCjNVE54avdlm9gf92FAeXs1o7CeAJWmDjB4UIeZWwhxe+TsZ7ffA0XcXP04WiHFSBd/gCvSUasoQWVyZIydjNMSE9FhHi2/9hUsQ4qVJJgjV3gdCN0Me5XsEa9mETfwJToVpcDUIEIZ71lnEgQx2V0kchfl1lRhe0JwxHMXJ8Ac2ftlncWriKBTCoxD/IZv5NA3VdSu9UuqF3No5+DgNIKnc8oHd7VoQrFGBtg0xOyy0etMJTaOoGgOmtOHgjPLj8ljPPu3uVx663OJZwhZ7+FcFZdCxrzN8PifTsdDAnQd0jljPnqFo5MKib1d2dG87uycgaY6y6RX8nIIzgpWZyGqx+Tk+fhPWJzvZ8iISmNF7A/qmQKAYWv063wuGCT7Ewq6e5hGYxCOu39Sr7qLIqJdTaMxZySWUluGOzV7hJrzG80BPDGSZnGG5tglZtpLaOfFLtyHcItgxcskBOrS+D2yODguJzl57q3rfNHaW3hq6gyq4//MlXtUwwA0QrldEQN1vMJVSrM6g7by9GOzEBnfhxI2vfnfZrwr3xIXg9zpe6WH2E9SR6JUbvdGjd73JFifoE163p+zRwp2HV2CGjpveMVMZyiZkUFVcQLqTE9FUPLUdRZOMYkY2032YSRsg+/yHCi5/+Uk3wWnb7Kvf4O+nj13n1oPWXfO8zekKpv2oFRuQyflCavKGLSgJOc1hlEo9PWXWTcfUEtnAk3gjffKrz6lyrz2jGiZgG2m2ru/acBOO5G3Q5i2lhiw1iyGUo7Eam3rvAo5m32UEUc8izZ582hTF2AAP3Ckz9rwMJg09UbYr8BXae5uf2LAmML/NCEwxXTMjoB5mnaY+IxsD5B53UOk/0WIXIhnJZDryXGNuxRCPuzJgXXOrsJMGVOSJ6de4lh/KyyI9aWBZKF7CBAjfVZSxW0D8JHalts8cDCwijeHD3pEbTQ90Feks/owLd67ZVeYl5khkBtAJN6/ZWeul/2+A3K1WjwzveUJ14d86QXuKDFUufn7I47sClITqVVj7W12hwhQLXOJrQagR9MeLH6qUyEB+BZicxeNqrolb7owscGYWeL0ygCPylqvF6nloBxLGbchevoinITL8U4ODyCUNEnTnbN3HKuimoDfzKz+N0CrKbUp9s6YtViVI103oTEbRUSmtJggBjwypXWFPyB8Jho2c2aDuBQqX4ayV2DvQhThueX6zjNB1SLctESA5+khvrOPDYlmOoUZHch7n/c0lQFo7woKpHGe3Jn2qjCE/mfTj1XPWIsNb6MoaFHv2jWcOp4r8/Uf+H7LL3r5UN8XgaQ4xrd6vnP/l2ztS0b9VjeGWO1wGLXgTDrEJa8RuGuoDOKaONBwYYM4P9DUrOYoniURSbGePPf4ps+TQtgeqsiktRH1u6JRG0N/syNFCXRZzBhpVeHT4xZ/GSFhR7puz3pnsPUP2XobUmnwhpTURl+Ug59hczD/dmtk9tUq8jq5jUV0eFsbi4TjFCbPcmGmO7Cu5fQoXIugTtKmXx/BrULdRaIw0uWjDzr1mSBsOknqvCq1klaDltmHnGHEITmK/xb3eafj08PHncEGm8GsG9tmhfVD4ZdWUAKr9iZKll11UG8pcPYiTqk532e+JuQmMZ9YKxWAbf2Mq9w5TXRdIx1bD1PjEeTsU0oS0hNwzDF9Bs6kzxTac0wFR0SfiUqEOk0oBO3Or4zYxXLj99jBY0g/3d5CCCKuTi66ZZq8fa5txJMgb5xGrJW475KElgKAD1St7hlkhKlbBKGbIEAkuEogRIgvd5Xs/0MFT5VTImuDHz2+NzKPjCJiAVGK7/ztePk/G0qCevq1NmtCM/VOAGWBgt6i7U807WVZkuxj0aHZDmQW/teTPepNxTf0+0M1dcLTNsSfEs57kVUpu3vFgSPgFmSI8M7dF2n5oEu2BAhGfA0HM8AY1/HgHJzCsYoCQHU1mxu2nUOBBegQoevw75vRdpbNJkclbKC8jOY5CUOhQOCnxahWFtidHpyonuJy9IENkvyZSsPXEb/Fi7lY0xwz8URzVddIQhA+cRE2m2BdSWX0J0wuJ8ybobugVNJr6ktoX6ZcWFC3HSTrRH3UqhqWdnW/g55Jt4sD31Fk53EKpd38NVxCyYtH+KhHqWsKKFNdiO6bgcHwRdRoN0tv5dJTlZ9uQqv21GHVT32RrwyO9b2FgQMd+xZ2YrTu4sr3aGG9d3Kys4FNPctD3n3O7gFy7XSZkm4qVT9ryQIB9pvrdm+DEMBQAcCVYuJp5+xhg6hPt8QX7jTvbObDaqnTYbCRZtAG41IZ5ANKJW96BQGgceWSny810bUv2GxT2hUxV1hIxa3MBUrw4SG/T84/zwYBsu/hGxg5H4gbNEmQrVyonb7Ynqdz/UifqR2f+BkkV88hRUVpmIMFDA9gKS/uQhN7MwKz+UTsMJM7Z/GcgR7WSVt8Giu/w0I0sabLjhxE9Li18Qf5wgGq8q6JFCH+aoXseoTMvSr4nK5NmQLNQSlgpwWqzjwhClx84fcgpZ6IJuj0Wa2FrdriCwsY3MvPusRPGEqIz+AXmvoqC+RniA+q7j89KXKFrYFETWmsYuPKje7HXOqjIE6kkX9CEdsz7LIccnZS24fXsuRl7c1sZtIqqh4MItiB73y1XkX8Pws9CxX6JnGAEZK9g3B7MNTTaZG814brW9ANGg6q0bn2WAi9uvwcqYBySiYqUVT8Z9xk9EP9W0n8a9rPLb/0Ds8xyhqlfaqWTeYZJxDAtzVZSubvHhaazJiErgwaQGqtSFqkVlyK9DH6ATo3Hl1CTiFNqUKS/mdYz+MuPoIoVoywmG/8qW6nidffU03VSvPBV0DLneqfEdImPzdUc//2mB9f8NjiGxIkUfaNSWwhJ+7pN1VJ3MohGUZuBJKJvGXCywwt/PQd0rP8AD2YF8znxnP6wwHpobEIeFNvG8fu7on5icn7NPIQZ7KZCPTFByh2DTEOdeBvxbufLH7dEgEA1pDDD05klXsF1O8a9TTyvXnYaHDdjUxlh6PkxAzaeO4n4IKLYSnZ7ZdCsmL1l+pNiM/XI7EmsrOCDqxL/Ql0/IBK8L0UfgolVZ5RxjTXms+zgfLrnHtm4ZRW71ZTgNvMwXRhgaZPErEyzp3+V8njNvLYSaauSPfVB2ZUSvIoBZYDx3xtJhmTmSf2xSC6pJMECjD8wxVS8rmp0igXRnRhQYegdYxeUf7IlW/4dABhymrUr62vgtEahjcCPTq8Vt5pcagguM6pRDd2H2RZxKbSSsAhnyKjTOxxkrZaIjza11fPmNVYcn2eQOgECPfcUTyosvnbh5Z3ASl8+dABHiphlbe/U/XftF1xCy/43IWHV9HscSNyLiDppdlZBWmVo5KXvt1aj7nn6ejQagom/i0jYq0CFvjhGRaIffBG99QQsIdg+7J6CHtuP9PNVd75FrFFa0bexMGzAAoP4A4Whas+rVbWZfE3NCINJNxOyRN8alNuTLBVzsQyWDu3Xl5tJjmmk+5Ro3R2XxYJSUgiD1U64xCMHHhcaxc/z+nBG5HqpKNx6Kb84WaWKLRzFkvH8GR6wlCb1s50rAJykjpXSHhxqrMlZsO46MiaL79LmEP1Gz8hoBFVXNtLkuk3660w16aAgMv9BGHZOrqCrQonCF9jQ4NwTiGOy+84dC62wC3wO3TQCbINw1TipCml6XMXWD9bitpwQYtemaYcE/ZvN2nAQ2UMpqXaICk0l1Tm5LDg04hFoZ70MB29pCS+NK6pcnHQa6LD3L4I6LkEMaM+LWkdYBMwTNnLIlWDid3ZAC4MuHxqiRi+cCVxEQW+V3cutcmbtoVjhkMibPmS7QfWcBbPZUMYh1NyF51m/bT6X5c4hQZjzIxSQk2t0FLHP3hHekIs8LN0+J/gZGJ5/s3iBLgAFD21+BRxy9zib0159I4gfMnX+Dfu7IbuIWL8iei6OHlxq65hWj4pjFDPHeJJ7pcdyO2ZuTZNnF4rSqXS7cWwGV+JDe1JVXPSmjCe65rlPLS1NE2yx/joNano1/BdAbPPqNpdADd8OQLJQ4J5Mp4/xCsAbP/W6fM1SY237mEqplk5Ifbu9Fp49YzsTrRIDy3Xnqs1oahIZCsGZpINoaQAFcT4uNEEq6TEwTyOAKhX7KPyZEnPyqnlqbCT7Sd0w+TTRuA/ghvszPvXsQFkmgoXRDYjyqacNTsNjYa/lmSuLkoSvo9Em175vIjzUVcEogydkrNWJSKD5BOfM9KzytgUlIqWr5vxvIw/Bj1ha4EzUjvXyBXNa96OIXStFCL5/CMaPUHLCeayg/L4Et10R1hjDIGh1qgygguSiEXvla3LxEARVwe08EBoldzjIc4GaD9/4PO31FZE4nmR+5ghLCebNa0EXWAWm9sShddZuqpEowCOrF5EoA8uW0meA5sIBW9eDMTmXvKKs4nXuq2Gt3ioc6rOdiHEr+2X9LX+cr42pnK/p/YTJE0ZciJjRf3VcKEp5XDUrlU407arEh4HTqfcO/dGEBXmXP0lxa3IEzDnBt76kQWF/t7SXPoYHnTA9iq9enz8Pv60JEoVJRHSrzNh9IScFFFdHOEvlNfVlrLKTfhkeOZlbKUqqa5jEva2KT6n22dZwalBVTKd9cJvTTgov/C0ZRtSG0AEsy8p9xdQj1XK2PkkmVhzRDI3qgv1vVXv+BP1uVBqVZ8lXoGIhAlVxyj+ANk2O4QJQnT0bgY1cZtCYjrIcPrq/pIKEuUiC7Gm0gxEM7yEbJsKyW9sz0ndf1OD84zuw/qccBOxs3XWVpdieizMEO7y0/zVCqEhWaR1uzFWXGOQDkkaTw7crdVLAIGBgGwWN14wZLSKcDkzQ27/j8Q9oP/IRPdjYbTdSVsEhta/v+V1KRo0wvq41f3HAeWRfzpJ+XzRf1bjAnyff4heUkgmYEI0vT120clA4ruK5UWnUNdqiK0BqeyY5eXVo+4Es+f41qiH19XHRJdcSoyCqDf5JH8NqUrSaMPdG2QfHAxYwenSH8L3i3QX7u19GsxOQArFDguXeDNxmWjZva21RhUFQSLcJqc3J6O6MyzYKaTqWe/uNo4cw9EFaGvuARLPu7OWycsLAPFzgWddhzjPwd/YfqMJWQPUYoR3NlIvb38dX12ML8xIRS+m8DhwXnTMV9J+PBKs1VFowdrILoOie0387TJYxhfOWNuH2VRTBxmmYALO6txKbstNzpCPJ/C9UDR4BFjgQzU8/XNmEUCrKCH/11M1fh69wk4VLFlWHp1autFQ2xxtS6RojP6kQtsgL9lLaZh3ViEYo6Jlb2q4arEYG8Cnxls3LOjFSkIKKdeGuh234pYpr2a86n7LQZmBbOvhXeEsxLTERLwzeg69zDvUlq3VGU5+7FCugdiWFnBy0A5tPPCELxtfsGF2WR/TyIfh3v42Un14Ygq56//Q6IhmkreW1jRAV7UGk2NYp2KCgkTO4/r7y0Re4tBsGZTn5IzjEN1QNY9HY1WLS9wIIqlUmHilqpCK9UzXy4dphlIb/IP4KjL3+HS4TA71S6WL/MyUw31wIr35YGgA8TVhOx9wRO3gnKCw60Q0lOdwKL7Zj5NqV4dgTJJ4CiDMvE9LYjPZJp8jKf4uGcbVZfvR8QduTq58cF6GyAWSsmuSQQyN7yvugqMWEee9+6gnWJ+up/rpTiaXvYLKNVXqzQ+XzyqNA9rot82v/lqnGrf0L+5YbVe+KOmyvp86vCtHYucVlLPUnsNHnn59OhhWxn4xdOsuDtlW/iTwAarxjab5zjhKDMRS3BbTKfIPAu6XNbNsgn1ll/hmoK5eCCgoLMPGLrnhzg6gUSwf2xLeGB7T+eIjycCOBAv0cYkeousvTLSSrBQRoUxUsDODAedkt6BFvGlnYrMjRh4AiRrTaQ+XaBxA5b0ZgtSrrcYelAr/VPPPAM+d2rJs4DNG4rlpg0Kquq7QMycgtizpxOivr9WvLu4qipz8ObvZz9YTgg5ePJOC3jZ/ur6rU8wQcXMd+a8k7f4T23L4WictjNVpdPfNJ9XXQZxqbdxMsuOCSuv2YJtaatYIVFGvvJE0AC0bgBkd8mhy5UxJX0ytkOxE/cWeQglzP9a6vzx/3m8J5QAGgrkxLA6DPpp5CqltU6BZ2aRBdMmuntKEpfc1hAoetYGgMH6L1/9kLL5HaFpFFIKI/hlVBe5HNdbKEDjZhg2VhI4QUutcOzr3Fd5g7tpPSDLmZw0kuKO2utupnL7URodiC69E5b9FI8p2UYIrIaEJD10Q7dSdrY1SpzYCntT81Sj3wyAom80PykKKLxYiu7zbQrdTHSFiyjkahwn3Gw/olct1bgfutq8n7RO0ixbtE9MQqtLDp7ljyozbQfdhj8VSsy+/aMQ2rZT5U3slqvwxOtOtF7cbGdxtvrW8y8mHFo5CKNPbb4M47cq8MHDSQdQgJEQoMFzECpxI+rAliherYW7VOzO19Lss/tvKll1sz1GTOwxfwl70DdsqrQkV3h6pLNQP+P30ou/geRxivL3owhn5NiuFAO3YZa7otnJlQSOj9JNrSAiqMRBzYbUSjXNb80RuesIOrfhV8Yn2bNSQqszfLTpggEH+hZ6QzE7j79Li0S4YQ7UNQU5RtFr92HuI2zVhbUDvLL8zczscogbE3NbQmyZPegYxaUTGMUMuM9cio6FuCcQGZfpOWnY4nJDqOO1fL5Y541eCZ4RIClOw2byeIi27MFj/lr16W2b1g5Gc5BOS3BXsd/C6SzAePaZ4OJ7HJSY2/qFzMZBw2AUkE5PGd+rz3AvdeZOlKRjttWOrTqRVibcLl4JAFNZKb3Onzo1i/YlJEt6PIbJnjTw+W61A4fYcWq4QSMAXWG3R2jb5swHuGvTwB86/2n8ZCOrQCQ3tAn0jJXn8PLB065nCrQL7I56NhWtStlUrJrmQL8+tX1z3IDfEgqCutvBogoTaMWE7dmjlVxNLKqjnF9TjCjv4FD9Hlf73B7KRTH7OrGi94HVcyXWRBhTqqe4I9NCRbPEc0x+JerGvCAaBsnM9NH00aLTasIITSqrRP180k0mebyZE0qDFtN3/TM5cVhgBSRg9thxZOgk7NhScvXrjHYkWEt14aXNxXFGdVJzN0kp0EqwovUHPfCTkOtjWL5WbxXlpaGInlsnG19X2n1QoB7OSMj7SkceElGfLeiVTfPh9fAhqERa14F0tcyHdatBcGq258sVjFchX66zRlY5z6nduYfMFCjdyaW2kPlyIoNQXSWIp8FsynHu9nbd0bOCb/mlBlsBTLus51Rqvc3pPySQwyRSFc8+M2wrBTs8qnSDsyam9LuOJQWk3ce5TIvlthgS6xshyBkSQi3mU0U9zHFZwtxukPeGZ22ZKquOFrId5E08ztJ7d7n1LmzAts4hxZQnr1vR4dxENYJy6oaeMDYl9YJ7Kg5gxqOKgybTi5P/5znZtyH8BFAXNPMKeXt27DpDxH/ot5QLtkbpSkGR3QrSUCeSoTDKdwQQcyPAmfxZLxuGFr3gfSiYTHEFiubufspUDjF4e89ZzAHTT2nhOAhkG6505mWhKmvaSuQvzbzPUoGVqJ9KGsoRDuN+npL7vVmMPt0Qkb3NNaGovD0hdtvz7rVYauDlCiKumnyTlf/YeCNgZXhrqM3sL+5gFjArH63QV2digQnKJeYfiDvSCDbuQ+yUzpFEKxsZNhEn0VAwOouppFfiNOO965bt4o8orOq4qvKFblN0QlW0nw8H7Ul0HactlgQtgLbrTcihZlrZryoUiWvcBXly/ZEkoKS5tanEfW5xA1xIM0rSwkoq1QBQ2RtQHgewBm7MNlU0p3UtnvjlgC4kdgqka33ZS4b0/6h0ZPreAs8xvy6TnS24LMcIeVZeu/RJ7eqilDc4QyK49o7YzHfg9FvZXH1PpWvKXhwkU8H/UgN/KRq0cOxLMwZeoqVbp4TbB4B7muTsm64KOHg4ipNcX/aS2htOiMAFkmfZauZIYvbQnhxJgIwtzTG7X/w5rPG7JrahtHfoCYdOwGWLeHbIVUC3oIuE7zAKeOKwyXVutvNRH8hn8Icx3iScoDMlVHD3sbCapP3u4sI+GMNsivsxHfqNAlgJnATCJEkrmhj7UxdBQFv5UQFyJPe2HLywL7DlBm3IrVlU6meDVf8iv1cdDhrveA+CwT/9X2nvgLdg2/HV1BqdEENi0UKaYfj2WOg5yf9YJ7/e9j9oOwiXnvFt81Lu/TJQ3LydRANxXvClFLmwyqJw+OlxSGwdqmAw3GWGX2hTe/Ub/J/9Mhf5TI/ExFxsGmMh1hGOSb7dQva5Czr1ASA8mrm8V/XcWQyaQoZGHD/qp7pV4HiMItO0Ddbv9GFNjnf7VPNJkKHQ3ESfVdUYUd9fIXIXHpt+zD1PsjFKiO4hLuTKW6PhP/zQD7T74aKWXK1KeE233MOJANm9jbMigh08T2d4bjeBoRjXsi2eOWJ3pdcppLaG1nmFzJk/eFZRI57StGlSRl9grCr2tS9qegZbTVuf4zkUwqyQ2+GFt5fHH3OY8O3cpRk7K6TOaRHUqUeSVbWS2LtiFhLO+p+66irTRDxNgS203I/PrEsCGAfWRC6SoKbitM6rH+Q9fUMDNymHgf5MHMq74nIfIJu1VLvP/maFOG9I7OjrHpMSRbsawZaNju8H7db3yRHUHX2iUGNudURObsGDDG1VQ7ixPbLd/U1TG0TcQL9k4zwsK+JoqDr0h4vLQkwm/ibBSG1jLkk9Y6V9LUXEryiIi1F9msETV8gSdoXq+7BV+Xj3VGhjO5nW6vg5GfJGbKQPzfc1ukdZ5dpfLPI9RFGgtLhivIFLNxaVZZXWTJjHrU/Mpdz7ljijStI9AacYt62JqivmvoseVeFNNJLC79K1XzUcvcJszTJdK72kaObZXipskc+dYSKYNCynwp86uRNs0udT8bTsQ4yZ/kPqItzOzq+L8HSSzUa4OVapN0czWLnhfX6xE0HVQ7QLwDjQw8/CHVjZgt8nnjcmGp2rqw9/XlJPHZL8zD0S03Z4uipRFitZGSVSzXyY/lzbQHUMFl9KtZX5B7enkYI240Jfot3seeSS0bC/1RTdRnggDIHKLD8JlAFk10BMU/IiAVnfACSvAHUWDLsXoWRwmDDWx6Oa6vFFQVNNs7NErzF9L7hmxrpnt8liGXSdZlvxgynXvuY1C1vGJD8cnpnUPYghrfc4zxvSaXJEG4BdhnkGZCSp8hjpx682Zp9+4PeQqXL9Apkj3QWmDeJqAA8uTOQK4QEIgdpqrzb9+vnvcgNLyHZqH967h9QimmRukEg1zEbp9wW+Rci0WssEf3PNnfTUSMAlPp4nmzE/1Td2W1n8W23Vwm1pHgll+IGT3GvUEit2+8115CSDxAhAjlsU4GQeSiJ6YPOE/1zrdaVuHoiY35VB922K+5khRQrjVHZbidQorGzcB2QWX9pthsc8bQeMn8/YRGPfSWlADip+qdHn+QFFIPgrYD3Nx2h8Bati6guyUp0jIlCP/vl7eZgZtsXpsWyE/UiIMNuzhTM0oQbrYuRKpyeMAcW7P3NwPmCnwWGsUqS+l4c36ZkFWKotF2jYggS4oQtEIwE8u2te2MOnKsb0VC6kIHrwvZYa5ZL14ogLtJKRgNBSKOMiDJWnnEC4+2rKc7CbdORSenok+sG48BK96pXryJ3kXLEXfI+5Y99VK82IR3rtrui1lZ4YhCClOjhzwDgLlBNkt90Wks+uA5Z+1CMfjHczrlvWZqLvRXczmTpXapkWLW+aQWNjXXm+WACDct1ksXK2IN67dy2v+KYrKmtOqEeBH8U5oM3gxbnLLH4tYsRgQXRRGl/OFqJo/erGmImSNl32HbkAiF5tbl0nnpAWAtj0msOeTDyeDFnEvrq64Bqy+Bh/lUoHN1JHEB/h9kQX2H/EIyGFpn6kTKf7TseHI/65HObWREGuv8v53IAnvsL6/iyd3EYC+Z8eaiPoSwsPRbn9AWEKK6vMnjgTuujnXBIZNAVUPM04jBgTkBMD7+2B9GGn/rmfp0P5BL1mKqPOZk/whHvUjkTC5G7+yZ3/mWv/bOMl3sf9oLBVK4SAXUD2+V0WDpiLsu79ukkFaNXi5zhvDUhFFVLDNf9RZWCfvQ3kdjMFntmL5T6ZLBUFFN6r5BH4WUkN4XVWj4lIa/qJXmsHwIy8UAsbuGHkwrZOXbZBNPvkgc0gtBijWKu3Ifso6nCpz9UB9JlvLlV8ucug6NJ6WD6wpbfL7OiOaCIC2ivHSSRSm08UwdfK1K/JPzJ/AA3d3C//H4t5Gdgx8AjeFp4NtMDxWEnCZEboY5fWvaGpq+ldmeaL+/h2NtiuMwUY0RLCDiIrEj3GMnZIdkltz03NQTmmkzsFC7x1XI7a3P9UMBNV8JDJNDY5UipkPwZI5SoJU7uctYVdZWScvWAzYnybgVoWzLHAhpGFaTedV8wkONniTPLX7Nvt8Ovh+jW2kZZsQFqPxhk66ys8QZnUXDlCw43NsjeozjYC564Wge2QR9FtfWKE6h39chbd8ZHO4EpxEKoLDUkQ8+LJjVKdFm5iExVOMgTIpH8LZ4GXKxp9cHiWwN4tc1Ru1f4i2NdSjhxsiL2z4PrMymxBzJp9bIZs1sbxY+HF4ExLAvCJJ4FkdsHKmogdDRh6m+De7IzTLHvz7cVZ7f006eLnNwsYdSpuUNbXC56CTgNs1Wu7vt0jAWdxQal3Gwv2s37xjM33t7/lg9Rsgqb56MOO42q5bcSBdiysCLbKAHEW3iotJUZhPMYNJGbiwDHt2/ObFIbsRjsAuBAMJuSeLh7bwOfnXOZQAhYtMxTsdZbT/HPPp1vYb/Pj92nzyu/FKsVxw0TDWbbYFbvcP7QroqPV8bTB9ofAJUpu00Kfe5SbOfM1rKR8U8JQgwwT2TTINRQkxIve/6dvcmm7y2Pa3lO0p954q/XqmaiwHW8ApRjkSDirxaN/5dQWWi5vXlgXdgnWxU/98/awVE2XwmpBAKg9P8L5JO5AANmz5pAnhgyC/b44OzVDSy5YxIGhPB/ky49BxttlnMtfUkqxYU+RhugRWnrw7ZuGmMpD6/q49aFgDtmUYkqFurxY567ZRNlQoNSTpdgNMXZlh0lqgguNEEMp9QIUVSfe1g93e7R4frld48NrNIFpJjd5Pqc41RRu+ttnrDoDqIQojdzy/QLiaUJbhsCEZRDRcwIrfVApwm5vc5fbAP39V/lwEgEG0WO6YhUP68/T5nLuG3DWAX76n4p+lpK7xls3BWAda0pmrBVSD7uIvci6QMNyUq38PAz9ERv57aq/4lX+iYwDqcxLGTR8QM/15y0e7qd2VA21+b9b0EXhmHtyk/5Jf6cqMS+BhPvNaVNCseuns2IECb1cvErYNSUmh9ykt+zD1oCwBeSMwaMHd1RnKEwFupOyJCbV61oBoOhlSMY8QKXmvFmqRNhFLHuTkoheky2+Z/YShxH+BPJKc7HOHicEC895PuxQm6U63i4k0/S3TNDdypSjmLJtZ82rpGO0X1UrGdzF/UdsqCYzA+pfc+w+yzZSl3y5UyZYlVudlqsGFxI7UwmwNYqwdVNG4Eo1TnUqBDMiw2+N4xuoRweoMnRFg/fbhxDsbdWnrb4Rqyiq/kehG63xLu4vkG3Etrb1rf3DyEUeakM6Bf4ZCr7AMKBXM/DMXLzVm3CFnkhXBQVlVWsdDbHI9AHxlGr191f4wNcjoNoNttoArfNvqtJR+Gy+JPQh2KocpPF5E55KjIPKqiUk3+e7bCKlVD/1iY/Bejj0/XSMaTkgUviSYCSO5ci25HscmYfXojZm5Nh/vgc4OEC/7x6Vc0d5uhdc6CyqbcgqcUv/UTMxyauG5ziNV7+eGMXGtmD+Vqof/qwiSrYM4kXUOm7XEeyHkgTxc38oR+iVvs43/LM0XQmJFoR4uSFUSb6BHUH0qEqYWrIRPxvwgLCeKmiP0sgg2avApszfFdUsCocF8NMA+4sryBLksNilnJjFVOGgltUdjx217NnEKOLLhMqxh1FIQyA2As58zX6Fpuu2gAgjmtxk283V/rEY21ZRE3+Iu5BkDdKyloSVXI6nHs/bgtS59wQZzOf44YldTFbqCoiAvyoD02DTkVCKGx0l/Lkvxh+/hr/fDOi2/zKslCaFpXyirhRuxc5rMx9Y9wRDEM7y6YXZytbjiRXHPckaGYVLtPuIsXNRg7wvIWvB/5W3drsGFtylean4Jh5ZYQvrwzGW08JhqBklB+Iqg3GhW9H3TqwgSf8hj/SQ0/RRSyYFwJhpWinS/7TlE1BNLc+8LXWoM+QGeMu+N4gBTD0E9kjJbqVZYAjnSiuq1Z8mZVhrR4f9RYS0gIAvyb/hx95FqWEw1TmoPrJH4dRuIKKpei75WCLiZRExWjBVEr+qKEAvBSfEtJ+QyvuqzEgTS+4nc6t98LkaMWlJS7q7v2ZF9NvhLRmP3o46LiXda0tVKEAdqGXgLKvzvoX4w5CdKaV1DpvGx0IiGwvm+ojP1wFTAg33+Q72QAFmvBn6jz8VB/o84x8fE8gj8dr1cp/okgNM5h9uYCRkv+Rtq2nsgBgzn2usEIo6aLyR9flLk77lgANtJA+yXNIYyuytT6oIF5EF4zaTVZ8Y7PRx4sfrFqewEFTX3Esui6DZdSBjJ7wE1V3Uf4NgRBglOuDMTOQoSu6QH42s5N2x+8xR3D+/ocIu3f4AOImh/XzZ6cvu5AATna4cOhaVAXjTbyeAkd93jJlq6P3LJJQfnLedWR4nr7cvrYyFNsjiLxfyPk74Xj18vOQExAu+g86J6hjO7ONGgdqq1o1xFLAq9H4SBnvqB3T9f60J/wCZ8LRGuIWY5utlKgxLfRIzzKX2f/SybY1mogn/kZ0t11E0OuY7X4Y3WXHYmIS1hrXNbFi2CMC/0BX3WS2ffwk2kGk+lBmsgUjmBiaoZi2UL9fBNyFSb3rxqdgEbjTF+uwdLY4V3NksTAM6U8dU6db/HIMwWw9ZQa/E98M6QKaH6j3HJA2EJEtRuS2KySQM2Dz7R86UhU3CiGybZts31RKjw3a1C6msKEBP3ERXu7qPzAUvuOmwYPFxWMfSAI1CJTizErsXQCVgRY4M2LgnM0Q+ajqQfTYUj0fRP13LTjULS9rHb3Z/bPIZPQtiKh6dqtsjMoDuTYbwsM4vCWJQpJoTOfAUETnrBDXerc/FnYhSduTtRNcJVVzOpzaXsrOyl2pRyA0GmJ3QlcPzjFmKtTHqefkp5ujrddqjEQ2Eotjs3hFAKoHJsBUNwIdnkPMo4spFwIT5BnoHYtKocHhpsKBNRkUWvmXSVeL+DRS522eVzHJHTvA3bVp/LYHUYeTDc/h8Q4DxjNX1p58tVs51tlF4e7jmKWmOItuD3SpFZwHBlYRDEY6zs+aNK5qxfMbxnEyOM9dXzdgCeawint+1PWhaCCIq6x/Mvghf9JSSCcWaTdL6uVFRbvqXKkdu7poHy0LYELUVVsJhgQvzXLPgIwy9+GQq57yjsB7Js16DAk/Yd6D8L/MzdnYywrXlrlVK4QsXgmsJef2LDdidUt3RIeRF8BCF1lBT2SBjYvjyHclqI1TD3+8tlEV0FUcj3ijxWXitW3Bzodu1kabHXf3dEYw4HnC7UytjP9HYH+wtD52vdDmjZM63tgEvP93upApyZYoOx6sJLpC2zbaFF/2pF7+n/GorvAAJNgiNgBwgNJcomq/IJcWRMeuDc3FnI6XWeA/gmcTvIukhLkOTPc+geZyCw2nLP9gU25vl4/7q1b4AmKIna6rPWJkWtz1YuxrNVPRmPYRSrl+/687/nPRbdd/bGzLgEiJYnTCVvockaWawdTCKYL8HFTsiFe29ZIbW/JWhp9b1CI8jdV2Q4RBQlesfSQBbHxSJpX3Qyh5Cq68CDJ6Nvob0zXbrohLhXe54Mc5X+zOisEQCfm8/LlwHc8qO7FJEX/2WcZLwtgwhDFHA77NAMdcJaYjJkPvDaMIe39Yxj4367THtY2tXVd8RRvuTar+PnrTUe9LL945ZC5LKQzj8Wt+DCYTtIXwy2MYecxkLdVOCy+ldMMgBBJf8jFkiS2DXy/FNZVKGeVudPU6e+12San8gAF+lT7pMMHcJQqPBKqrGGMKVv5q70aWZSLCz87asKEfMvEDMOedmqI37jWBa7tkzY5PS66h52v39c7MeQ+ocWbckC2LsUcxR63A3AFrpzNIoDjlw2bvjToP2lkE1BvBjSMlAdYVnyACJqc177shydos9KS1H/HqYCe4otN867GAe89YCit9msw8m+g1lLIrxYld9d/PxWE7TJX4WHr1qnqXqIHkC8WW2ZoC3P2sFxRntzFFbMuCjpqe/q2hT5hXQKvratj8pGOiN9Q5C5g/DHUX6IHileH1jxqyI4u/p8LqLd+Z+hLnJb9NhcfWOcyC/X1O/AC2DfSo0YE4pNfRG1Pwqs3TNHcRgz4pFL0XmK3tIo6FmzQ03vD8azGLND8DfNHHPsYQDq5UxW+RoVusWVSEtZf9TxOb8L98lc/YMNHakT+2o9qosbvNRDD75+qWtCJHEWMj5zJBUpB9+5oFpyuFl1Pnx7au6QD+aD5DmBfgbIuIEThWJ3h3qSDoJRF1bcaQ3StR6P26POxW2cOCxchMMowcIk1P6Qu8fhTC6hdJWbM+VKH6RvvyA4D9Y18fF8yxPqCN5N4UKdQjWOw7wKJq0PuyKAGmtL16BV1FC1tN7D70rOp4YIgrTUtaR17qf0flCa29J3+/RJqGefTtK5rEyqsqr4dA2UNwbnlEJhid/n/RH/QnX/k+eJ3ZOa5KN+RJAltOmfu3P6J1OiR0xJARrsheHL/RCSadLgyesVv7ywZtopT67btRiohBIXjFRc9hlH3rd/+IXnD1fjckczKCS5wW6PU+nhQuHMmryq8in6GTxvFPC6k1que7OJEykOj0zAOVBmDwzNL79MEcPent04rBKqoq5TXCW6FbBvJVxFR0NXdwPhV7bEkeO2bu9ysxu0T0MV6/nHsLUKv/mIN+Ro1r+fE4gK5CSKxh+PbsaNseyGzi9iRb0EuDuGr9R9CekGX1/YHfjiH7/bd/W2Lo9zEpG5EceCoR4X+7PMKTSyumyHhKdXbKW1u09Z8AgMiwGw/73sdFq/8MUzd/nDHNAsKzQd95YB7S6M6bbPgp9wfrrqkuFv1WgbbfBqSRQJLWXoudI6O9mkWHQs3kIlhuVxOpK36/n8mixPApgwhnaSVO2JxTrzs4dN8e5tMX0kucwYzwPWrD1BZggGA/2zvDF6/1PnxU6V//f6HP0zWADb/eoJSxL+tbTqqrL+XWVwxpdFd2NzSho3YCxU3eAJTmniHlScC74yt2j6SNPNnpVIYPFhB+KGOhgBgoGryJFuCeBpwdcbpQ7j9E7Gsh5hg1Rs3SLPB2PIBZcLwsZxxIDXGLC4uR2khvfT5BHggOg1wTa26Y/WofuW3RKId67fNTJoB4AGBxPXt5Twxe7qTInSbm6quTZ17PjtkhBmBFe1IKuWOp7r8v8TkNKC5d8M7FQXmCGcSDov0A8nBB9EEnaFei+E13a6T3dJEMVF4G5+A/+Yr5hTUuUxNfIOvXAeFNWCwVMRD00+zGez1fSzbKfV+Qbj6TgThyhAIli62Ydqbv+r6vk7W9ZFS5+RB0svNeqYdUX42+d9rTcOhLqefkjkXd6xEeAgC8zYFqwzsil+EcpIm2MqP59Nl9LX9OR+F5Co++qkA3FXiu3nPi/SiUN6b6t92ZjpfOMKZdP+Kb3G4cp4eneuqEbPgYal6DoYUBI0L6/N11tbEYcLfocHEId9hRlrsfMmfUma5y3039L9JwIyP3mD6ybjm/QkCC2UFzRgP+4Q6pQD4zpv4q7m1KrvQtTr9t3D4KuwHWHGBipQVrNgKfLx3Ea4m47DbU9AD09Gx7QtnBLzvPKXHIING9JcBMParssKhZqjCNdKKe1SxGz8XX3jOvQrkdIBb7o3GOMf/ndfs3jfJfaC9kW9J2iw0VFBEas8FmL0SjUnX6N6AHqhQviI7BK6EN6O3jk5IMfLu99aOXz28o2+vSyqsbf3r1GP7PRMBRz4whV00g1mbhqYWb8XrEWrJ/CU1jmNmJ8BIoPjQIOZbcrlUwIJZ8ms6r6fyb3jELxpbfA6FnfrXRqh2v0Pe/sOUstBkdOwAfTDilZ+0BB8Ml+etQh1mx0jeEss+rrmDGhyDqf0gPdrzPIO6erFzNwYE/pCYbwis686vXCCmORjZA5Qb1Ke9dOp0OxaoKn8moRICf9ai8F8a1lVYXLB6NO4+vfNWJXJNB+Wf66f9xlYopsQGy/I9tEqI2wyspZETIU53DBsJLUU6c1Iu+e/ygqrNRPbue2vDIsL1gJqBkrmsVdqbSBPlFVreYwx7C8bP+GWaDyuF5ndQitzP4AerQUkMLa6UBcuxovdJVvj3vv34Rrb5c/8UhPW8vX7NNwaRyjQ/VuR1svqFp/qGsG7/tiFyud7JMga3lkipA/nWi7aQJVhv/gv+5xYVS8ogf2mFFG+XUX5A/bAqNVkEPJ4YYIgg9bSeOeQZVsh0+B3LQNfiHLKY2jPZ8PdLHY4L1H3cUQgpmBWCUFSZVph5OI1EhS7C2CCvkx+VlESufEKqRa2wbAbh8Z3oJ/Lkq+Y+PSH2uSRnHEvj6yNfajeNfip9n6L9fx5XKcF8SMEkS2stBSLkKh+l1d0v9nX7gqPjyXDMVHzkJqQo0/tWQjGmM3XvsRGoqQDBPESV7KbzZ4XaY5TIyZUrXrcH+17Yr0ChTJ76A1Gy4R/P3KzZFKq3jd9BXObIlpmq2d+ezgxk0hx4RMr0b9j49cHxOwMBbpxUrwNDRTgRS1KPOjCJ5S0hltSlTdPOwbm/pbitxvXhkclXM94+UlhWXa//VqX7eUms5/q3ru9akQK12gm01eAtdY98Wp8hofN4fA9tw0CMBeqfwAyksmUuhM5/75TzDBgnQpGyIqXKOLztQRkZmmLSpQBvtGxuQaKdZEaT8aEHPiTR8iJvuWiSJIr1Iaqq/ZwYoz/gbbhSWZFuHvmfAof0w0Qxm0ICot17h++eTkoYwCIJ0nK+sZEgIqxP9Ys4Tyy9IoZ5Lix1WRDzjT6C9YD6d8M711VoCyFtJ/2ab0j7aQyITzkuF6AYSqpjZCz1Rmja/5GTnLIU62l7q6rfjU55zlJPPk9uXpn8i4/G+Zw6SPBFarm4w9Vbh/wDmc22SglRW9JpETAweYw+4L8kZXpeZgNrjZz5VqrxsRj/yEQjqdFFgosVTt88fAKACGkq8U1IUuCKPQLFuXZslG9vj0wiP4+HM29ZtSfuDUPA0Z0+tEJcDGvnZpaRLSSwUWFeQxtQtTbVCDV0YF7RdMdnNSzg3YjWr/iTzIyFsRClUDphjv0CbQ/hQWkGgdj9pEQ2ochMXNdzIDkstPoMsmuAGwrut8rafu6ryGI7S5S5BE0sAkqx/LKOnkJMzs8V2BO0exrh6dez9Kp/L4jZeQg2D4T1OQ3zQvg+lwm3SrXQaDjbQrkX3w7cHX5ixOAw01sg0C7WX04sDowv0zEz68JCoOt1gB6MELtMSW5Iy54ujG0Bm3fw6rTCyx+efxPV9ro34R5PLqmwC8Q2YPvX5jKeNPrRgS5pCbjB+Sn/4ZkZfcuFVPY+RdwecVGdKQnkCFKnrj08uoGypSJGcKZwMzvUFLGv3g5kjQbbXFLeAfg7YD9iIY1RUlrEysdlkIDHmvKll2Biv+Ca8b1Nec0oPTT84JOl4OlqGecC+Aa4yA30fU0AlXFBoJLO0UDGIe4iDc+ieQL+2PkBnRMxTgx3d/gO8m6ZqlZb683kRDNFG/8YvRaCy1KeewDEJ8InoYVayFlaPKc1B/RHldPgoE9C/UrAP/5BakcCSEucnlfgN+Ijub6ySqbsePaK7/uhkKle07EP4cwIojuR+Y3CKvhXDMgZCi9F1jC2rvaXfbUpf+uRbRPOcpRzJwWjt7QzUJrNVQjYkAz9PmwzoNQh8AaXel7L1qUhqayAAqb6cR90O8GrbN+n32ASAK0mC6ArVh/pRSAbXYwuqhhWR0b16cmSE72065TAyo97NT+QZ04hH5wKMllP4Lmnl1o3hPmcCFpQ7WqyLQw+uhAHO3lwEANaPTUM2u6dth9+qkY++DHN7/PvZRSN9nzfmLU0Pi+C0ZFYN+AYgQYXPOMStA3qacGPpl3bTanE0emae3XCltePEPE1NF/TGMa60rh3WnRnAgHlQKtLlKniWoXOcwYKzMQkwwUjKWbmOaLx7bRWSm0P0cAe6+GHq4gmYUVGzuq7JGYnlaRoAazGLjAuXhAK28bPEEcHx8HN2YePGrooQxNUhGt6CWyNstNCt6xTiYrOyMrGITpuZh9A3JvXwoomTcNtKGscdzwlKbJPjMxnkQhhhauxtOjtAQqiq/PImEHABU6Mq0zi4N3rjacuuuV4Mek87fr59Y67tplqmjTChAJLkn3BkHzu1Scu4dnyaQ/FEGjC9s9PgS7ZoVCxtimO19BcYhbvYtXe9kMp9E0b0605+OgWq+cCPr8Y5s5F2/DjAp6DW5QbSLh3jfFdheVgn1dZw6AI3swXj9NGiPTcHl0plUYaWuEfBmTYDusuKfi1I7rRJ2BNQD02Edf6rJYiYkoJniPFeL7XmO80nVkQihFn7wyFTUEVOAVkFFOtgyttTMf1eqxKIw+aBS6WUnI1oyhSAAcWJDHHYmCt1AEuZPRZ2RT+bpIShLTTFx7vREHdZhCC4Uh90vFRH+ItKhiL14ltK14HVf8LTL5dbe3140sL5W8100r1UmCDMDXcwAORHyxgMMr4ZvKNAFKQJRxgDzM92U+NIzgr5RQvho9Y4miUsGHtSxqcJVlSVIYTqoEw5KydnWhlqQp1FFKFgHitP0ZB2L2S+LiH7RHpxNu3Ymx7rjTstxgU+dT9aqb8WRVOcN+vwZ7wA3dypEKt7+EHfPFa8hGZspAXIYLpCaewnaTyQ3hqAFjExS7+dX4FJhkWw0G3bKujpCaN2JuhgBhpTnJao2X4nR30FRuhlkJimNmCfmWK9RjBL7kDWPUpgn6AXDgYGny5ZZzPOJK6m4QdKnT9wUT0HdqSkiklnRE6UqIEJz0UV/BEMFSG2KBT8U7NgIM3skGFDCpJfZ4qtKGAFvsmTnKfbEGYoiaVF1rrr0ZxK6gjlJ2+OOwDejx+RjpXERgraav6AO+/gvNwsbXMPg2UuUPSTvQTwnkt0CrIcl9W2+rrSivP0XybDKqIg6MVs9vSd1kVFCAjKVYk2ROITtRFnmt4Qo+ddmIBM3I8Z5yaG8+fNwKnUtQYegujvOZWyD8zlleeHmbDvvP+BMuhbflBd6wEkEFf5Q13kBlFCyzBEj9+6Epf8L3aeO6dM310xjq3gYVEoJsTSMVSkWdicGpnxZGslZP6YJPxmXee4yito5FtM0IBBn/jSDDXEppTmJetq4uJPT6eGYxnLPeOPLHfxbfE9rCiP9blB5olCoIOKZVYYHUiBQqGktDkB6gdCd9SK9K9T8q6Etr+BjsRxWqR05mE9gzvXkgQORL3jZW2VG+eZhf9BkiiyTZiGHgoGZt2/PCNj0MvnDEllpF1rgQ7oLpyieO8zbBVIzJWoPOjq+pQ5at+JKjivDi0oImatYnjaNZXR+mEPGpH2mN3kff7KBM9QttgpTldqVQL6XaiJ4j3XnswZ63QEFnoUoWrtostaGztx1brfCPjYnuLMnd+uHliwSXoJBeEwt+GkPHAOKrBzktAjhKHFVe7Nln4QilGmkQfUcmofo+anyBuGPye/oqgJ33UZDFiDYyuOpuMzcpM6tdNIfUjPpuBqvYAxWHy2ZJng55eL8QszH9cTxQPsBLf9Ey4t2po0kbbHGflO+IF45QB/u0ko3DHUWZ4kn+OJ/diQg0rU/L8gKbRsY9ISbaoRr7p3FbMzeZJ7YwYnHRNTweXCrPPrAtRWj/r/Hbu9bbqQiC1G7babpo20eSQV2ZLBe7PqfvTB4XZhoG4kdBJvPkVO+vB6WKcppVGGWGj7KLa8aAluI/X2J4B+QOJ/mWtgaw3bV9rW9DtTtYUTdt1d3iiiZvCn1c1h17fid7u8FoTgfO7zjN5ne6nHnfeU7KQp84lIW2NDeDe+/qU/OcJTsKlqeEcjnB9ISf32kawq+FuBrQnWcv2EwXqgqz5gC6+QNVuNc143T9p8Zgu/kI4TD7TV1BIylIDuqg/R0dlvn9XZKYiwip00HkvjIS4ItOVqmBSpGU8LsVgBteEVZfHv4UficJtBeB5y8fpBvRNuk8aBVJn19vkTAYt8rKaJdxSE5YpSO5/NgFefCmrUrATilz3sWPDdnM9YdpoHDbIwV6Illoeg7O0pfZFM1e2ClCxaGViQC7gYX1DPnkRvD9ek3YAP9QsreaJULMVzb5eewAXzs+X84VlHFYJvf9RzYge6TP+eKGw0Aneh6KQfBguKfEK7KmIMRCo39IC7jyv0KQHo1er1HTFWDkM30kuKuYGU+g1kzrN/2v2QKryGkT+nHylAyOb7xeItIggDZJ7jMbyaryx55cZunpKXzj0LjBmTomeFZPU0wdWezErxPyJvDQLBgLAH0RQf0B0dUXO7qjCh5Xdmd83JnRiJfdPDAoZV3QMQ6yThTX8NZxkxdNwRvFZnezxcIBN+PTDg7MqxyMYhySZTvNrbba54dtwovWjGyI6+2aURKcVGWVYhL/83AeBWoba9BzYak9PYQQKsl6eb0ilpdUe/2IlZ2w8LGl/u7tT2liEg5DxsLyEFuHwm96U617W/AHLxn8J1M7d8AwpKeWm37+AwPSnJnALgClLIzIYMr0mPou270Hnn8nAP5m6xd4yiSmB4jX5BVy5IzHJY2xfkDbZm1NylzS1aXUDY5v2004SPIkRIkTmipStJDRi+THn27oPywFZYZU33L83GEzSGnn7a2BETHhYS8Xud+ecVMB4AeZ2Y1y7S0b8R35oMp6ZTd83ZecJnumjiH4Thl8TH+U0NBNTRh5s9oceHqbvmF1r6D/Rqm2u1zITesDfnVDWXGTuyWFWyA0iNezdNYOFY59NROzU7Nlc/F1EGVZIh1EQQ1pZ4pg4CCTuf8B+Gy1X2YW74Vba9dR3DNmoV3K89whFeJOC8UrbKmBkVoo8nlwZOLjeMgAemK7aKdgKVUVMzHRTH53yXZFtVcFnct2gmDabQVy3iwbk17iRyjhsw3fJ6oSKP3zlZIq8JH7Ev67jSMLmk7Wf1+P/Cnl+fmCJx79PG6dQQNo/MiZ3I85cR8K6uRh3ZuQ+BxKSoNNmBSq6M4P12UPSB0EUma4ckQ7SS5Geqvm4/UwSmKOoUUFOc7qKYJpTGoD1Z1wXZcifQWXcwVfevrp6H1qWkG4sR/oba/MEOYrAuMG8I0t1bfJl0zUQP5pYtcMvLBDEUIACVJYAPePbCVdyGv7Oof5Oyw5JPqYUSCyFXI1+OAS/WuWxffJGve37rL2q2h/B6wGzkKhWpO5NGXtcLYQsGa9Q/RGjyfNRTNySWyBaOwHyfOzcB+xT2oJswH1qmyWNkQAH/f6hZbozS0L7YCgJAE3UegQwynO8CVpec2f+MiRH8JkHzOUw9RgmY13r9kORCDWDwJV551ZoNl1pgYmMUBHgaC6XMTZ6wgWKNLUuHqhPcZhC3gfFyV1MN98PsCULPXxFTF7sz+86Nm/2qWtIPncR8fY9MbullLvsP9RBosAa4eVJozpHUodFlpsnid/gfZ1X1D3mAxWdHP7TwNUNE4LwrNh8qrtonsblxE2ra24O9S3QqK5VKOLHXwtbhOz2DSQyF6I+IQCxa/kg/4qS+5Z1clOyh+0n+FExHqSZXxUuyI0MW0Hswvh4yecOidrZv6/Vf0uBihyIaSHxaPFAGu0CIkkpYlFqr2pnvJjvQ5SDOEsohQiQ39UFZ5/19s40zcUyCflerrSjWMFR4/YmQlmiQfZuzLLa8/jn0pc+TuHcn7dFhxsszaM1XRt/XWozBMPmdokvuRhVQsbSAJrTYJzEQlNONAlqfVQxcFGAvgngfqqKXJHAJkc1IYUrrVecmGj/GSvdFeikYoRAV2nBEFaW6FAYlBfDS1sUv0IUmMjZHdrovGTvfO+4TjGu07cbIHzXrRb6coFWB6L4v4KwXJLTs+1HRFPdzBB9V8iCrMFtP7qMuIJc3J8VMQjfFPcse3UeQxIKvDElerHtyROem6QHKdddBGZtSI6z5bEBLUFr3j3vumIgEgB+/TZUA9uRVI+RVnMCeVVPB6Z6NjcF33BbVDlYTJl2ig5sxULRj6x41Vn5b5442vjeUIMgr410Zovm+0SMI0ZuuoYjx1ZWZOJGVqxpXgpUlMHGWLZDuzYj3THRyxOwB4/YdkqMD5qYHATE1O/NIbYdDPSdIIJxFusOEZ8V3+eaDiq464ZMD2KK6cMUJrKqXdPT1Hm7XFK6az5rlLaL0LpEyXwaAEPntFp2kIVhB5bS9fWd6u8yfGCwXWtLdfZb8+JH35tL5jOtfM3UGDccLQqHFxw5j0sj3syYNZP3UAdRN0TOmi9vUPhN0fuSjnyMKjwa87FR/H4Wz8PE8Qy822WMtN2APGM7MDgL1sjlgpZ4joIK5j5/Hoy1Y59Ugbd0cARKL5GEY/J1k4irHysRf/DFZWjDuSq8Q+6O+gqI1zo1df/ZW/RHVTijk9JpkeXHAexJMKN72AHvHxb5VC9GYH4PIQh1hIEDMHZOsv8NE2AgsA7RaIUFdAo2zeC8VRqmuat4WsuBCTZHMtTd9+mYv/KqsF4iMVq2307ltukic6OiPdiz3aB1ckGf2cvrizUNmUBwbjlPz9enS+yTONyTEQaRicxC5zNzvoZTju5Utc/1GYnHkpcDJiHHpKiGXm6DeiiYjnW2RquEJcszSLxdsrnP/bEDPda2+ZU8EJKXlKpmnhrkXTrQqgN4N6uNXnwWrOoWqKwQVrHGgRpP5VJsLowRitYkMZC4tlJEl05vw7XhMRSfN/YW3MGkpYCpPmXa7fIc6lMJ748Fjhn0MfUVa059Gu7AFAjEDIrNdraP2inE/WXq4uZuaFb9pfTa9FdCloGUL3qQCOwMBNL/jgQ1angLJDbDE3PJ68HorQoARLKiv0eTMnU+pSgCrANmQ7suJsfbK8fshwAuNONR486zmiGe/fZjkR0DjXyQ3eoNSTs+/EUeLXTdpV0TO6M4SIyYoEJ4yBLRnLkqC4Q4kml0mmew+F2UBMIof1g6QAhNqp7mFq0WNua5H/LMFe9xPo4xPh1y0/UdwvCWBpEibdg4Xp112h6DXq7p2HGvSpqiAJx4FeFXlVW69ICvtJo2GYbXpzyGzLMM4PpU6pEBPmVfJKTyR/hQHHBdNFJhSqNWLrX6Ej/dngoYkl/5xjLMxDb2yJusShZqfukFLy7DTjPb1bNxPQJlaxZ68T6jMLfQQrat3yCCmcnOc/7dHCRUhYMLf4y0cfATlNKlAffrm72Spc989giu2a/SEGwyC9XTeD55t/I+BpLtXU83Eg63IkeAKNoisqjF8jTIsoTl5ut9FirwzIbcEtvh4/lrNdFR3OYnI8gCpKU9x2BMew27j53AB0K0Mzx45vm0EKrBvN7lSVuz4fnjZpibS3+oH4HQ2Yz3JAe3YbOYZg5Il/DKHDZXTVLHDO56sBZ0JWR4yV7y+LWk2bPD5GemzSwELYqgEnx1dH3eVfBTz5EajYm/BtqpXMEs87gE7BxoAUU36nnLMIYmEfmzfoXClmh4Dl30cWTLPKP0pbUo4gXzSp2AnU1aKPnYNUIS5zAJKecR0fIwFgonGgGUGrt6a9OMHSTqMwjTl04DxH/OB4E7yuGmrnQCUJHSHmSU/MOc5hOVMAquAytz706X3yG0xcy/vtZs5Sn0w4op7sHssZWRG6HG9bO3l4wQrpiVBvnL8PBjvPCjcwe0JlWVdwKBeOjA2jS8iMv69xyJL7tlA9iIqBaXUtP+aRWGHRSWc9duzS8I+/0MH1kgKxHNsmRqTb9p8arCwYWcbKSEEjrO5UWWYgYQtn/RLNx63Rexc2WFmfbj4PM77O4liaizPEa5uhUBc7X63RF+J9qtc8t19sj3QjKdstgle5bxIVs8QI/zq4aLpqjebEVZKIbeSR7qtfH6/m+THghVbR0/bLDqLRNcsTYTw7x+4Xew5LPivzJTiQ1Qrn+Tn0IrUNOQDaipqC3O2HU9hUi4e07mDiYxHO3qZJXE9KQijOZL/QklqhRjYwRctVp+Y3llwtfFHRQ2xEFV+AtydfuOeXXgwQOFxsxoNC7lX4nfDGGXCLXKqnkNUvVistd4JupTFokQ87Uf7cLe/YJgYIhHzF4wiDUS4sZ6g9C5slblopcphyjvUVYvx0y6CChCpF29fwKys3nJFJ1g+FrQWqVAPyJRV6KXU6UuKsczb5CxcvHMBb66Jo7WYWgjXRCl8Zx+Ac9aU/P9gOuOyyBSxaGq1UpVv4uHgv24CBkEHoDTkYcHazjphrkl7Eo2uCxMHdBVUiuVHvrTLF8cu3CI9eJnuUd1Wgfa/ZJmhl0IB54RimkaqtkKzGBHmI04kUIGWHOIebWnmW7qGIEGrZA28MlyQir7y0YcIRqIY4wPEvNbe51QbYozM4Man25uxcp6o420OXnYcxbwAK60l7Rl+kLFfmwv/ugVKuPArrMmlqi9dTNweMBgKjbvqDXLu5vOjHtxs0BN6qEXUA1mRvpgiHRu0FX4pD2MWPQLCWgbG+7RFlQKvgbN19DnPL2XF8425CJm0KBj6elYe+R/5omea6kV7h7kM2yJM0VtNqtgaFjj5AAlz0GCqnfE6FRP5sDWxEx4zbHRDPcWssRuqZoDF8hJN/qofpCZnHA41d/fWcwJvXrpdGhMUbI6YC5TGCGdEShUcg6ys7+jVVCDfafv9JhWc7NWSOJDP6glWtGUpnE2BfQ1AnBpckx0gJH2vjjEA/6zsb26LU8A8jF1arDA7GFKkBoOujkqRuE+uZg1msyUTieIVeUNaPikd+2nn2GnOqUwh+DMuomZHWef/YeNMugqhL3k9kQmGtrxLPwBLGmV6vckdIiOD7mhgsLNubRbigTheX9Yd3EDQbCYM/QI2fCaMAGOeHbH8FAD3MyPiN61Ez1fjJOAFTWDNiBt1H3dueaQdq9yP7JwtX/OUJngeZ2j4MnHSz01oP7bh1nx+1T1o4lkiPVeC8f/lR1wVDCgvOTC0tlhnLWEk8jjWPXRNdzyOPh0GrDGDq06Wf0+mS/BSciUsLc00QiNVkgUi/7uwSrMzz/JjGoASnbxwSWAHJv2a15m9vsT/ivvfCM9PbM61sG2P5naZDIwPCHqPJdDhRWY/Rc/EjbEb9m1UL1R8BLSgcZSDClhkvwtJVGZjZCUUjnuixHUVwTr4clcC6V0c8N+hDUuEbKcYCZv1O9VBZoRKOidvpT8XNFK87Rh6pBBy/gvNn6Tz1401qG1FVmF7nyZxi/JjDop+r/oHUMz2nUAE/JYsMPeQJB0rw4wZzA8uJ136oU6whA/vDA0EsFd6XdiZ4lzTos/nW6YHtyxJunMufLPPBXe1ndORdfvvcU6R6OGaYsYGSOdIT9Fei1apvgUtyXwyyziDI4OADDMY4vpbwf6hIFR4IkopuF6T1y34WB2BVCcl08dL9Tft9IpkUA743y9M6UlB70bjVuJAHdPSYz4Bu985A9Pjl0zd5fi+ZZ+Q10GaI4qzM1EbiY2IPCBSwMgSLwEkqzkkGlk1Qp7IFJhw3YX7VfDZFjj6et7EUlWSY9QbM0K8J4FE1HHlRPBP/+nvUYsX3GrRM21Vs1B+N9pF/y8cZuhbVxSRNrxcvHhzS7dFGqzZ9FKOtuBksBsO+OnoqAJ2Uotg/pt9D66dHUxJTttLaQASwu1pX/a3fv9m8wb5sTTO4eX24lMzrNM28Bajw/qbgpAV3eO444+bETBGn1rCyNLm+HUnIcCHS/LDwnGkAKivf/dmvZf7Y10ef15G+lzBaI8pcg68QHCdwxRdQjO8CuYTylLhlgqyT1wyCwRHe1w+fajXzhMfXzdUTTxEwztQ7Jt6++YeMWVKgXc1BXipoBObj7ptA5zIkXXKgKA9hCU3V0mpk4XZ8lb3wutjWyNnOjzkiMfkH2eil4hNraK9U89TM7vUrk2+p001L+MEdCLDlMdfjip/rlvAjG+UbFzpFqISd0VmlX8dNQ9VPNCQH6VEK4YfTu5NvjFj8P49aGigHYVVoJJGILTgYb6G0f7VU63TFKwBAqCXSL7uQRlUU+RI2MWlN8uh4uCJe6/zUwHm+LpJv/wAIBJ6KZXZ7hpSAWn3UHHZYWDBpe366YM8Y8TtjClufs0JOVhnuzjGqRUeE4H+EVPL9ZndmRoCNCx7DNxjilKw/waaNzIcXb1Kjg7aNBioXy4s5uOVK6f49a5cT9DJ6IAz1tCvCgcr87tlu2DIbVAa0SevYcU6r4OT70/L6lcutwRAH1Y5KN5+whwzT5gJnct5soh1UzRatVrqiwYmJWDMLUwdUS2nqhjaBgsC1sJxh11RKGtD8QZnw2Ag85z2wxUjmXnoBKTpb3cj25NFDIcZBxVUv2RFu1htmLfF/t2J5tSpgMVaOBdF7t/Ntx08DL3hxoCYSp2BhyezcWqJ1AEBZXKYkhdf7CV5gLalTggYroq1VsDSXMh/nukS8/09lp5//Z21lhD4aroREQo3a5O9G96Sxo0hDa1oqBEtvDnbz65TvQanvKkJhApx05ZBmXqnKSVQXLjaZeonl09hwurXr7i+Y2DrajXCraMQR9y5/MDoNychFwZ71E8Iqx/KjEErB93t0sCjKuQ/Sa5JzvpO2/7VyLQmqe3ZN3uz0Ka9L78znVYyAp7unuD8s4ZInMfsVLZfO8NCfEt+yFWJ9icQguEQsNTiwNlqEC/48yAUxNmoExdYqx0xHdfYOWudjoArpD8VJcRelWtfojCpX+bUXJxQae0apkbb69sIrR8I6CEK0BRrfIc09lCvneH02n6coHCQZIYko256nHp5yF4WnfnYl2Uod5ZRDC86jBgoI0LtYbpEXn1LyAOIiwYjJxjEmZW18FrxeYL+PjRROTxRJH2lb/7QBZ4UMATXFoqsEml5vlx//dQ38A4dG8fkgPRwkOGP5WYUMYZ5j9IK+rM1DG6puXkKZkd/GDov7EGb7hhGrhnWJmU+qUACRwEMk48zWVinwQ1jmIDuOj+v5Xc3ThbBaWW6LA5BmuUXT9V6w91LV9Jog/nxQcpgyknlWnniszCWSTepf4ZN2M2xIGaO3uwm2kcEZ26x6mxaEAwcDbrKg8vm0trJUMaaxdydbxHpv9SgbNmWTznpyl2GSM1MqEdxiSqVsxcWS6JUytAaqsw6ldo1OQPJrn07YvAhTnmBeGZSRnIM57IqPm2QSaFoUP6HZnblVwJinvOXvMY6lgaqxlVKRVvspd890OSDlfLIsDc1jp7jY2TU4hCBK3WTnL3AqffBGYbdBsefMJOmA/Yjw/l/wtT5JWaCfILOfhZQrcl2yRIU9gyE2yC99OTjq9cqhYdajI1ADD85JholFYmz9AWn3swu4UXuq/1Cwm2zECrKrT4SeifvNOhjVCgxOkbLXwTyCcFXfElHIjn8ontpiiqtYN4ABVB/Jk124vLp3tHkA9FRGWA7dJkxuOBnT+XklwayCiLAJvddfAmbkyF1kEKDy79vHZRS6Okb7Q+NiXERUPiBsRC0IftaxKrLukfuj+4s8WrsuC2GCiELLdAVVzzTkK2iYyqKaa1WN/2/6PJDs5mpvw2YQiPE4ZnzkATq4bOP6jGhp9xDr3mGjmj1G7LTwQUQM3Ls7Fh/RK1r2NxpeFK+yqbRu+vw472uxsecPgG4Bxvrly0H03rzKaI9YYXpLYAzTNX5MqTT3jqIjekR6r6z+tN7jP7R8zVLbJD9fy65QE/YwVzlBdCnKSsH8LaBvByzEhqNyb2rRNalGzqDe3HN6M1xj+gqRmLbUGf0GTf59i8NQOA+jVwMimD7a62HXftTbdiL9R4EdwQyfE5N1VnMgMEgewvVNxU61kgVhiHn9SRilwuMEqG04koBbvGUZ9KjBYaMRwrSbOcc+MlqMTkA/iy61KgEgz11Dt2y/lwL/JfyAIZ/ulRbQNdrP0o9sjQQSqPmEHrj/Nyov3dKHpwIIrd5Jo6+imF/hxocv8fJ9XP0PXO3oZ5uYwL/nz7uOiHGc77vqTUePtvo7Snv3UqhW+nuUazk/agQBV7dB4UrrXSSkd9csay6HCHbLUgVrLpH6tDnDpVcRQINwZBRWGOVHTUbEhLF4JOAQXfrebXuosDiSHp+Pwr2rYzMtjgQqf+Mc2wC7QpJnVvQxOUtDOVsB3/03FrQ7rZmly7P2qMcC4NLDrvbdU/lolecL5FkcA06S+uv69vqnus9BI423oEFt8eNOHddJmsMnkWFmOIq/y/o+XZSu0CWkK6zVTQxGolUdbD0ZpGM3Fu7z+piWXawOafKaGV7GMv89oOUiXH/XBPp4eASzFyI+hnHKFBtJ0SKh6DOSbBMD3zh5EqKZz6ZOpQuKxMg7uGdhtvpcLdkSYqEIa94x/YjlEC4L35p9qkTHXGMXQ5X6qSrqdfVQ27s6t2yGGhlcTzO0cBtMtgmpRYnoLfIcxC6T32aiKZ7KNENiexnOOdaeKMh7LeGnGZOruvWFuOzLf5QUuNRcFqcoufvJZkAb4D4Xc9k39fjk1A+8Rx3xVHisPYlr4JVjuQMruTf7iWunM6rjOOzRMiVLQZe84F8AclnLgVMbrqkQqgaAz0X4R5c+ACOlfr04tQtQNOTzqLxgBWYGlj8YbjRPaWjvIhoMF7OtrUO8dy9B2caSEt1b3LED9dPhy9Nk5xSVin4Ihms6SwBt7ZZ0o/xyQmI86OwL9GXFnNs8pSyfgu1bzZUzZjK6MHmi9HDSK9WwvP/f5xJJC2WQOsFTMVb03gZPZdpyhk/h4jqUfwGJ7HfQDw8qQ5GTZqpkUdpfT+NgMLCtiDUWJJZADp6bwVwdrtTdCK89sGiy/aaH0f0chF9RQf5EYqksGPvJUyQRFbauAoOPZiJcOP6StF99S7koCcOZQkrYO3hA1nJYLOCFVz/Ly3uBccm+EGziFJK1IGQOkXG4wFVTVZ+pe0M9M1xRuGQT/apVNAsz5YcCAOqugwZYoOTS72YHYgIV8T5WC0uYk5c4TULIAbzhZUBPdpSqdn3Tt54HgTX725sHhuEUGKJVuNtp0mES+7qsbehhJ8Hd6E1SG475AuANaA6v0k6UDw27+XZvkrCv/qyUlPkTgMS2pb83EF6h8Px0zWGi70QpJ20C3joQWAQT905Pux3Nk+4nsfupcvLfRcNGX2eB1k6r8gGUoKSBl2xabEaeRgBL86CBzyaUN/YryaiQ3/dmT8/9zQA6HJwJHzW+9jRQLm28eCEaIkNNsloo+scysVs3Z0px8SEAFpA7O6RSMOgkkgq12wV6Q5RDcJemiV5x18EUM/h4fubUVhY92R94uBSWx9bQ5bPQ2Oi8sDA3Jnk9Xc05LILcS2wwxrurx6M6Jq7xW4kkWv9hPCYXhI7XoJr6zo+8Ca4Prp1QRpf158n7BOCYl3j5u2fQJ5Ie2mPVShYl7M+Q+hNQtM17BGfKhm2Ntyq2OD7CrVxAaDThxENVy73umTX7ziufEcVHOSnsmHtW6FxpBHBdFf9tkNAaqFyLuAkcdjVuBSykC/gPpQlvwao7WRK05chfExTEQkfaZIQg499FXdgzXSVzTF9DYK2fN7ri/h4Mr7CPohBiL6zQQOTYxNpmwFP8TrUs5z1iJQLBYUvkFZL9vJ3qmvFQ6t0aVxX1TykIvacredx48FNgndZ6id2jVGiciTdnkhwBzmojmFt3S7qf0atJsuHFnx621QSZmcTnbRtkrhy+RIiVJQdI4k3eUKenT40hZw65Em8wC0X21LDenNwX0yHWvBT66w2xBMXI+3xx6KqWS57dRekJyWPmFP4InVFZL3ENRmXaKy8L1gL72PpqDHuCwU7YFsxNUwauHFEbnW64+DuOxuro2VLaB0sgHNFkBNen0QY5oR9SNMB8HcpunpCTp2yn9a9/Z5mwgI0P2vk3xwY/L/WmfqsIrPbuE/mu4asz+K++Qf94+FgmWdDdVmmZ0Mksn9mRxS38/PlDNxh2T/acBEfo69M+s2hHdlic78FZIHtayUwVxRhfXTxazTY3LjrrzqOxrRNHlSTStUDN0IHDLEH+PHvHXsHSiZdSsRPSlTq4cBT7tRCQwDzVi6lDWPaNGykQk/1x0ueWQJho+Vraac0VP7HiYIWw3GZf82Pp6tYbhTFnqZXGy0CMhHYmXBPNTAaDAB5prrfLnfj9WycHccdeLcYFXIHSbgdF4xtY96GZdMvs+czyv1fdXiFxS/oE1GKkCcQBXjvfhMWN2/x0GsiZjqfUHrffbMqTT2TP+hr3hb9LumUAxjksbfirudnElMIFJY05Av0BGbtwMV655UaygRLN6z2kAcrVKvXBLA2NAsu3fAiNRWU6PFB4zmVVRyQMPZcYLECzb271l8RQpqmrtIE2/Y5qKStfV5QIi++JpgbAsXCxX1z0QsMghxovOLFRnXjZKJOY0FTjr9E7K6OOxxZEy2d2VS205R/sV/+TwvND3zS7lMt0lowE2UQirasWwwYKyFfd9UpLId+vX1nkii8IODxxeD33phkFUYGbOdL+4kJcUrnwzEz3IA8FxCcpE3JEUnQuQd2M3BkK8Dp6WJLZwCb/0XFTqFDTbtXO6cLq4gn3tPlXlNFcJZLbTIfHO6WBCrScIq1xjySobE4+hxMATQuaD1z/mEJQenBa+JcUVR9I6LYPxrDR2AhdmDOZ1V8Nhb2cHIfMFIuQzP9HoLVUsW759Z2admYOAcXmdsTAbVQiym0k270xKYCnmWzIN/E/VhN9l7yB5Vao12L7Cp8JTo9+fJm4RaHduSf9uPqNt9Ldow+8klqJG8NO74gyq5XZuF7TmHTWN/PR3SKVxkP+TvIU0fltoH0IX+NFwJtv2rPzvv9kY3r8XdnI2TzemUQ9SftcsTK9ewjiPtxMcd2Y2+QFaEj5MoQCDp1UZGvYGPJlx8ykaD4ZZjtwT37SXgfxCwoJm8hyHufccKD66os/Qx8w4+24cxK2Cb1Pwf1wGaa0bmVpBbyVg3uVUdVD+GsH+/GVYXkuhwD6zcrd8V3WNWwJMmozvTRcTIza/+rIOA3A78ON+MroietCsnvpkBThduh7Sc14kD2sOVDew7J++hD1NA/2/oRnbCFPj7gQSDkoE7e5KAZr7g+KXSHkSNE0ytAjW2o7g1aSu+T8vg6g9f/bjktj06mNxqddqV6dM80tKCX0D1No4wp4DmKnfZE9RANB6M8xcR31PkBkT/T0PQy5bNPblM5wc5l2we49nzq2iOpEIZ0RG9R97krKdnVzPI3iteII9fISnNZrraQmMYI6cOnb8lLiLk//mhchyDSQWD73/1++LRcZsnqP6VYQzO5xchjoO1CxfyduH3LzPF1+Al1ZY/HvKyQNpgQT4JD1CvtUy3FoHhgF4HhJDtvon/N6V9kBc1uLJS4ChxSHV+5L7fJIIXie2U8j0Hi221s71EMOJopjbV/B7n7qV3q6woADZmNSpBpQtJWvX0tuIMfq5rfNuMI7y8u0yt8SSXp5P+N/jeymXicqRFHwcFp4Hwh15NVRibKzjvmLHud/4OnwYB3vsGgxD6AiLcC3FEgYwg2kXHog0xbJKRrmU/Sb64VX7vRWrrWjD/S/Ppdr+ZQLDYN/t5zGHObdcyxT17p/oLVDwo8pzssjhfSRQf4nJY0MC/5OOeAXGZrxltfa6hw/+N21Neu6pLaByZ8AaleB85k8272kM3AZaeZqlR43S2v+9FBD8z0CAPdAHrQgJksfQjW/Uzr5GWYZ4qVEu5DTAgaI0ejr9U6geD5f4XgM2UNXoATKNuGGyioP20cQsJO/gOU4COeg0Em1Qxe4sIzTkcAUdZdqZ/CR1UuLM+4nqYaSfhzaZjJlGNN+YfLWhbOOxMKJ5Y3Y9mmKeykR6JZhUYGhfexkv4SY1ITOvQxRBHkQyi1GYk+kWbjZ0Fm4B+4DPvu/ZV8CnAa6dDOClQGPlno8YPXIv0Dz9k1aH1INUZskCACjeksVo5YiVFiyOxuwxnHWYMfAHnMPvSAMIcoK3NNjVhAoQAAgOuYHDFIfi7jfD/z0Ldj4qJwuh+kGo3XnemKaEZO9s9T+dwD7akyrdyUqOxM8+Jhlgv8AvAbFFg2813afuhbUHRnWppyFBs3ZLoT4OAxT0HhoqO63QzKjrTQrK7P4FMDa1th3yYm+opr2kVTuRFpGSFoc3waAXOqXH9bEJgxE3+tJvImD+zGOAMMbHkOlI4McFJe9Cb+JmMxpc7rLPs9ZfD7jW4gvGtn58KkU+y0C9VrOIVaBiIQVUv03kSadm8+VZMwoVmZzN13fz5G7w0rppXUsOkZgur8xV5XOdSqTHaODjbyZ7CCfOg2zh9k3cHzQj+6KvZbFY7LzvqA2BO3IskEZ7tmMiN3uWFs6RC08NrENPAH3yn+Jkvi2KsuROLLTIc6WndSw7mIztv8oaLlFSsmj4uIkAp1ufDBDREeQDtTRHE5P+p+N8pP1Qld/B3gBgTmfRK2d2Ycq7zH0O0kAZw4JQN7lSqAlvAhHu2Dbpbrf9FUcZ+aKjEDziJl0gHTvKtnVxmqHqvI4WCwIVin7Dn82wfAouOmWkW0j05XvsynocjoOo7sFMUkbfUOP3PBimVHIMaydA9GShdMCc8EWe5kTK0bl2VbUliWGogIogtu7TC8X14WkMqowezmAAJKK52Lfnk2JrDFaBHmrSX3jnN0yJNPE0N1bzGCqWj352t1gPpxEld9ddc07mfPH78ApcZJvMLccgGUTovH3V7KJP24U1d1YpWTyDjvPUfw7r5/1TMyVbUlMO52cmng9IyOsbfaJMhjdlrQHDd77Bcp8woysolmKGPCn3TcNsLvporVJMmmDSEh5r2l2Q8dAmtE2xemUhFfw7zA/MIwrf9onmNrv8DtdtQeuOcMh28ibu5YBdhHMDpdTEnNAd8gl81VqmxdmuhqVBxM8YsFzYbXH/k9gd2JlcOB8+OLTvEjprnWu4rd5KpJs7Gvw3yniZtI7v0Ke2AjCkpJdJBYqitQp3oPxxC91XmXXqZUfd5pY+crhSKNhPd8vy5JerREuo0y88YbofY8BZvm03nLRwaXGALKkG0lPNchAdNhrYm9nKwCdWSeGIebJmQ6D4H/dsZZ28Sp2C0MUdbqUy0NT1NzQFtsECtgnkGZU/j1RfX36525q81hri2is5eAC3k+l3tQL62NQvAf1WF2rb6K+aSLeiG8R1jKTDP71l+wS+8WODvtEYAKuppGDBYCvGl9KR5SnCQT6eA2Njamxk9NlchtMXKPQ731ksAFRaE9AvhI1LkTz9KtQCWJvihCX2o8P8WK56k9N6SKk2QORaPHb8flMS9dLtDxsNYK9kZYrEeRnoLe/d909blfAppfGei8tj+MefNDjWMIxJFmtOnKEFJbyBDbhXBRd2lwBBAZ21oRWsZAuDqr0XUD/0qPQA8SAuAYUzm+jaqdq+jHCX4jQdzjm6hkgOZyV+v0kglA1TNmNI6aJukpKIJNbECJN+ePyzz0J53W49AZ+2g4YdlFd9vnSMpw5jp3ij5k7xm/YLHy9jce0xyiOJKQ8pi5xXzIOYlULogC+wILsm6aU+wwNA3sxCDVc2+3z4cD2axQiUDUv+mYRPgsOgKJaaTj502m53v+5si4rUVGUekNlgbY12RPicIsa/WdS671adYJoq1IUafqrANmyXKvnBt2KEPzmQsefWs3Ukbg0AF2r+3rFJvhNzf8sqYrTio+sZO0ppHUQ88UAjLlo/TBj9ObJoMDthaUqQNy8Ct3RIr+d5zcrCgUJe9gIy3vZWVMpVz+aoJ+xCj985CORx4xqTfzEcPC1CPNex+GVfw8IRdFe0NS4UfadW6ujdZr2azFHWs63SsQHg46W7tpeccq8/VkDOKiAE/25K/bEKAp63tya68NoBCTOQD+XPYSvDibFEARKyQ9byVNM0pVuU5OMiXZNnRw8kFHPMlOgjocmERnjGt7XYtiD9Lhkaz7tin/GWAYBgBJV51pj+K1wRE5mN+pTL262pPRfHVFKL1dBWdi9m7jAf5aAXLf0UnQmMDzjtxnjFJjMVTyZ/gB/3stwcD8JLqCxKW9WZg5AsPRGETsONK0J8RchzvoTumBCDZvIThhIpP4D6bUae27dd7vOhWdrgdA52otn0hcrU5YYQW0T37ue8Ck+FxtF818IRZipmoFCJPgeySUgZ9RqrkRF/PhKjPFISvGVS4Yl9gz9Anr5bz6MNDZuMlvkwNAyBgQvXhPP5M6kpGkgwDr/Xbn/Ef4aIyEPCQuQ/aQroK78v/QvwfyiAhjd6UuuGuzexvcXRmybp7eR3FQWEXePBs6AMUVN506Q3TfqFqqRiPlJjBHoYF8/+ddYGO6fvOSoKQygfuUfEjzyIDdrWUfqWXo4fM47bRN+kB56E6tEjpAz1tFt7ux3KItNtVLsjilTaQEA+vXPmmCnYOk6ZBeiaAql4ftoVMMOWS/Jc+IofuUUvitthaFqGmw5scWdZYlD8JO/Sv8FdW20WD6PLok+kDasffUN9p+2UETTTvAHBixXB7pKegbxEUdgxzpoiNjfR3bPEP1+lHNJUwT21ONe4j4mcr/Q6f9HR1/qIqPAHUTvY/h143CW7NmlNPNOuPFuU3mp0iovlBw/nTkUAEHSodRE1FR2S+Qapdnpn/vp4RS8XsoX+fbvp1hIKG5Qc4G6gRDh8YW0wakEChq51w+kfPC3GRNyKiEit6Bd3AGKemY03Sh608kbx7Oy3ZHjNTrgzEzbJo2ED/JjpYbC2oMXtGxgBX4ukfEGZehi9USkuTuJY9w5tde5k7BI7SQCqucdo6iF325kipN4UaVfCfgH0B8iPDm1hgwh85ZJjBB5wfqN2pjsY4QpAjkEsPYC/4NOy7I+6CVsFdzFXiz+ZJGqSTjteUu145NRPwJ87Vtzwd85O1bKmTaoKk7U1LyM7UV/Djlb4xdEg7LflVKzrtsyrKh2lLcskVnls4u4coVDdn7zIgtUkOHuiAzNE1v75CUcGc4++zc+nq9MVVphQSDeilwxSjrZt2R7D/6FbZxNaa7R1scuzzBMy6I1JKZHMXNkHBvTJt3GdBvT61qtx5swSgjiMMWRepitvQjifq7BLOUdkvdgAtGCuYcnaPaozJ6xcerLfSIBkDb0IRGiV8kEL8+y/U+Z+qIh4E+6DqA+VTss2/8QoW7MVa8aPptZLbmF2z1s4HbvwwKvfKFUL16i3t5yCi62RYPy+tnoHIu1I07OrNTP1Dxi2yBfXs5BMtOcBQ5Qb5Q4tKTEcbjPvAI9yFsGGnmPikuWX5dM4zsEj29KaOYY5/SAumNzL8+ALd9gry9T0yYxOMvvOtQItb6o78e7OcVcgs50ReNDttHscaUHvJuZMPz19zQQ868ltBcilJ2vnpF80e07Elic5Z4rN0mfUZJNK4bIVqBKq5wlS+7eHcXt4aqxtYq/s/QKZHn1Jz4Z5Sb6Pbx+RPj2vtJVBeLly9TOus9yUuhTmzZYO1yjnyc2RI7ZBOh2P4LPmF20OKIqHEa641oHPzxqb1Cz0t1P7P7EDPF3yr9L23EwmGZojmWMxyYtXvcXmArJlyteuNI2COXYESJm7aRBEDqTO3IuGl5jV6flVivGMp4Z1sC+HJkziGqziEODgOBo0lSFk3uMJbkoUHR6dccKfnHWmSx9odpZeE/Us1K8trxpRnIJQTVR6yCgLCtJDvbo0p1AxjYdDs2XvrztYxxmPqgnkqkW5UNkkgp6zu+KlqI/k8YCY35wyfXDaeU6WMjM1oZvHMBpDJeAJ2KdeUubrHak9kYwVM83Ou+PF5/RcCvRyeDfKpwhUnY95E1DFBgup3LTaVTSJesoNmRY7PIs0c2lBvoXjLEMRzmY1Tpev405L/9sZCt3jwViT29JpKJ8Hb8oNkGZ5//5R6lldvVLY2ToNHPuTYKMmTBmKmGOHE74x/lRSgpqawyIiegA5DXoXTXvPgW4uAbHdzz9G8gVLbYmmAm9RT7gzevcKb9alExJFL595Cposk/FMeV6QIqNUuLph5pWswFDxCY1/9a/dNIiKyoyyRf+wsl/7rM65kjdrHPPhfGZwIJUnYRyyce+x+TXFjYg/bl3VehWwNKoOjM0Vja3V1kPx124jnCB2G6ruBn4I0SqpIoeGloEZ68pVZC0iC89I1bglbwyiS+xEbJ0/j7Stig9uQ5vcDEvIgq+mll84ejNFV5FUsdAigo8SsbY0dx0UKhdQhY/Xpw02ppUl3XjsU+ScoK3F8ey8BaN4ibdnsGtYJPqIEXbamWG5maGMrQsHqj1fZlg9jr/LcakyyT8U9/yt6xP124CTPbpcbaCxYWytvneG1/AnyN6fyYLlbwh6wtV//46uT+MPu0ggefpfUpUnBUoIl6vErhMdKwpLH3Hwk59hEXOkBjmw05IGwPUmOOEpQAF4c1ssdz1BcS3X+pZ59ONBs2HVwu84Z/P5Sg7Idlj2swM2/hal6Bg2LmCZ9e8wYqpu1hvzj99KyUb/uGbJRbw/BAqUmktQMcNRrGK0VJoHTYzlV1dMXQe7UL94L5Njx+EXpfIobBbmZZHRqkeJwvRX9fnpuYptMGJEml7XvtFOu0eqAOxGairmJ9+T5qn5eGg22gWGm8l782Hpm3eWLZdJv+pQCamMDN6uyABN46HqYFA+RmkUZ7S8oeazwi+a7HzqGqI3dQ9j4JGRTngap0mj9E+75eAJ5u9SH4mRmxoukkYVC7q7lnn0AC+NiaVNwEOx2azwGSlFvytfaZDDHaVyHjvNTGWi06kF1imxfyw0WYP8Y6J1fOuiK73YTX/1E0NrUVj65heUYegC2V54Hg01JUHEIeRSWnPkUddUg/Q+elXnwJoEk/iPYXY10m326ToIdADRHt+Wz0CWyTjpwz0EXsTE15P6l8dA9LESMAmnap2vWlQrPcksl1nXbIe6wDvziPbWSkXCpkC2/oxS2G57FQCI7qKOmHVyXjKS/fc5Tma38v4PAgx5wnLUYZCyfhmhqxYkChRlkfb7QTtysDwPEgwm6y9GG8V0SaN0EKXhyvjrnvucCoc9IoC7YnbZQWG97tbVq2NMLgZYsZlTccZxATf4mvhsNkM1BxHhK8RLUZ8MfpHFaGUViZj3q716CWmx9yKA8R5mvZzPrLLqD+3hK7UiUNDrNL4S6o5DQjUZMVGPyFDWFGZgfoyJhpe8QqmEkM3Eke+sowBRTzQSOnQUkFFgo57WD9qYy/FVm2aOsbl+XjgwDvvPnr6nmWnOWsPJolI1ZCBCGlHvosXr4dIRz/JrSg3/zu+kSL2ywCsDXuZFcCk3NKZatvtsV9kL0uxk363M2DUEob6ZuLYAzSjm6MJDT8qaoPtt2OQHmWjQ6+4ingiZ2YE/7QneTsVYZILh72bVZRsDZ5uw7C/tpmk1sAibq9EsEHK6S3lg7tfHyrk1mEx/XJfwEt1PmPXeDS3PnDjj4d3dUwARtFlWg5lB9IfkWSFNF5KOzSBOk8MgfCZ0OykNAdFxCRZGYqIzDZOp1luCDVF33e9P76wIhe2AUI5pvr/7GlSMq9yB+cEluLbhvgXhi32zTQRnPDpcIN6CTACIYqpwlCBWYwmi5Fgyom+4HuA1fF2mtbNmKTvCEPSxYCDpr1HuszKoKXeiH6jk8m629bsI/e+EmHTH5HUsdtagdNVokPv8hXbrPfYfBZSgU0MUAiMt1A15elm5pg3KzRQLIOMRSeJiIt/QyQtM+iC82OrnjKV119LAmtlTGDe1vXR+hNMDdYM612BVssUHJjWxpf4BC0kKqiJCKZIEYKEMYznZjuf1iaF6s6AbphNqOR55xEJUwSIrOxEf8h2K2FssoS4FpLu63Bel8XO6RG3GaAVrCLwUbI5nCzVxPGqwlU4zsdzKuzz7Zk9q+yFG/FFNVyRJiYPSoGUxHfO2RXJQAbotc/chHkFs560rlmSyxWEW77iyqnFsupEfbegARtls68lCSMMy3zR/AmSEN8638HaW2niuSTfq2NFqCrixojoJsuHuX2ZVbyy0AM1hkN95KKNHLbFGZI40gfMxqAmwixVVBhes8CEJFQjaHMSC/EgP2rPi9wxgRugYTISYlCpuZlZ1j093YXTwB19REcyCLagnkthZHVTYuDS0r0ZLyySVE2RnaKCt7fzV+F4/mpv84vthXiMnpOwjRUEiEGnDFaKhgVTcYgcXo4vOsbR9OpenEoLLXf7clYYJ8tHpdXhfEEc4PH3eO/AlT5wOOEDOoQa/Y0enbJFQl4VZk10eRNGiV5cMQWLzxcQiwsb9JOwKfw3MktfuZcOPp/M4/qr5nf3akmNLS4sFYvsUCgpF2DXw4zsz3rWbOcPrPRD2AbQXA267lc5yq6T9r19ZuMUbzqCGnO6qcuUOLu7TA1MvAEBz8V1JbYOqTKaLnQRtqu8lhH/IWRbdrlAK7GQmaPy3XqxsUcwfs0wRd0kQDdYfBTYg5DBTKCtnEo8GsBS7Nf1o3jc5+vmeL4nz3ar59SGSko9XEMzKje7SyUK7yJhWNA0xV8praXPjQhVCE83+PGl0zA8j9ON0wx1Q2CCvDUfXM9BEj7FoJOJL4zTqxSh9rvYhBtmMEuu/y6AmLR8B+bFnDYoGFmb+hS82LEMN8FmYc7Nmcxm+Efq1Bwb07hLq4FXkUQWPs6C3rt22zzVtsuXa3VinchOrZ+ykot8x1soEhk5ZaQ2WeNQINa3qAln+xJqgsNNdrEztcx/Ddv2pHadvhlCdY6Kb2tB9H61rtmk2ZPQQU6toojSQGQJGOg1nmaLmIfhlZ54lW0qMlOLwpcqU5EjQ+YRDrKVK+2V6YXNdmn4QGO/cKqdMUJuTLQTeefglJjZ6/A2a1Ef4AN2IpIkvR97K0TjQckPlmoUOTJALx5rdUqwi5YS6RCz9Lig0hWGT5AtuEBb249Ub9jCi9WWeFCrLxJERIhhUIyWpZ3mxW37tkkLVs+8sl5GAB7DQARkhmc9GTccXu3pAmSQhn46Ka/6xfWoJSWSnfw8gnBCRb99MA2qG9wf420r5CQ5CE4vAtQ31Aiqk2rgl+UmGZeTEx54QmVLmaMnCcigWibF1vIa13jfBhvatDQUUq7aSzhY1YdJw+ZDq+UvTW8O1/jjmcApgqVMjrAurdYOkhQCdAM29Irz0xtMcEuKAk5c6APVJiqL0xXltKwTBbjDbgcqp0ptp010XNBHEVvbaD1qNkg1zbg2Q21sssEekyM1e9OkUzGrhQfWFiJgFfi2BfGNZaD/UPpeUygYaFe/tOUYaOm1LdmKD9be+vZRGNLh+d6iMt5kA71BC3P0tFzUFFeVqPrZCGb1aZABtqloN2w9peowi7amyxHwF4hEVgOwFlK0W0P8WRljU5zzvCI+Bsfz+S+/qkPw/JOr3YwKju7fVGzk/cQ66GqrLXqdPlbOLZbocQZd9wIE9xu8MAnnfIQz5ZV9Z8BauznKEU04vulTyqPTRNxYH7cig+SRnk7kLdxKI8zIE0KzUncgua356QMd9813GpKvhOaMT6ZSrjRcXMFy36sydilhHv7BfOwmKZiwVCRIMxxtpfRjvo9acp/VqyeIpmJCLO28KoMBlC/Y24jvyaNfSuhw+bdZbrENfx0lGj9uqrUpwrBya8D+YXJjFnh/xezrsTTOYA9wHHDkQ4Xk70VrRl1L2s3a816KHyN9Y54C3PPdvIBb9ag3hJOdyuOx8QI42sBDITaO3Eyxk5jPOPTTRRgfh0AdkAXx548yzH/A/5K2iaQS/feTlKJPM/yj0qZq8H1y2FPA0/taiLQ4JQNBu9d2QqfhrcnI2qf3ZEmFOwKQfab6khoRM3BzLJkaTV48Qaw2VYvWIdRmjisPSMQnNcLaqIBb6D8KNHc/mVpcwwbfZ6V0/Xj0zSJjjCppXeusAwxVeQiSvUf13nCc2DsJfYZ7m+mN2r4A8brMdF6E3BQz9wf7oXo+K636tPoLoIx1S4irr/bTbY42F0UwrnJ4FKOmhYHBPf6rudPFftGocjyuNamVpaOJobEA2r8nnC40jlHLq19kGgoQK4cNS4m+X4u2De4v6JYZqlkW5+NDWcgA/crHOS1h6T7FJOKtTfPqJKhMZmrbJiFgOUlbB74I0//StiXkt6ASuVjyWaniMKdn0MeGu//U7FfD/iw+PmEpS+MCZWqAkKyCa62XUXE431Lsn1dTykRsqskon/qVrPy5TUkxMwqnBNWr6OmcR/Vff+CX0BWGTghEIRaWD2fMQkmnBJRP7whFhkawKg8pkKgWeOYRBIqTtT+YYtR7WnEnL0GuKxEnQB7x1BRWToxWrNtzHLGHwGlLpnQYuisdbz6nWNcO/xousLMj3vpD89lg5QGMO8SZq0cxC3E8vc/N/KywczwglaBpJn92K4GrOA7DvutQ5XM3RI0YRoMzxfT6jwarT5+W+GWTaGJukXsmQgXlNacuNTGjGbN/KplCE+EC+kv3dak4PlMuOT3hYl58CxAgmheQOUwFquyUnTaotaDs5lni9pzlKA+/l9R6+6jwo4bgCDuJQn3ZZl+zznQCKSzJubW0GUC1lAMxm9DGLDGLYf2CIRc2/zOte/HCdRpDMnpU5aEgTcW877n14MYV9cGoD1xw2XITh53NaxpaqGSNfl8iaebuk1fICeCDAiGPGdWjvTRyZGjsBAYUZbYKbmC87wjl/XdNxCJC/o2d9lOxjHSHPgtqyejfnI6TNUC4jFC/vMqyoDh6WSVSSEmyP0apPH4eyV0JYzSQGubkEqUogZxVDH1IXixELaVtxIYnxCPR52GNzX8pNIB9Lpg3xGkEw0DK+S7+X2CK5ZKzM8u/qk7Gr5Kv+VPRB0h0WA5wmGqOTUvyzb1xVLSmMGALfjItMsIOAJA4tdysXizbLbazMLnHsWJ0GzJTEwzoIwT+GvLnIdYzh7+ulKD3HMOTKxYqUmwy/eMHCXdeRCF7CeG2HCiYPOSFfsFq1cb+QPbEJEo5eYh8kZNGzxaq0mZ67fKxePvZuW88t7okdnVfQZKGrYlLFSwazTJjJNGjuu+X7R82wuNOIaSyrxq2Rt3c+b0Ci6AqBGHZMVbSLLdZYQuYmDgWNtn3nlFavdQ32tdeY9lZd+l2mr14DDTN/b8zctopBf9/XjSQGs8vYjKmCo+9krpvcpearC4ILzy6o2eFEkUOtH9uHy4yqr6W4WjLgFL8q/zMS+TuOBdXHwVL0ViACwRIsux6fITS16o9RLyrTf4nrBFUWdpko2ZIZvUnwrz3HppniQ3Kyb82Ut6pFgEaoY/3Et76ElLUd8WyLD+UmMcboExLyG0NlPmcaVR5lK56TgnTMyrwrjGMm+QQ2qXjRi3ngoqlmaevyMylwGP80uxCxEHkzvMDULh4XyRwLk/3OY6X96KjtOjl18ykHLbkGW2lVKK4j6SXzVoxWM56+OBcG+XWtEH9VOeBwA7cVT17WzDz2Dfbky6wXALhKjJ+OTDFkDF+tbYkgNCwD2HbGpKC/5cyTYnKE87YX0JDo7c8yfoRBc0nrrkcju3NkuMRE2qvJb6K1BNirnCao3vy2PBSXyvKS5hxxI2CqHTivtJnJ9LNUgNLL2zi0UXkoTiS1BiILibPjVnnwPe4lpXW0ohVazE+Cp+h/9VgBbmspbasy2L1jDsei501wmV7SmQAirsba/h600O4gQzjupXPHlHzCc43VFHKKJlEbhJ6h/ZG38CWEDOaawlqMsCLRAyDFq+zaX5rm5ZuflTI7x/YEKPkNfuJokc7pmpSq7qZBpUApMR127S2DFiGEuViFF4FIlf5z2NpoYNy/7FqeayeN7ioXWwCp19RKKWSM2gnErwTV0XmRUyu2qbb3IPneEsC/EnzOZfH6eo9aPOzVRYlzzQv5Rr3tNVzI8uW8Yb4qj3688tnflQOV6VEQd4uObRYmBMxDOr84CnaconIR9DxYLHgxY6+wl4c6RLweWIqaUK57DF64WzOUP7RsCaA0B9PqFczlOGmlv1zmyP7ccD7I3qcuGw/IAnH6NNaPINy7DmG5FOjkH8xTvpoZqG3PjPh06zL4Ls6LSSzWAo7/uAtenNVuzessT1ePQq0oPcbPw1KJnSZhZqMSzmquQtVPtNgDubBO29Ar6I9XcT+1mYRtJQ5CgC5+iqH/bwYwCb+jrfvdK5HQBWG9KHraPV7JwAvh7Yu/4aX1v7xUkAgKed+DxOtVFx1C2LgCSG/sw+N0u7O3fRrSkvagCVx4JdG5qyMhbuHrgBRNpkdRonEhxO4z8z9tgvvZd1hsgfkzOdZaV3UDsTr/MUEBmIMxgkH4C9iOZwcAiqYFsGBmyiTKeDQ3KUt2lk9trcYhAhcPEP96cPsHOib6UCNISIhjJX1SG9/i71Y3BrcywYeaL8xmiHc0Fdrl4564bFArIFDm1M9xkgJ0wVvNK0GEsIvZfvX3Nb8NAdKlVpgOk8pyTrT6WRh1Pbg0N17t06HfXE7nQ8CGKv/ERfOdRPCC0K7/+QKFzPcggoOu6SLqjMxs6BzRZi36/4pShSbn/3wWvbz9sjQkX20VdPperFIoNF13G3XnKw3Lxuno0raXzXxZz1ojNqmvYSNF5Jy8GAUEwRSAlOBMIphgDcIzcMJmn3C0VNOhFm5guVtXaArQF6//hdhY3EW3EI2/Cx0p1dJBnrylQJ5vMfXwTt4e1+WVD+1UqVBnKhkjlWbdSfGYuhIrK0BAOrqLK0WuSF1gXatPQb8Y6O1h7V5zeOnlcjGvCyGDCObxRHyM166wA7JzwH8N0rlrTOQt83yUevJ/pbAUOagyDzF42+sNUQfq0dDe0un2Iixbn75fELHl8X5HcrCs9IjPMkscZG7VIo4it/TORLvI9SjfJpmpvh1nGE6FtvJ6FS0i1jRulnEQ3RUeVOvEuUa/iWFJgzzOu7wqz4PIBEk3E5C9vwVpUhHsQYjdv5HBtOJvgI1z/ARovlEjAXNfjM5UHTPZb5f2OYOBk62tgVhdIjqggPeybz/FU5F3D3p2qNsddONPzLCmqnlzk0pq0B8rUVnhx4xVsZuVSShi8GIo7JLfmZsL/pJNzY8ifixuVrScIQBe3dEkxf3n4XHeHI+qnJcO3jiwCzPj9bIoF3k2xVfOsUpqISa16dsAAL1Q14LnCRCZlq89bHciG1OSqzAkBfx4yymAZDx7c4566FJpgmKAjz7hDXyeYgbNVW3Z1QDRqrnesIPJFFBkzd5nWBVMCs8Jchr4w5MFqJ0fnN8XYskGp1+CM5YNBznoj05eQOWRMiI8Y6fsevqr8/6w5ZajwWLeTSP985aunxy6Hq/eafkXuWSZ6PGAMh2TCN3P9VI+WY5XBWEa01qZbg8/NvWirxooEeNVKSc+jfCzvuMaLfEUmII+iEXrLa6N5hgYaAKkWQVTcaPBIUxdTLI9ArevtswG5gQiklie8aqej7bfvetmlyAlWnMmUfdLGrGAYMz2hppXIOmuNelDHkntdX2PIXxuDFU+388jFF/PzCIzv4V1sKGn4uu4fiyAWZqg4ARWyeyRgjEDOexOmMXpVSzbErUfBlENEh8ei4LOUPNJUsH7RrH7lGj8nds8aM4mhtV5Z94ZH/8fUHA/DM1ORxPKXnIZNpIvV04shvCmxjSoD3R3Dsw2agUpdaYrL6H+PzCRqeurDcu8UNtY6PJq0T/Jzj5Ydg3zUjG+HZ5r+OcNVBGL8HE2Ch90MYcB1M/gwiA0ONhJfE2Gn2NoMNzW8izZvnWan5F5Ci3wImUAhYCw1G3RduJWETqnXI/NNipnswJiKMBLzDcUz8rYrPeJdR8207J3DGRszp6GlkOoabIOzAl0DXcS1jkMblI5f1EZWeAcylWYzVzNzxBPRhISAz+MOJlevo1HoD4BAVgWLEW4rfl/ojlXq4xje1bwpsWi4E9lslKSweCKjMOAvxl3sO4lRBTWqi0FFWlpQgNXIS3hX2i+W7LUcU0gbt1LFhQ19A5cxuOTxauOUWobJHFb5hJrL0mCvCFvYar6Vfommzeb+GnL9MD+LTnemgX2Z/uVj7cbGrf38QNBAd/0rNyLnMrKwG5bWQ5mjsglUlYyW/wrD4U/bb3dSCu7LuxinPlq3tfIY+SRRQR7fOr3Yx2piyuOss4LD6Tlcb/X2CRa/+GFfb5OqNhyMKBZSJvQ1PKsUCulutoF+5GMrVFNoa6/PkhcRdXmQ4l8AZlnScusE/GK9WIHSQyx3JgIfvgIPflpU3ufIrBmJ+oM7W1Bg10M9UgnNxtI52yP8NvDJcg+FdbHZfRHUGZos8NOAhHFoDw5kg6NMOBPMAS1M81Xb3bZjl3O/cyvZMgGbgbqp4rOZJbZde0m877tcvx8eI/iZPhtxPUyv3ef9mwHz1YwIinPNqkbAPyUFzP6oc5GLZg3+EZW3470jqK3FA23Xs+9qVhZ1+rYFs2RTcpfDXkwGKy5ZMXzsKepXC0wmIydAa0iumbPK0bUMCGUAiuPWywYAApBDZwcRG1mxyLO/lM7XqOzRgoZcWkYUVdAQfPmS6dvI0FYOC1aetgg7K2/mfnhw1VD0y3MPElbwQ4cNZH9dggFN8zGEDbpGNMxuYnsAAxR2bLMydnc4jaMD/dMwF1UgNszDEphkQpFhR+LF7DUTFVP2C1VZvvwR5mqbCAMvdkPKe+EgT92zriLK7MJceU3dSKRI+WzCe2khJcz8mtHde1lEAkmrwE3ifiGAL4rUZHqkN5CYl/R31JtHwMlrS8supJYiyLts9SzUZRno2BFWJOD+oR6wuToK0A5z9uNUZIw5UWrZXlQ9Dp66jgkNtUcMaM9y+cHLscpAtEqNOm3sKb33NH7umGRffEh/nynDEQlhj9XcNycI8Cw1v2yP9krwRBAlGvPs4xEHtovWHPbjmYK4034BgKreRGLAnNsq8RdSNRiOb4fFV56G/ct75WMSdNGkbLCLYcpcwLEbHz+0r5WHrpM6fFHdL6uRXXED5U01nQgLTqjzxBQPVa+IrmPsaNo1qwguKoGp8pHtaj3k/LOuZFnTzuzKcYXBab2FXKAimsmXW00FesenHkeU1pk5yoAdtyZuRYWkD8pYCTLqzJ+JFlWqZ8ylUsawCvgI2rSXKG9KRFGQicVbM8304Lef2tPtUq+sUcwqdXL4agX+fizrKcJFG9m+STWAQl+BWTj7IuwV/HOMzMzf0uIOpGTmZO80VfkFceWQMwzf2tWYl48JUamA13biW/e5D7/Iv9fSgBhI/lgrR4kQFBxxEO9b8GhvVD7qKJWpXr+vKNooMA/RMhtt2fSQAuSzVGZGkAPSBGuSR9RoUuXEnk2x11WBopmPKH2yjmCtbmWInlYQFGL4i5FyWX84BBHhDLmG63iXdKynGKD/guRYsEsjZDBcjM/H++mPy3IaQnjLwtZLZKpSlH2oFP2xmx2tsVABoBCkKBi3c6deeeFuM+owWk55W3mTS0Ijo3BdP79q2/p1+gOgVSd3Qklbtq3vGq255IY9LL9B0oiE7Z/Pex0qv4KIU+msJ2AxcgUGdU24WWB/9r5gzQM3c/nES059smXpriY5tzojge4rJdoJ1rybbjfyS7yFCyXJ86yvyDh+5ykBXlopl8H50k/7BXOusMcsORQAoQ6lbeDMuUjJPF/LU5K5wXfxtaul/nPc13Xgsya4jgH/qO0R+v7FlAJ3zMhIIVvoVHhD/amvyz3YeuvHKQYsnWfshlMOLyKvGaA7dPIlUEm7kfTvh3pChzrU9jmVFtI0vDVd+2S/cW3tXkRgVYYPQBLmzPHZZFF5KXLTcBYujrXRAwALWobyRXVyW+PjJ+mhuP+aB/LKV8+Fk8Qy/k1w6vwMAIxjjtf5ALNlsNhQMKnG7AoWOI5sWTpt+mClFIHoQ1d3DwLgrvVCPBVaiZ5A4BPDJvsc7dKCRHlhKZTBbbJ6r4ipmdtFjPpiM3ZALNh8wNgXvM+/BpIUw6Zyx4aSJjXzDyNK04VsGn5/oPBO+WIHTSlpjX2pF0D+qbFOT4qemONIY5uNQ0j9eq6hKKaNJaH57SQpO7MSZXXOkiKPnH59qNWQEf6brmYVec52ee0d87qnxiqtz7q2ERPKg4LKXxVh7S64BIj2H/UqdV3omeHKOSRJHsiZtMtLoCyaQzN+PtU7Uz+O4q2iAFX7prZUYodxOsWfA++hr1qK48caKQmeFnFWL5FlPqSoTmSREPoTvJ4AHaSoiM047CEipgAKYL3cTVYfNMvcwGjLfYz47nBoFM25+djyx3M0xArJLWnwGjMwMEXtBbgnB5bH5rW2TDE/lviF4PF+Yw4vGMNNEooLwyNpNcmbI6KD0NuGM1GoseuoYcgrsCVYBFojO3FnWxM3QJOJh86HN8He8PeE2vjnL619xREgW6HgwXVTuAQRwtwyszjxUgvIV4Ttd93TWyaf3TwSrGKFc2rF3R3VFRoiKntKE27Fz5pyefZQEdnqsEKrubXUuLoz4yCFDzeJBFNuocoyx03xEFMRgEcnWM24TOLztS7+UoIHyLzKZrhww8FtW4M4ODGgjoygO27fWL8PQLrPc0UvOmtaiPLc04sTLQtLqQ1mXYVnmZyXp4/YqO9DSy9nf2KyMpxlpTZbXPI6If0qR6DyPDcGVHLIKArUutroC1LXhYaO4YKC0vs/xTlNMCt/Gs8hsZQ2qouLSSmOw7SDD0WUjIYUP57miE2JfLKbeazrzujd038LRVZhto0iOqRO9XPX1wOR5RjTrNz1y0sg1lDu7kHFTZRdi+hHhfx05Cprf0xGl+ZfWYxrJx8mXhH/y3FbP7sQwX+qfDoOBsIpvFVZMzaVSuW6VtIJ0ppfy/idEdGuyHIVbdR0+OTzwu938UBC7AOvzuO/PzST/vBs4HzgKhms1p1Rp/I+X1U5w3urzulSaK4HylOzWIhPdPf9JO+CLtqR3G9PUworbXwMpvpEqYP5Di37zKBnwoFF8YY2m9E3MX9aVTI2cq4betDVGwr9TbDQwZkG/v/dfVHetcOfDxiKnvikl5HS4tt+GaS1HkkLvXt4PhYjzgg30vik/J3uXD3ZTAuaS4e3THuwxNbDzpx/5X67aVYFGZGU299q9SfPn3j8OSnEGVBOc1Gf0rLTvxSwodwZfZEOb6iKPTZniqzg1XilUq0caIyaoEIVzOnLsos2T920Zwv4bfR7KBW8fxAhTH0WRiYLzrvjgEx7iH+1xotDC/2M3X89SpoxgwHBtU5CDWX+VzH7dtZ/dywbVdd/bOvTiT1EnLhjfM95isj3rDTmBu7/r6jddfBh4bs3f2s9nm4A8abhfXBl+y+6IGXDf9NSmdkkM1BhiBn7gArDDUVmcFRcyTFnXVh93zPOo1Dcw9AoKSuO4dZIiy66DCv4bQ/WKtc5aoyqVGvaiWkOiUBtpQRbBBKwEW30XPgy72fyD8f1hN5/9wwXSMceEMgnkgBLYa+mJyWUIGbAn1lU3xrgw5xCweWiPAGXWhpRr8quIV193FGCgvK5esT2sZpkAZJuhfFGKwC1yprl3Z9usLbEDNY2qCjeDy+Beel/ZNWgJQxeGk5qhnQnby/ReIMbUjCRlti2SabiL7OsEYvAM/rVkIE9mSUqiA6Klx5ZFzGFEbKjT/d/3JjopRdbjQmCLZfLaIZVobUKp2asLWxLoWr2Zt7lc6q4ReTT6odavlyfK8BZMbGwTel+u84pV+gG7+glu3xqTaPy6XOR3VkT9d5ZkvaTqFHygHk/yXEZMJrSHd20zR5zMDJtZf8mp9ZdQ+QJwFheRzK4YE5lhEopiqg4wVXgdaHPiiek2uKS9OcnQjjf+y90Yf3BK9EFkj2OGG10C754wt80OzbfQPXUV7naCWJUC0uvEGnYXtLyVYgptwtqfZeM7DvK1AqaAKCIccCO6H4aRWVHcgkMVON5cpqZ9KgC+H8Kc3hOOJHVc24b72QQzg75oXzUpVwEdpZBDXHHfmX2nc8qPnEttQ026RVuSNo6s8jkviIiP/6JWMo0UnY4srlyBp4ROGjXkOR86Id8bI0Yh9JW6yyIlXbz7u2dcWezjnchWuFaYDU2CE9iRWmkN5ViMMeBvQ9b447kBucXAzvL9HADL7YD5QdSiqUqhxnYDc4OhDPu0nKZMBptZAfGSpSUsp9TVWfwwcFTdsUgfcHsmE4GukXYlEGf3ad1KpB6nI5uJorA5N1A4AGOr668auYX1dBD5WModAZEG7nQz7oqhdjRES9z1Oh5U5oVzZHF3ik02toww57is6kB5j8pYgePjx1n6TUXCc3CIhMa0cFLas0CN+YJF6YblKNlJc5gjvuH+/Au1dlcPafDquF8TgmdynxkWmt+wuARzoqi+rTB7+RWF3/G2Hp2CyamjD/nB232fWMJPaHaQVc21UNBEGDsqWvxzlRe4rXvOLazjFSWtdysrXt0DaRcuYKPZHtTSv7kwnjBdRzCiSwDQKuzTWhx1Je6+HZsi2f3YqpfTva6q2kTD+5X1ys5wC35VoY4zGox4U1+EKwWuAiCLJePa966edzGB3l1d3aM1pWkK2bH04GrGrHhhqWw6qJhhtOS7ZsQ5wqtuyHAo7XtDV8C5r88TrTjGjhZYn2HNmzBw0euUzOtNc8Zsgu2wfF3HNeM19wweJqj07ak4h0LZKKfgINagI2rxVZVffbBLHiwV/Mem3Lw4BcL/ex3KWEm6bO6KrBPcGvMzrt2ZZEgSF7aVXvItG078SsCrYeTXRDiWhME3YxzzxC+27oRRan93NOuCZZVgIJRqqbe15fDXcKU5EtuOTIIlVPLjuhQQz6ZF24X+vQhQZJODIOf4vps70CoojXp5j63hVZGmA3hb8aAx2WItgBhXFLRHNPM+FLDIm5/vA+ZCwBTTkHvz2kB6cPJqo/U39IBkZ0f+k8VDhbDSengsFwiFwKukB6yvg4SPdCr392VWOG7tJ1iSfssUPwUwEO1v+3AiwV94di/xHaW860ljOH+bZo2VjA9M/ztX8gtlsyCyYH/K9j0bVbb74iMmfU4acVajEY5xcCzH8o+ORNtQAS29v/KdSoNdyn1SbZCbp6lnBneq3OzjWRHr3sMMdE+GX5O5TV99V7ecsXjSDgwXjamsyBXFhd1k90aJeBifcEq+Qq/mlHSPfjunVlyCz9+wGbzEqJL4nUe5T8r0rQtrHeMQiYZBbRe9yDQTZ76SCN/9cuVCqIKpSm/abWDpeeM73jrbX6BjscjRpyJ0Jw+X4xwrVDpdWF7HNHCzMvdvWhQoK1QO3wVZFmH378hqXgBpIs2VhUTYyT//pH3I+09ic681dUFhz4FB4rOxKk2Jav6oBOWXbps8taDV8a9OGZ+S7x67T6vK5tU8dy1DrYxXDaZ2VpLyiKTNE+KhTjvLCUXNxXeCmkc/rmFln/+2724RfMMg7MvCv/M5jDGAgQVRycclGISQMEmN7AteBcUpkVGa55S8P8JBbjmovy13nVY/KYGsdqOssHF6W6iQa/7ZUxQEX27p/pPJqUaYbG/z2WXIL0X2+35QLj3lPm9F2iUHBq4d5kkrvNKhuTALX1UwqAlZCcNcclyJSRhDL2tVtcbekXrX7aWRwIMdGR1e01yaD/c7Q/WVweqpU5e46GE/Iff/jWdasvROWRZRKGatizxQ8ITxuDp5BaFPOucYOatJRNgWOqMRBgruQ2bAIqv1frKbgmrqbJxOdSjjy92CHol6RVZnJ9hzTaVH9PqmXknOHjW/eLb9x13Y0Hckrl/GxIX/gKQ45h3Dp1kAKhWdSZyUNSOo8pOUn7ZTN1DE2ev8x5lTLreiX/vpuTYVYA7c5eXb+3huhLgw2o0B6fZUg0Gj4osqGbQcZeNnbamomey6rLrXhGZs1gDUAdUAcn4QcUqArk7gB8mjj0LiGVgKDo873y6rUd+6iWsB9PgAaZTYzTQXrCcsLkaiGhg8cqSrChW954sud+mbe7y7LDqL8K+uVlECzH/BJT9t8AYOBeswTDiN4UYsGYafQXG7PWUYsGI5EBBl4/IGkhLGZ5LsFD41JSLyyUBvNX3JeHQa6GSQs8GnZlTZcojWntdKM8XlVCetbzH3IGMeIXLPxE1ODmw1cgkd6WzBcjEJI78UVf59gdkT0kPkE/aKWgaPsoYZGspXztPwnJzxEIuYWiAFst5e4hMcwxd2ILSlDUxRSjBwFAPtajHsC+5yhX8w4/To+bPhgBOF5AmP/qIpc4yCvK23QdusHWpB2FfLlVrZu79rBOgY9nl4jKIhywrAI5qAg54lAHV3RaU6ZOaIoq3qX7ULCCL+XtIf0Kp59okKDqAmTXoDPMTx7uW5UQpyYth05Za1gw8e/sdKm581+BGmrK+fSj7TGJGoD3qMAPyZ1DUdA22qbZHFAs7+g4krwG3Q7GcxajfRfPP5m0bL226Yk9d+XM7FbIov7oMC3iP2RbRRJ0DjMQ6gBdcFL5Q+T84QeMg2LwBx1+H4AdMV2vm6rNqdX3N7+8HOKVFqylqwNQncZ5WJEy+K8RFmBCOLkwO2ZewTIPoLfvGoa2uGhBddqPfLUXQfb1HBw4kUpCaMHDVUHljWPOWKs9qzy6f52Z94I1CzHyCuYR5AD7PSwq6BICHPg+GRDKb3eMH5rfPhN0sxmjUSgs+bS19nqa1/auj6Y2ZgWzNI+2aeRWIG5L3HZb3akt24i7ZA//PMCh3cePxxYOkLKsgl73c+hk9rukHqKsXOufTmXmjH0QkRo79KM7FD3VljCxJCuw2y07tMBErFcDtSL9LuvdTgX7AWwQWMMv788MywPLwMw9PmW5iEXnVmSv3qHNX66Ay3SmioO5obIq3GRcam5GmRGssIjkp699sKTQRtB+IwJKxZeghEh2sc37pS3mCAKX6oR6V0gfMrVSTMUfoA8v2bGadwFZssaqyA1WUayjYuxW4eUjZpfcQksWAk+2BNCQp/xHiuW3ftBzPKH2xaoFbVmps1CWReLulZfZCel1ZN6Ipi5CTjtz1mDAZObo28GLOTjoVdDDjRkE4/kNN5EDTF3tHqq6Ph7goVA8cU5bCc3LNR5l2tcfvEd3e7ubdb6ybRKUc7PGYUP7bNZEv8TvSDUq+zxBaFVhUGFyI0F963ubMpGOwn6vBJMhguroo4+u228iIs3KRw3Ro8TcguRiNkM7hp9WmvadvShxLT/xZVO8dHJPsMX8+nN43BpREF1XR3HhY22rED7GhsIkF7PFZkSg3zlLCFFamnv61vSXT0BwPs362HjA7uHsByGZHMVoTTnil231U0zfq90YTuu+OfppWj1fqNAUQFp9cWgVhnIey/CrWjig1xL02QYlAgn83RVdzm1vGd1mQxl5q76Yw2/VNDYuwfKvhGpamsRzdQunxIRv0bhlQmVYKtqXGe9tz5+8U6XZ/d2yUs1yD1eH8PSiJ65uXhJWu5rR1gmhXk6xEFhUJ2UmjTELxrAdiara9yrf3Ae581EQtohv3N65iy+L6fWlR4ZcONOZlivdGuhfdJjYOVwfpHTyxUOB3WBAYSS99zmdBj9IYkgch/8ddvnlkbpLorC5qCjnV6i1Zvaxf44fTfWAyyJyluAHc5aQUC7tbIyl9heEsvVaJGxizDd6YxBi8nAwEjRBnzIozizec7vKeSSoNSHpFDM2/ZrNlXfQDYlUB05BLSpTSSaxRGPVrMDj/azpAI3WIua7TyeedhmAJ5v2AJ76TWzAT8fVuePqhLemLFGVApt2Pe/Ecbln8+G93ewHAM21z+rz+wMvNeK2v2qHmZ9uu1JaNJGvdwhCvz1CWo/4LA9/U9Hfnkk5UNvy0LnuLFal8nEvJ1ZRJqnvaa8DC5LmAJEy+IaaVhNI7pFMVlj1iLbm9k8kWQq2nIrKkwDVcZNQv4VCzFCWq9ExrhUyyjjhu3MBsqpOQDLwBiHFTwZ83a8e5Vlh+USjuzD96+ytLOGBeQISIa0NmJpHIWn7BVs/1b227zVGScUc7yBhEeJg0zILac0J5smdA5GwMHSTaEpxhHvkvCiZw7ictXa/uyEXpMi1BYVECY5hUFt+ym0j91QaNAzOSCx2tkQkzVqUnO8ofcvpK8YvWPtidfVDEjuLq2vEtsj/UK2dD8GjRQpzi6dhZH5zV399jx64xVCf9aGaWPt3t4D3FPX+7I5BhpvcaRmI0kHYg1QkJRenlw2g2SStvQw7p1Nks7x4JZ40MREha+DBcV4s1qRv8QbnDkbyzJEJ+7JDHz7RC9225llL+KlTpA0yEXoMu68BMApKt5AtXz7X1nzD2SxCDQELJUC6oIrV6HU7eC7IV8XbWeFun85UnNro3E9exdGI4yw3gZftu8ov0SUslUPxa2TtCuVa2GhZZ5WKEZ4Z7aVbkRJSy2Jma6Bb1xg5HeYyZ1Ip7vI1dUntzOzTTAIuH0pOsVpKjUt2Xm8f2k+iu23PEPSDa0PHaXsvtMMcXrnCU9jvuE0q8UkrW+AqOeU0b+QWwRP5kEWKckRehv2hqG5T+QdwXpC20suC7MQ/4kJZHKNHT53nK31hKU2fk3g6pZcfWwuJkuxSBtjgiPKZZKjqFFG8mFIW8tlAa1GIr2WtZuSe4eiWOOrgrDF2xXMIcbK9P+wpy+InlfxPL5/D9PDPtIL1w7T5c/Rg93WUQYbHb+b1iANZp7xPd703GTdUaFuCEATo60Ect84dJyTvqnJzXbHWPnHg9bjsBuxTdRsEilFi50AE+Zf2L1vUur15NxBVW/tdQBPsZSgZyGQXsYbTIHsUEvnAwnn4zpC3j15rg43GTbLbjWfM60PMa1KSLGXxmGogUlgsDK8EW+m9qE7JudjZzZeiaGzmn7GSF2kK7zTQ1CFXWoeG2wV0SlXvhxS7MfiE+/WmfkjweqDBkjpgq42I9lc+jJeMNjPzMUqzRUmoG2oLL8P9bljVkmBfVRlYj+YFWCJfEoSxJXHrpJSkfg7PBg2W6c1N3fOsKr3ajX/FaQJUPce+z4d7yWy8o7dSLwoqPDlWcS29HRqz1xMlU3dQD2M617fpux0J0xzP11mddSGUcKBXB8Xz10yk0El/7S0Ikluklj3bf52rK6xqSwLU6R+y1fZX3EEtz9nl0c1xtEfKw7mHphtbmoi2iqRVyuLCwhRb2BiL9/uELtzZq6fAqFZWXowQCUjoWezkgGxkeW2UoxFTeK4SbQgPSI05Fzy9t9nFVtMB+DJc8wojHzvR5+JSmOMxxrzrZIyZoRrxYGmDsrEO3f5mReUZ1GeCPmVYdpPvn1DRxJj4wbgaCc7nnSy1mQ2Yc0u9LnlL8Stn9tUrsyTY6hisFC6nwa+npkjrhWTpZwVdKZPTLL0OOUsclJI1LqnIu8EzAnoJXgLtFUEedD60XS1+ihQSNsWt1l5JIQf5ipT/k0HzEamvpJjMUAkoH8fGL8sWiK79pXv8xDG1KQJtR6H8EKsv5qhyP7pzoustWovseWjIMk4989HoQpfGv3xQmjkF2gq2eMjlA+BBHKyXZkvJmyNReWSoclbSgubrmQNZPfKoAHlT1OEoyNmvb7+WA2EssT/EPoScXJaZ3a/P3a+ciqFqs2Nou3zBQpOgjxgQ9mM7HfCrm4sbcqamGKI4QWn31mRIXL6zfBrob1E7kXXKUJSlh6wBfxFKNQ7TMvhMs39EoXxJBAr1Un+cTVsZpLumriRz/cYsawWQ0YdB6+ednOcHjqubMzVbFh1imGVpZG/7Uo7JFFiPyaw8zHdIkt18h25WV7Mheh8ogxt11OUpM1W1RSfltyc5sKKk2glXQzaQFPjkZGRtnrwapHyq89/lCCQibiOwbdspdbGaPoObss2RYkFsEawUhIrd4j4rRxTnElaZNU3Qhzv/Nlmt2odFi5NO4et3vxItt0xNwrF20iA4ZIj/HbkIy7+nQy0fpuR2SodYUTl2uqn1jHHkIFpDCv3PqI3m4qPrCf3NXwheFjPZUqDeqQ89uVIN2d3wnigvJZj6hQUHy95Wu0PjDBrlfJiX2Di2MWzDk6Bof4UhPyRw/P9orSXaA9h8+/ar0xKF1TbxYgL6J40m372bJUyheTYj3JG/ouF7WjjknYb3AUrnvf/HTCWuSAZLwmxW8+PU2eRBbUZNpzPphZhBUrLnTd1KHwUVM4q38rrAqudQlXsVhTrlzq1wQg4s5HOI0v2gChk7njdAGeUn1sXKLTdqhJf/iDVT/uYml4zvGICM7jwXe1KGe4rRBJwRUOobc14Z73nQHhQpXVDxtKhyuOAQ93jLnmMau1kNWjCcbzX7eayMQumgdIkqCo9vmdU/eb2F9V2CnPlrrEjwzQzhG7BPaD1OaYeAy99X+mVDXIrzZekss/PdPC/obJK84llprsUZuvA98j0ua+2OzvExKAO1h1fP0MvbeO/uKmv9j8mx6UcpVZCYiqPyS8PYHIsgwG4eYbEFLlNNc1EXwuRP+PUTnXQj6eGztAfH3xprv4kmWqZT54r0zc6Jnlv5l4MhRChddsHCnDBPQ/IHgFTueS/3vEwOHa3cZ9V8xKgUBq4dEOmYdvUWg1GpATvlQJhR2s4WnmhYjPa1LVf6FJ8B+OpjJMsXYpVoNCzqMC6v4KDb58P/gv8P604zo+gdBJZHAk5O/hSdV1P7JtIGJTnG/yA0VBJazFYgUon8NUw7inJzkhK1YDZgPHR7Wr4VNeywWYJfk/xRiDXxwJkaTDm2wZoCReUjt+cXhQWa+3MXkX8SNyqUg2WqW2obqrFSCNz4jz0GYaV0Hr4oo9vj/9DDk6GdLzwNFH4X3s0e/HG7zNQsEyFQzjBzTTAZUQJZ8I4P5lsBU/02tpAEf53mD/Ooihep7Pc6A8HsmZQBQL5iU2tgiL86mm0JusF067P7jERpp30MG2BA1mW2lVNKu+JgCYgoAIYOPUhhRE6zWmukPR7QhrXqS4cVV6JxJbuDzJP/aTUMwiA1q7tLF5EN6x2KtlDcCVqx7uaKRLKFcJoUP/HW4YrTCJpK3wosMabZCZlkyMARJC82VTmhvCBC+hrY294Uwk+Eg/nFE79L9/JX4Z3t9gHdDImamosbRZMr+7RAVmDSXeZZzOI5XH00AB7FFi+pq7ER5Fq5qSjZDgnadqWpRcZBErg81JOj5dypx5/erpH1iLVTXCVaP/J55MQJrJkFF5AKh2SPoh+faS5kkRZzgox7lWqV98M0Vc3S9R+OdlkAHzmQdpguDFTjByvnpvXgwRw3gZYqGvY/X+JC3x/j5413PPJpk3dy2kGT9xoeLL/uuYMlAFkWmG0SbHQMoO9uVnQOEZjaCIoGEvJLoSDKneF5kDnAnLnZlTFMoDahVoBgu+gJWz5Zyu3nCOei9sF67ojlkyebunC2S4RXv+wR+H/FCrahKCmysTDmM6Ht5J3/qB8904JAudEnP+/lEHf01VwtUsEcwEsGz55m7SMvAbt/yG9u49vpyijdVmKpf3ZLFLhRvG54F8t+uyv776BA/bm1C1Wer/BoYbraiq5nwW+LhDw53eQRwSvp0Vd5Dur4SNb4DpSP+FoJhYRQX6c/WeplEZ6qOB1uERZMb0J77rnUZFdXQpSPvTeomnJqJJgSaM4EvDRRJRtY7b2v+LVV7k6iMpyLe8IhtJisqqzcJkSxEzrygNj2Fm0Lc35gnFv5SY7MGnABzxc9n4ZU/Bj50zHLUVtkYrINbm7N+Vh/iWPBgb/CKNLAEWC+1GxqLHCzU/bJ9t3m+gL8du4cEmG3uPLk0q+F+bbu0kaoDFpFXx1fcfa0syYAyukdpBeBl4xiRcuvwHen9iQu2sBwzees+qOBzqtRXM4H9zDoNMrZ4okSOP8jdkccVHSxI1fUJocciKp/YoIVC5YmATIzOHcNy13ukdOCpKeQo9aeugx+aJnJ9fBf3p7P9mO0I6tgQ21OwseDU5Gc1bB2xLXCWRn2y5tWu27X6p07gbzRZaWJSSSy90d6pwhGlH7MANaXCW6ZWrhbzAku0+XV2VZPaBop97htF3SmukUFeAihCU4YkdZA+vbr42P+TWW3q/DpxJhioIFnPFO1j1+34Hr75xnsp5Glf9km7KQBN64tl17lNcaflpNchWReWf5ddEL4MESpeg12VDqqF/PJ72FX+vnZzTkt/pBZBQkxUtoDBgu+nYm0vTmhnTqkjps87GkhpoR3IFNaEPwmxQYIoLhNYVaFg67nFxW+7rtwxpWogH1bU7JquhVyOqvvMy+qbXKPJKVaFJDiCFF4V/CwUTwe/VENCXZO0R7OAsvSCvBj3zZVEFnQBf3sG9HFSBQVpPP8DnoG1exw8CbGwE/tfCmiOe5rs420LlwnVzsH3gvTbi7riw2loAe1E186nv0hnc/dKdQSAguZuPWjm88wfuU8UbEFbs/i0K1lINmvnQRCuWp0dSLOMJpyWPvsHWAgis1W7cVmCYbwM8OK4FsbHEYtVntb3UtgqScI6XakZmcZcfGifl7S+f7uiLozTPgtIqEzY/skdeXUoHviAsB6FJB5MkYkITOD5ktBuDejie2BOJfRcVytPHJr0yQtqevhGz8gDTtCR8qzagWdck6DmTy6jAhMYGXtXD6mvO46RYvdSud0pxLugJTYUBJ3WhLqI5hJDA7IzzkZWcctkbZqSS1chWTMAoHTz7DRTYNvq1e/5211L4jTdpQI7xOicceiyvltPsHnplY12LUYSkjGZP+kQQFHDHJQ6eQ+eH4rGre+ySJ/5grfScZRHsSr+9K1nfk993oBKMo24IgyJZpX0F4NJneX50FsKdxjNyTyyWerCxa/xZa2QvdPUjbpUGmPybnra2XJGS5CZhx6xSJVxQctVxgyyMr2ghOoLmrYTNHm5NsD+G4038jvBiLWHHfnn+0MegWwKbco7qThtohRR+KHPSFzFzixBFZP1koLpKYteYV6+KdWQTtV2IlIHUTe8r0rMzU32lcmxZvFo12pdi9TPcJ8Rg96pqWj54yp7Tk3CChZASzPmGImZ7ko64vpKsP8bIJ9GX0zAs1h/kFMzfgMW8iqyEONctD++YYrN/S1qPsnRlUYaxtlGaf/ErsiP0WR8HIqAqy8WnMgdj2wEcqmFERoL2IiePZmpKAncbPU5/l/w+WD2onqHGsmchTeL2B+wRpXpWLz92dKe1ntXXybi20SVAJIjrx1LRjMzvFh7ZeOu3okZE2W040TQbzK23ropWeUJmKhMfSCNeWrTmT5/ujb07t0lzIsChzlZKdo7ujFI6c4dAOx0+B4Q8mBEtTfRNaO0J8g5pmlxNnECt1zgK3IJjOddNLlRBLYwfpjpblOTET8xtLLEZyUtf55IOzsG+L1suptkl8EaDZdBDrJKxvqBd3DNRkLvtb5di27Q4aO3/xlH/5CGGzELjjaUSIg2z1JqrX4cP9GklYyDdagewiqW8jNvj4Bw8VJXvGP/1MwfkptMN/1t/IJ221clOh8IPmyywZ42EDqGmFDrLUqMhGcDQN5LmYvCWWOi3HzJD54gYDYwWXJlu9xyCH7o1deUckVgkZLiU07rMoBkXKSeMahOZGlTxThI2QK047JsDChL5QrYxAzMVSi19IxzR0VpAzSbe0EwrI/JDmxsvCO3kp2ofiJHjRjIX0ywwss97jJZ1XrSmmzqkYI14zTNSSnFWl2LDR20+jjCX6CpyVkN7lawtZ/Pcrxsak5/fElhIjfi88PRyEUyN5YF3URNGAVXJoy5qlnB6Xp0y1gyqecPaUqh8iNBMvo1ZNGYQUdfFDnHh2WrYWVHrk/zQaRlGjh8sNArA8+oPk7QbUSXCVDzgeqQsY9LGOjcbA4Tm+TfDDe93Fnxs+xBmVJHZwh4kZUu3GdiRA4rmSX6bbroRDB3ts1f0za8DX1zrhtbanXezvV4KBArMDnVZAwDCyMU9qLHKnsJfWSflASBPLgIL2yGr0urF9+E2zecGJgM8K41jWyO+TenobWeJIuE4Rm/2C7SJAkn/QTB2BnsrtyHJdAGmXLqoA5fUyE2RJ4rXOZLyMJRyNeuz8t4XDALFPDE4131DqUZvdJJky6OmC/7s1dvDmlVEOUtMAEAEbZgPZ1/e20/6MJMsavD/l0f2V2SdSmpuySnL5Vcl45+HkGpNKzpn7ECsbnCVGY9EnofSK8+KBfdccgiNj2g6g7w+p4kMn5tDkrZV2F6BbPIq2Ullt4WM+zyEOD+7mQ1Llg1Ep/Me6TIWvIc+uFZCZGKpp1/H43LL03Y4O9zQfZhR3PYHdMYH9hShZK1uu2q5GaBCBGu0YJO15UL5Gdqjbz7q0oUXW7jl4IohWgLzalxnCq9nYA+hSsp1aglRmz1qEfqljAT4+P8wIbPbzGmUzGBlmpandAfBlAgjtdEPye3NEe8pBUW9rsJiPEsriisJh6JhtdmHZW+Um4HHgcRZxuU2Dw3Z5Yjva+0p/G4gaNMKY9ymRYfzNlryEt1o2e8PifJ3Bm/u1E2oUT9isbxwIQqNERWFhIlPMKG01E0GV6OOEi/OPbv7KIzEHwig5y7LROvu5uWpTEDSQhbPaZ204+jIsfTGQ5SAj3+zdACVOcYz7otVFxLtVdyQUPuA5GUC5tibcdX0DJ/VJ22MmDn/Mq7DlucaMG80yyNebiN+s+s8Bxc5UwT9HQNXHRpFTjntjJ3I4jOQcZijJ4fZIezbOj2lz1X19f1mSgKHRBt7mj0JAHg7pxIRUBmZo4jMrdXqCzfcm/NIoHAaV00JZzKjC8tJnKmNxbklE8Ue+3oOh8tUgJSrAv/FFlanGj6CzcTI2h21x9wpDzX8uKk5Hm/3cvgx4bPxJpVwAxtXzxPhggivvRfxPbignyFx2XiUj8XJ+jYCtATRz5DHmKSSbkXD5pMrFgTF5NUkAuRhuLmhPefhbEygo4nxsGulZh/xXcI5sZbwvQuk2ZYtmR2JUSlUHmFk2x5fDpxtDsihazbKb7l6hQKX/F1QX/76LF3IzMiaPlt13FAWH+Xlel9T/MuKVVypWi1E6upWspj7Y1jat90NnL9ufirg+LBVMJ9/uqsS2eozpHzzxK2W/8NQHbQdA8H7aYIXp5bqOqyKjxWPRIMxV7m9OZx+SeSMpLgiGHV2uMrXedttiMnnjkgfJcu3P3jU2eeanTg9RK+nNS3lJH+bgPQk9rNe0z209IMZ6IGclboLm1JjTANIX2GGwbQZLa533C5O62QVfT7XEG86khLZGFiJ1S1TCpz8dOQxbGHzNBxJBJUImzwO1j32QHdS/7RhP7kWb42aRFlZnjqE1+XXGl8HNbCvZFOtJ3Zupcx7D2WHuPiDJkKRfg2izujvFLkGe+14Bd5MvSCjDQ5vkPu3Y15rBd4uPLVZtRJfDFUUGIkwirprp9D0+RK6Zs+lmtlPf0VUYBn+sn8abGWxkBsxXu8VVBz9hWF3XfnZQ7Z5GpZguVvE4RicJ/AI028oTxpblpdh1WuX/FHmeeGgbdf+HxHBWovlrKVvyy2ilBhq9qUYDqC/b0KiicfBpLJDdra6zoYtLjoq3d03odihEGXRk16F0PHjfFIUsaey+DE5XlZ3Nv9DwANaU8F6l3nekJS4oND2WM3O1WFzHhV7Ko6Qafd35sqOxOcvAzg9hgMuYYTH/hSU6x49BVppjhV/W0kxF3EdHxXHLUdYWAtKl8D5JSn8aoFvM1T35lWev+B0SxnCGIPRMMGsGfrImi2+4rg6qJ9B4o1y0NYggwZvTrWP1C56PqtgWG4LZqUohUjrcTYzjtBEIy+2WJQqbrr2wTR7QCQ0VJ6x1TG7T/tM6rQ3nIJhuK3TNLtyZvcbykHIR7fG4e2z6/CcXUbd7lj6ZZl9lyH3KbM1e1UMwhAzORJwss/iqORg+S1xwa/MTDZGbnx5qJGE2mLvPXOaNYKemqQCbeeNaEvS6lZMfEbv/ugisIiaASdsp0qH6cv/7xFdtorwQd4QbgCnEg6P2qJarCPhcAKeDH8sMYfXRHudxT7oincTh/YWHKRzM+dHw6PWsL4Rq9YEVe4OspHsHKjpGyCZ5fqOPVxdlDWLi/O5QJLHNnGRbmsyiJ0rcO5QHfcmMfl1piYVjd1eDrCFi4CJG82uyuNvAjP32KRlDNJskS5MXuj/coiTj2+gdrR1dGP5UOM8eas2SYSDfFcscfwSxwNShV2IcYa0lRwSBZaSSaBZbMSSyDpeOct/69Raa1/X23veEDieNFYLyvZuvuchOIKOPKTd0EW4/bF9CeW1EJxf3NMAcGsDHQkMCMuqTDVr1bWdDvdBbECdnlqHrQqx2wLa5qFgjONOkBbx97sR0y7nLvk7qpdwilnSilTjFwjKYVUmR/d22/ZXMB/x7lTZ1t1HeFRbd3bNCOzaXvO161gObqLmE6WWj59+Y097SlGreDgXeyFpdCiA2yh4XET2HOnHeJ9J2UJ65ZllPCIWYJMRn9BgbylA7FHNyTFGGihIyRgm+5SA9XcJl/hM+yf0u107KL7ahjwO6bsjOHH5p39aIfryGgvunmkx+srlff6JFb+yaq0fN2DMquJVufUULLXIAja1a31dafdjiOLLbgQiCXFLfZCowZBeaFixmrunfGHL5LY/4WBnma1Yfzb6gl2XgCuakmYjSt2H9PBdcdzRQChl6dg8BfHU+5wHal08W53+FqxVOGh5sPWZ+ZxaVHyVcHOINj87yspElPaOPLOb2uEUynXsFrfdcjdmqnDk5Kv4w8Y6nFFZS/UgI962yeWbc+PuwumB5GuxDuB1qmDSyApRZ+BJ/Yr0fvoQCFjGjFhcTfOt9dFW0uNR6GXeZgp/0MaTuYGpPprI/gab6FCsewTYzHKmy90ZAqfHhB7xnmF1AWecm1sDNOq/15RSMNrZIoH2gRZQj9Q3paCenpyedWcWKKJwbKWIZ9oVtB7sN2JKHE2tMDTrfWYgmLmo8RPPZns1QfGnsrOUXKPgdqtjNLbehsm7ys5GDSRL2fyKc6GQls1nnKV3lP99hByAlRSNVQ+31f1KLh49uV5FfTXW3wd79iFmPmbY1rZqv8zSbVDvW2W/3y07oM9umQ882t9zfNbHimhSQASFP8ebyewRfeB9Hxz8y2O61NZun1o46AW846L1XA3PgozlmwkisVAMELhPXYbRB/Ag32BbdmOesLHEYGyHo5Z7gGtS7RS1rNZwO6upTgz03tUH3ZFD8LuOD4Uo3f0wD4cNn7NL0iXEJTMejvJaJsIz7MC8zcb297jjDenh8u8okp5ABRipe35Y2z7eIMRZdqAO8DIe21GRcU9foEPMs9q2Vs/HEVLpLPBYykF2KkN68720rD2rj2VhumumIgcoNaYtcbNwSQJQdMUG5ssFsw0sTKTvupj2awWD92OdBT9YLRklV0p3XQVR8ABjyRNrN3l43iKBVico4gxhCESqipv7kvzkf3dWFLgtjdhbfLkdF0VfO/oXNEwTanbAJRlcx6i4rQ3HiipgnpksAVxGDlj9tQoCZbSybdy6WldC7s20sQIiQxj5s9TTwdCbM4yaPmMogx/tO6NRPnyD+JjjKofeFvb+9/6klpRlWgfXHvIfBI/wK/c6UoAza4rGLNlzn7oWOnAStJgAboWXe9wWvHpciHMK5AUPpS+JkD8UENSvvRjtKU3V+ixVlFRWskFFngYS784jWaSzwE75sx3gj7i6BSXHIMwkxMhJH62Ow/MBnVMeM73vyHyTwROnBP91cdl0HvcEKWrH8M4WVknPg/rIQ/fkQ3XpxKbSuSVMp0l0fuebYcMd5rK3k/Bi0pg9tQLXKRbpxYATvsuQc/nbwT4RCeXfVv+JOdceokEexPOzW2sWFR19tDkx61piwpKmHcTBDGKqp5eg3Cmx2XaxAbs9Kfx0IUSwzHLLf/VH6jxZvIh+ryTXhnoHvB5YLA1cA3u4Kxh8sZKpguJtoaiwi8D7dAw85RvyU3U2YkQT/LtHYcGFgBz8qjNj7ZkqJXxq1DzxrVR0HxLhYZSC6z0s9aFLnxsd7+H4s16fXs5A1VyI7TXK7PlgrZgsumLOWWmW8Y7y+dtZbIrCLT818PLNtjMP88hERd0vJVTg5pY47Dmgv8cnpezJY/+IkwuXGrE+NYZCLojhhVjFeLPiz+eRqkFIS6DCkl3ewZfXr9naEEc6GxsmBmcp3B5zwU0clHFhicOIhzzyT56Ukf3pxXW/eRliKG8BbRqPFevr8eNI2DQZxM9Qio0ekD1hdk/rGYRichbs7zMKN6VIhCjHRmThWSeDuWaA1VLlarbEZaWnBqnOY+9X2MXQwASWoxXvNPWN2ldKO8ogc34XA4TBvzTE6J8oiwPGvysJbJBQUhLiuiMGIrH3ypyyt71p0d4WzFhoif8ECEQw8U4w8RXT6h3lTe8kLDbYB3MSlz6PJch5Xg16qnQbNR2lGa0u9nmPUFFRSREyhi1ClDH/yQW7VNY8jHdUkquMq6+etFqI4CXp6NWrKSMHGkKfsPSvTGj/NOs8o5BCMsf07qmczqRbStrw7pRaN2QX5HwL8DnkSHJxlL1SLFE2eSxcBW3+iUgTrVnNSTsqtv+74A2hheO94712YrEBAVxAw3WXPkFkdIjEqvSXFm+bUQDi/HpA8ocwAufH6xxUTDvMr7jV2J06wFcJQE6Xzk+4VCaRYk/PF5Y0DpDG+nJoIk1C2AOkUuyd5JJT49B3fhiFyrJ5QVAD4BNaRwX6hFRnjy1ZPmRTlSm83PLNkZ9zHMLN+XNjQu/u7zAziIoXeXFsmqchqPBRHJSIqPWLUkn7YkCu7SR2QiLVUEOuLDZMGyc/3NRVnKzItGQ0nNKR6S/agefAwLqNBRNGFKsFWCnYneN13hn/CaKIi2xcKYz1AWZ1WnqExXfSrhohYwHyjalb6+Z7TMIyNvB1KoxJckJ4OUZ8oMjkw5q4uNtDvuqGf6TVadiyzwQ06lpNCjtMufEE70+dqHafva+118bIN5LkYOYTND1EqWs8E+4i6l/CCGXSyOg6a1ZdvBgnHE0IMLToiUoosLklU14x+zMdO+24rYg7KZidFYFF1cdycbeWouJApoI6G8XNqEaFCP4OuUQ0vN4XRwTQ1Go8LCWquqQxaslzv3ch8RAR2uhjCk2lzwJdOQJIBqWOoZdejVYAhpglD0/ifrpC1PiSZDVsOYidl5Mwfb9GrWrUUZ6PJ6tDveCPPZ/U6hLV90IEAOU4/Taua3EV6i0n5UliBpl5+PcaOmjK247SFi6hxZKqAe2QVFe4l9+QRF/0eB6CmPANyOKftDUoTZG7C7HfDGVm1ALuiBR2+YJ/RnY3OWOZOCVDExcUIzE6vYFZMIE3gB38G5mpOafhdGnqWbswhyjbkzMTOnRX/8kx+OtFN7zIQ3fSqGY908S58iHaQA2sW0tLNhlZOUm4DaA8AgpgkDqwAZTpDlvM9KCc3gRGMp0nqGQnVhgHl6s4pJJyTXbVUrwYDBmt4xKN24VFmLdS0SjXqX+5kflqWXUSeznbjkLjaSaS+Y0JgUuRbQ2C4aVaNCaa2shlybLfX3wFrjKFtZc7V0Q55Vw2jiRXu9zJUlbotrB517hHWkBdHoGvIGYfGoSrD20k69kgcOdiYK+H7CnlqNiHDZNXpdtAWkJSbQley3FgXJLe6ELKaNd0gGJjhn6oMZR1Hz+nCNa/g2aAArpFJf3RNHya+VPKZpairI6jpEwtgjIbopXEJzZqZ7Y8Ffn7V93tBowHgwnMZDpzfj7il6/wyrmBtjNgEK2pte77e/JmnuV7Vh91/4FQoGfQ+ElJqZIdweOjYlMzMpp2q1fKNDE8TAglKnUTPvMgVu7zmdsZoFcXuTx1yUcg2n40Ltk5CLJgYuBxJykuFuwKegXkFE/mL2ENwehFEmMhKxLwwbnIZMD/ZrZhmxEaMaHdPvLp0aAJqePfJd/dA9fc+q0j27kyYqPfkMYfwFROAeyPwCDg0jpbehNYFmNkmvSy5/LUQwfu7LUCFFR2IiFwIJ3VCdiRQmynr8n5DHG5wLjVHQ1ViH5ZWlzy+VouZJD67JeHx4jofb3pwg4jMjRgKiLanJC7O0A5uAAnaAsNgA4qww6UAvi7yW294x8tbOnN4DzTCUvgk8BNCw3TWvyQIT3FX/RFJWHHfMfJm1p2QmOc/Lr4vUsuH2i3XxX0nT7+rtXQvdZHILfF8mfAb/wq1okonzW0LY7PYmvMqJhE4GIDuDWghgnAogg+gMiXwsGvtCPfuvbn++ACXWlYSDJrxcZIwiomtleBwcFkKB6m2KpZhEg2f0PrVvyIOs33UzYyCz/SQIoRzhkDS0do7HCSAV6G1NsNmoHQ/1TCUwaVlSdRrNyckq3Yk1FihPgiyUPBVdUSBgGPen7RDvOm5YsOWUbVZGsXWWI3hqN/BXeNTd2Vm9PgWGBbeAt1e2ayNcfXQoouVghgEiGkoHbzrqNcB41Yt3qkLD5U2tBdk2AP5DI9XUvZAXwweZYqFpdO6xwYAUde3uh37TzkGzAWNLnbIZtcQPjI6LBeOs+OhjMgorRaxan8PsoZLUH1PdQc8Ab3if+mlitJrY5ETooQ6TYcrOnu07HwAupBUeQxGowcSAytuYMroyDpH4/wUo+VrgSOLL7/iXPGecIMjlWSP0YuOgmKXHDISkL4K4Ut+78wbqddpBnAlK62AQO1/WrFSy4uNm1mLP5fmTBNd9YdO66u+tsuaEIoKX5e7fByzF0YAGH7XgWr+95y5P91K6fMWMi1KuFCegLMyofelnasT5Q++yhgH44m6z/wUD2cqGNhRVkj6QiAnvXQJCF1iAy2iEycj3x0YsOZtHPgI/6i7YTXNO5UWkeFIqeCPvww+V6bhcslKdZK9doYPnaasl6WQkuM6kWG0RK8iLMaIJqE0hn+aPFKuKmKhDqh/WR9lPoAIKgmUvuiEhbM/m6KbXN8CWkIahmT9f4fjEIAQl2p9nCRTMoR1MyMZJVxrgpWM5ULRAIGPuSd3H8Qs4FRVJdjk0ElpMfFDSOzHL0fr9vpAxp8JIapTNv0TmVOXmVslpj37v1RMk10rPHh3IzIxA9IJsVKOJI6ldBeZoC9i8MFFl+GPPrqYPlp08plrP6/bU/vh7UZRafTrJgNGd/WKByxy01fKl7AIJ/5Z49NNHiqqaBzcTPMumKlY0bsuRmbfIO24hdB5oaAUxlBToaMcF6n2R0kkMlIYPkYwmciMUdfYcIm5dFmTtTavNLL1iuTrNK1kDR6cblCKHOQmpJ0PfTNpDRxtd8mSNLfMrjeWDFTtrR9ZWR2wt46yA5pc9hahwdCsvuGRjSjeZh9l60DN7NKpG4yvRysEhL/qwl7WT0FxgVkgPcH9poIyzhNL4KMGvuojEQhZvTBj/Z96ySljPyjO+8u/WUCJ0ikQqOnPg9BUv95s6cxY/dho0UZ6rK8bN4lISElHOnEg1CLCG3h9LzxEyBgIdX7jf9jBh+La9rnPNQYquqhclSl7B8Oro/bfkveFZfLu1QgcpX2sT3W8vKsb6b3Or6XJgCXfBC0PmcDVlUFXIOoPCBhJPvTCu67Pprj3deuSBhSlaO9yTvmARqacPbkuRkfxqlbAzy0FHFKtCM9fYyCIgi+1lOLp5Adj4hrW9TJE7yTJovS83WhffYO/fwY+uL3K5q/RvCyHAjxRP+M2aY9d2U8mFxZ+MV0C4G0+svgai+eIe0c6EwSO9gpQNn9G1fS4Iv0W9O7a+3it33KGpyeVOnHSO/NekCb85P2rX652AVTz+/SbCvHxNsxUky3y9ZBdq6xdThEmTCH3ZEhWW3PBLPXewF19Q1aVIHLOO6OVWbJbTM5+2aeDsR/pOga/Fckf2KYFN/hxVsPBLJEvsJ7K003fQPHPPpOLxiknp9U7dEwyPywn/ZuFLe4lPcIFMv8QgoQc3OgNVlIrSD5KBrsL9/2vK3E3O+Uew8MFGiIbTPGAWYQ5W/B/JpvVuEjWbIP/NvIA6tlMG18P8Mq3uTvb13+ckfbYYt/3RL6yf7oBcikeW3ACchvAON5lhfolYK/a2bzNBZwpDEH5Dtist9u5/KtezcFs5Z7XJCdZGS8QKOvZreD57v1eslvCqqRyc+3qCXHmUMn2lbxXiO7UIdQgJi/2k4HtFUM9B1+8u4npfEQj2ZDvSiDn2lgGQaqK6HUxe5O3nFwIL1eSzuzPPGdyTn1ibhmQ17Fk0TbnPjJt2gU9ibuwW5ZLh32wMi9N+KcqIao7/dm7b8KJDLvuS3nMn4wDn8TrjyApUy/YXl4SOQCo09i9n0XmoqCcF70tsUA4xBPMwleo7a5md2bSPXUN4CJa5mAgaBl61BMMa7XA9dEMj2jUWPqUnpvjKsOfbjdhgSGhD81Dnmg11SypCkoV0iW5WCZmXS1rAf/iFImtDcWHM2UXEuHVChxp78YC2+UlvssbondO3bnorZ3kzWijtKDsp6RfDT3uv1JFQf1U9zyDCmbiNS2q28jYDF0Hi7yzZFDIlEGp7ewQvtsHtBFRm/VJ68Vx0OLvnSPhqkpoqAyoGJhzXojqKPPfqDzG3XkEtEqCMEhCa2xr4ODyycNITlpy75gv2aZQHM246FFG85yLXI6VuKME8sSCcUGdUgozofR7pZR8pHbXCF+X48qxdW+5oiowYRawuTxO4LIZEl573+Zp62FzIkebif0YUNgJJwpegppdWqrPIExJfyYnWxwHAgXz5pi4MwHcTE9I5A3gCKYPMv0j9QbBBcBrctmZ24fScE14nxjqeqknUR5VoMM7U45aA55EF3GzUGvw8mHGDIYxFt6PFELL1a5J+b4uU50vqmMw5DIJBiiw9hEna/i5+CiiwDmapHvT2LztKg5CrZ7DLTKRZawIHYLzECPx1McY7/jxyZS5pEygih/q5RX2QzehyuqxlhXTUX5rhAv5U8Dyal2626yuG1uE1IZ8d8vxGWUR0Iaf25+e56BzWRrN3v/mSuxw7O/wIjbsOjgoUMKvSCXDr+D7A8Un5L+yCj9/G1GBsNRiUmoktUfH4C+b/fBz3hP2EP4fZHqT5ZB2eMw1MawxJ1jrSci4rrS/G9kiXhqZAxBLlMPKdoviTHffbEb1vnZ1W2tJGt0xGU8QlH8yHrjyj1rjOU7KEFP4+TyBYw+/AXTgcum4nXsAuJF8XHKLUygFneAmViz0PbWlR5AuV++WQWepfgN4TpkWE/0idjly6PFQyHdGXdEbhTPLMDFukR4p6L3uLQbruSgE5zIZC4NFRNP2i68C4U8Xop//GWFPk0Y5muHwAmRi/hGvDls8y2wxrKUE3pLfhoeBpdOv7bG3k2gZj/wUlH5F2f6Qv3Cs3chK1DJa/uYdnwXIYrTSa5xWKG3jrjt7ZMNG9lPh+yelSXDXWH+WXjXsVWQRas0DLPzZm6o+4iED4T1W5B/wWMi/3vCFLMJLtakDy7/VZFpzEWswu1PvwRLfDt177IGjcXC79QRXfNIL4YIH4JuWvTvKc2X6ikx8oew6LTniR7nLwg/Crxu0RSa2AsbJ/O0FRclphL9RoyG3fm7rNyXmmy+F/8ZXfHDoLHrq1pqcslA8NpZW+xJwaKc5yBITioLIYkmulesSioP0JSCd9+tTBn2ux2+hIRpyKM7P3vTt3UNhssry3LWR5LG6xuk/j412eRYpPi5m9fZ1DSJjs57Uxb/bWZr/gsp0VOYdYk5jvZ2nahmGjXwiCe7kvqXbof1sDB5EcXvBbhR5zR8WFZepnisVV5vVXCzpuhNoPPhhdMaTsHShndTba0dKknPwVaNaLUNKI7UDnj13aZKC0+0/f0oqUiq65BNFrFjSnj0bPOP6ytwUnZ+pvsAA5Q5GL39B1ULb+n8Er1hmvCGVDxBQp0qr5V2tP1ghPuXGZlRT6ArYoNJRaiaXB+gOu6VxyUiKLXwTd5Le6qkjVSnAWumbqil7sv0ZXG4sJ/EqIRPmDs226y39P+7LQ7067SoaBCgIxk6kZQg2RxoGbuXdtEZCQCOIfbdM8ddTxSPR5h4NKBv9bAwVaahTiUZ1wlOtRqG8v33hNT/KJ6BY8Jxp12ICY7/6SvbquL0+yn3rHO2mcS5cMbvBTTFCDvvyXfgCwn8hJWe5B6C3yJG0J6dIEwizC8ASuhiDvc2UVDHbjYK76imM43pHJt+2sN1x9Axy+taikhUogVEts4tx4QPlJV0u0ryf74HGvPuIP/mqCZD2Ii+HfJZztAHxjhghQsO3R9XNfRiS+MiiYLIMu/8/BZH753e5v0gEX9zC15ME0+TyZl0fjz/P6vXGBTqKhHoB09nB8yudI+ZE2bSaNBfbDPpeiYv/+WDBEZR5izWMtKdtec2yie2DPnJIhIYFnIfuJNtoVm3Ly942WOZjBy/Hp7TIGaii7nuo01I80h0wyBmeKVTS3UlW1H+yDxgoEmXpgXc4cWGox9UhPY5q2s//Ly2cKTogHeCFYkQhEGCOnqzjueQYcDEWPfFyx+ii/uwZQa//bgi6YyF26SsNwJvwA9aQxzNlK8gY+f6gze6HrRLqwnAvrYk7vMf7fwkyKFUXpi19VOTWH2ZVeP6zQHTmvucA4XDHWbHUZ2DFXvsG0MIBbr7PjNTLdbms6qLKxCd//ybqo5q+Wti1kLJcLMDfMb1vfQc6bbmBVbXK/vuCor1Yo2tpffMUBKXazaQ3Glga9NwZRfU/DXPQjowMpOmjbse5++GHOS1BHPH7cKgMKAupKNE1bqMYvZk+zqMk8j3lLcLRhQ9TpOoKdaJbh5uftV6nWpdKlHytqwMfS3CTtz4esQYX6ASWph7WDsF3hvs6pdZyK62ftC/13mMQCJRI6SKg101tNIk9SEzfR00JmLrGmVUx9dClEqnY9aiUgHUeVKYPG1qvl+F6B+2klXHheFYw4/6SiAp9plWtyS5Ps4uOuhLFyMv8dAwUW3QiNJ/1nsQ1KZZHnu1KGo0gD9HRW5qlFaSd4QEiiMDJm19APAvJMuD6VpoX+rJ7IyF8bi/IFyWAxDxSSAOTIE8HyJRdSsXebAyVp4wODMOgis+lH4yYBhd7fvER/9E0Rl5f4L3YXecFNoF7Q9qRkqPBSCf7iP5xX1EE/laKKCH6rQYn1mMz7R2B8Bx7EcxYt+6xivkTVeKw8xQG73+n+8nYaWtZvK8Y2St0+ExFcv6r9jQFL1BuuThXtrrkQpSauZP+nWmTU71ucLsN2x6o72Dq12d2GASYYeW6cc7Qktn4LVqHUtOBuJ/Ms/shb2GCsDZX3aGsGxEAO9Nzwi8TTOoZz22yFsLsgDC+Fl3INwF5pPyPdD+BMQnrm9FYoTTn+cJGUYmHSZyqOmKBLa7rQJw4aq7g+p3kRim3Y/ySjbj1LhfakfD+GYHcZ/cJUgGwfLeXpGYmWrByA0iFZi0oERlymDLY4RTWh81TJgrYNwo4npDrzkmsqutrSpwGUaGHCG7nyt14INgXTMJpT2yMb0uCvjT7mx4hWUIfcXOoHJ/8qUGoR7QBQJmw4v0Gj95CboI2b+zbi8+uFBwzN5CvMuCixJwaBhRxK5eWL5M6lxBCp7cntDzPKx6EOIp/d46XcF2R72DBKDiERVmMtODuLtVXkPzvPE7SVKhYQTiAJLZh7Ps/2DcCtxzrA8jp70H+wynqRYEFzHC2aDb21eWaD/fdYY2d9rZ5msLRnR7vSS88Pk8kiuEUp/R450+Qfkzwr0Xq+m4OTYTQag/9XWYZLZ/nQjuhZUpBrtZkX8jMtO34HbmNE3fY8Pt/kK5LyIDYfJciN/22WLxkrj0UqY+jIqPFCYWyezjD8IjYBRTiZIAFV9UdTxql/QzXoxhl+Q1hiN7jNixBlYMUFh4EJ6Z6dBvDQQTw5s8fPnpyi27DQAL22KndSpA1H3jyV1MzhXSJlnGNnUZq/NQiea8J9oNRsO+R4b6L2s6RCc9aqrjHkdHCad4AaH8xAzfj+tmW4p57m847AJ6CZtRJR/mzsqsNXNDwG5YmmBTdMkNbFeI3suNSu/iXgttMonYD6V3nOk76SCW0M9AIJfd0Ylyf/NWKajVWrXFvAmx70HleOWGhgVTQEfRZFd+yBw1wvESAtjhnhyaCuEC9KjQyAWWmq5ucBWDDn36bneD5MgtqjkuvCB8DwOxRPSJFJI9lJph2z7h2/LF31a+GHKUCBw44h1+yz05RFDzX73Gdg0xQPRGvXeSmGhtl5RXdiTZKHQVsdy5KVuQj/S1ty5bfCYZm5LEG1Rt/6vmC1YpdGtwm70WxJMvxehRjQAScBau6OrCNQVQSsVZlk561V0xnKYRAaYeucEnx+Vi1AE7Piui2AGnJLNkoJJO3Qiwom/UMdceWPH+5TzBLDkCPbfjlw0DydWS3+rihLg8SM0XOn1m060+L3yEOgS70fi2THesm1HuIB0dfbpQtx3PCTGTArbgWH7bxp4V0B0kzWusjJMUY5zQeliqnth7hf+I5RKSPQMosLF++ZVrzet/HGMADmE89Nr4HnuvYWHVEdX2PpmSU59gOKMwiX//84E6Xjl5C9d37usClX2AKSEnXLas2oxpQ4M3URkug26fs/0CC9NEQB5TQ2od5IUlK3WNFhSvr/IDhqJIGKvZIcVLpo6L1OvXBJTov0njbTaLpl/Ge/bNhX1wvpxlrMAnurbC2Ik7g5D0O274u6iK9zNwoAGRXHJrjoWxVw8TbVF7BjMd2Hg8YScGikiTVDKoW50UASUuUDPDC8KTq1CFFeukyQHxRPYIm/VytDNyJvB4m7QMeqyCl7Jh3ctMtjh9gBLyKh2ZSISfgfGnCUu4pI3RKegKwLWtTUpWsCXMaqvxlPKy5nAvpIizQ8cciyj0UhlxT3b1Lr6C3x6+Cusky6DS4dvntip2r6FAEbVObXzyCOapoPvqMBiIhYGXmqWZXpaTtvxNqJqUobi342dzzwW1GKRxEM32Ig6m6HHmpCXD5soI/3LRHXqgE7MOqUJH255Kf7FZxsl6IJFI73ra2bDkg79CNCxmcXynAZiq5gkJr+kfQbhNKnpB5f+TM7Bspwca1aKNIoygVSMg0jKnx08+LIxLpWBmOztnfVFh30BK27HsKdFWxaZZQpE1200NWglB9SDk/6vjRixOAI113KuS0KpYGUCRJWHQxDLHAQQh5gPJwR8XcMNYqerLir+0DymllWLRiforqR9lGTtWYFxbB0Iwr8VMuzr3wTiZGlcusiFQnEB8XW9y2327D+mj0l9adTek/1EbbQVxBXaLFWdj4Jmb7YMMzEG6RraFzM+Ew+gTgePVjPx09QZEdadjK8zXIM90VYEy8PYvw1FuQQ7Q67stGjuMXcNNpmqhxb8Dibs4oJ5D9Co3qNzBohBXQPC26YyOuCyNi+vJ2CysLHxbP8HPx17F/fgeMqZpd70w8/33IMj3xax2l+gNlbG9mPQ5yLeTolwPWH0K87wjYKfX/RAa1Grvb1YQvFSMaUqHibW1NOtU75OA5sGhXOZW6PoFhxKo8szEJ58mCMihgCq9GTZLzk7fjDv3hoL9518rikn8NspAA2nG1cqcpSX3GKim+jWVoiF9uK77w8o9Wg1u49WMbZpBb1IfyP6odogVPXtN6QwpppCGyYm7k/wzdRhRSZVWhp2SkajapIqeJ2OuzZThF4f9mEuta2AqkiLMLbtBldfm70yaBPWFl+VmuvRAl7K5ZYPmqPhxQsgaL0MgX7RuwEDo9f9goRne5+4XhiUVifJDXshRDD0WaieK6QBJhXBtQxtY0eysIrDocjjzNOq6j62ZyEUimEfhI3/kDy05wSJAnj33zLopLYP8feHUFijB92WNCbRCX6x5YjPMpfs4MQT/UeDEeQwkC5L1egxpSSdqOZSoyDnzQ1Lw2iVE2HUP7QE8Y+LwZPGyGPdX06bs6eQU+yujKSfOeSxhDQs5GflTx1DokOoFcPI4tslLWcgOz9X/bqsiP49weXeW9aLr2rsOUEvd0ztej4eMsM5jDN4SvupWWJfZpdgHmHS2oGg5U+2OlF0l7UUE5rDy+oVMDVlRnv0gua3A0QzUzBAl8SQsxd+dXyRKehz3fo8S0vnYHMRpC02WLob2evYMxOWNeV32C9EtAgZQl2/LRkomOPVcsRlbfIE0t87+pgBxgGokeevrzzVFPyw4CYBb68TlLpRM+8gOU0AZ8fn8OidF5SDFhceO8PY3BqjQWLXE3RYuEb3tCSyV1XhwrqTPapQ3DLCI3A2q7kiXf+M+EprZxs8ygbRn+FxXPzkcR3FD+WjZbNtRlE8KW3ItQi3ohcvqgzANGpWjHMpw4Uo4b050fDKDZ/8ENDve4QhN6/sDlTjzDeFta5CYnKAqe8KlMqLif/19X5qd3HehlXo60ItdB8sdGqEvXuGfj2wtegag1wXldtW1Onkiq7MCVeJV2CEWkWZzynh9WA3PQHQeW0UGVwsZh3cMUMZbpDOCi7In+bAIQ+hKI9GOZ6e+AbYf4sloZP1CoKttRqB2OI/qQeEZ6mksJjLNr3X5aJ86BHuZd4lhDr/4O+dvA5alYgoAAk7ElUNM5jnnu6NRxMbYsSyZrHSkvnClc/QJO0QyW4YFZ6YPU+383cQ6qEofmM+DO8bZ6K1JacxrUgc38mBpdUSpaZVi9YszVMV1b2hAKTCQhz0bW3lYxn4S+3EvrZ7C9lVcqtXAE+I/GUvgFIrAJd7+o0DDNtsXRExmU8why4efctwAKErPV24h5p237H3EHgQYcmqowGQTYWI3SE0mx6JeLkVYWzpTJ9iVKajbCv7NCNdXJzbjaEaRdk4Ad1cpOKpVQQT4wDeoIVik0PecV2dszm/DUl2lniHe9XPLhEdsaUuLZZXjLUuur/Ns4xn4jiiC93JaSaRlwqikD4RKlffiLurZdURg4an6L857tuTxMGROPOoWk8PwGk0q2pvK6xe1aGhGyL8Lb6H80pRZ9/zkHdw7hxtGPOR0JXvOOhEjsMaDfbJajT0VW93DrFbxZHS+oKtwCdgQ62hSm35Awftcm9qrJK91hKh9Oc9SSZdnaQymguHO4WcnXmLtGouG/iur2Ez6OFmEFzEfi9DUN5erRVjAx+6NblhwXH2trMt+KgIk6bV15qAJDo4TwovfVB+dxfzN07c4887Nrch9gt8lyWL5XPNlGrP0mxUJLANqMykW8YtlWefON0SRI7T0rzhUN/6NwqGUd1b5+j2qxpXSlkX5lwImDzomg+hXW3Luga0Jz09UkMyQe6EMi5RQv/NnGsZCa6FW6tzbNGTiAZWF+7yi/zYX/cd1kMCzrOZOfsxNM0fe2LJgbAefMmmQvj9w6JMGeLIOyVMcsv0YM2/nj4XhrllenxLMGzTL9+qzlMlktNFjXm9o4yyTn9Rfdd9cG+zhMNKwuqxLUdw8x0Ofn7BduSs8ENMnOWZbaMoAiM2PTGGFvUJFwFg1VI58rdyCv4BS26jxeWgqCnFSj5hCJtJsuPe+/3Vikt/GMqiz1227tKeIM1Pen44M459k1th6GYkntxPDHexP0f0gdDWq2iQG4kFc156UV3QGKA7lt1xrfmWuqnLPjAUFOoz78LUkL9f/0hxPRw6/Wbud/B3S2+yZ074sPG1AgJet6k/JJrVkz+tAdxsvlZ75VVwGdddfk5S4RaEq9OP9njmHFrupXCiKud2zqJwW03UASk6qhvfKNqxOAdGrLsF9CydaqRMmNu6X2WSTz3w5dNe+Pyt8aGqEzoCvL9uI1IymTrmlFn4YoYAhsNi5BQLWhKjJdoDcaZ6Sy0mFUlXj1sj03QFKlFgo/+tREhKp3prSZgEqgPQrUArSVM4JIKbbio5T6OX0J0HkUaDvseZ+lwZAhc+wNMZLy+Ph/zTxQxdhKcvva3sjYW4ZLuvjw7mDLclsv8TO/3Qjg+BR3HkQxj/ePV0b+M42XPIEsFIg9Ygfgma5qFFJd818D+2pB86tWXCNVro4J3tV3C0C3T9DDrZuYFzccE9h8ACnWfSPff76GL93loANYNbSa9tcqMlmwuCd6dAexDr00kW0IiR1TnV82QnAdPObA8h1iKzVkSF3LimzT3p14pSWL3wr0MH+zlOpfAOUAo5HsIhO8qS8Q1CFkO0ZyBDm/qdDGooLY5ltW+O95ivJMANx6+HtQRIguRCjixyqB1RLk9kR1tY6u4lZ3qTqWepumH//xpVKy1MqeCGgvEBOMU2ae6yOvtG656UvaDog09r4wsIttaQk5OpISFi3Bc/OoVqo06oqaCsS5+nPvS4QFaUOPSLweMT5zQd1g9plldc1PLV46e7L0adFM7AVOO4cEm/9EM8ztXyO1tXk5k/ozioAUqBvLTYgLI2NDLfvUuO5KGx/QDPwZh5iIjB41EJBg9UuUpU265ngB9wvogooPL7qSewrO6HrzyG0gGb/AIG30Q73o+mG+x/zL9xDMQOnoc0WpyZ9QMk4GEADODyK9/VAlE82KWMKRNsWy4s6goZ2lyaJ0VgBv2XJIrg7udz10sjo67aV7mgGexu4YWtz+cVDhZR7MYmXSPI9JH8XCRZtVmezYIbWCBJEwo9pUKxt3KxHizP7wwaWOyPpdS7xtJgS+OhuHWD/RgUtokd19vpRjKD3HxtRYioOS3BkYbTSnyCIwf8Nj5OmGEEzimlaymRflvr1m8vNF9uIOF8k267OhppJx40lC/efl8VrpKc2NIecCZMOpTAgWTvgtR07AJIbRni/7mfnvh/tMb3BHA2UB+YdpuDCjkBqJkIZE87CnPSnbGMRurka75Ihu5KfZrnPbuGkZk1dG8vsDmuQGD3P/suG1BOQHE6TN77ziujarFnOyMl9mvXxg9bVvB8hFytdLZYem/gzOnCSlgQJQ9NVn5JoJ6nBQ5v9PJlAJz7PVWbfIsf+LX9f2cQZewcqgNwIAwDDNlRoae0yyR7fL30luyKqf9wDlM5QuygNTDES/u/HbL68LNshftxurci4rYtzaknla+aTEt1VZ+5fJA8Y66/8pMj3rIVRibKiQHAjyVxrXbcel4Fe8CteVm3g1/JC8YzkoxLArI9OMi6uFhlHNwz5FpF1Ksp8gG/6RMGLAyvxznUzAcuAvYSudPu8Dej7ujUMW+oT10Dhg/xB07xeZyeu5QQRy0twSBAulp6amy7Dq6j9GSU5QCXbyyUN1qyv+1BnneccfmkXmiFSiiDK9PknpCdUB6gqq84AcrfjHcL/qzfbOynPnuAZSZNuACec5ISibiYs7c9bk3tBO2TGKEy0Wj7bqGDaIeJ12S+ltA9QhoymuElGThHF/VIVKhvw0BCRUJCHRU7peRt8NJFPFBToUPpxdposAQ4U/yethO/S5GIi+YkwA9g25vKnK0Lhk0inBn9Y3wC15kg5/ejXxFKJtO/vpzJwyVYRm6Z4g4GOmpF4enP4VtVRlV1+iLAseauLQzFMZvhn9lcdar4RuM2/5uMLtkUNCQqhEeARE3ERXvGzjbmTAhY0XQxEiz96H2svvte9wvDiVhVs1yUjHOvvRGM8J1UwJmwmu2QG2KpNmOZl5z6oOvEoxlGotNE+aySpe9619Mq0YCNlOugNaeVaTDTXzRMnnLQVn+T2uyA0/naL39Zo5wB5/9yvKpXcAdtZ4KrLLendnrsNnGU7UpcmbfE5N4ZPOrb1YaZ27mTyras5XcShDq98GE/SF31VM6UDeW2TWVya3PXzGVFox1EDmI7cLDamEVc8iJt1uSHVHbQQMYmlo+9Yg6y9WAUqx4YdAVnFVx7yQ2slb2jSMI3hi+s/3gw5P3VVQLL6uO9PlbKJzcaC3nBf7nq+v5EJ+WiX3NH05EkP40ICCLuP+lH4X1+Omuk1XwsWdH7bHGcn37Kv0o1p+fvEW4aYaHCqczDGXkppvsMGy11qgIOisSnM4xqdleVDXCktQ87hzbR2Dj2P6zRKNjQU+AiWFq/CzPE/jew9w8Fz0+jOkuiOturlyvn7qwpB8kPWaWt0EpTWliCcRWlIg+RoEMCUXaJLShfX8twWZhpGFQuOTQKXpfHqXM8Jts6TT26oTjYTWmNKWTnbmMMs7BeBs94bKWdzn5nEdM3urFWTZV7bR/CM6/eFgH7yLkiOq0sSxPK8Zu1JkMl0C6SDF6n5BH3QT/7oKkTTPWRdjEsFBGwXwOE6ttR3vS5gdwKaJ/V26kzXE/mZu/sdI8fst1srfi0CcvRb3Yi1lUpgml6Mdl4LZ5LfVdr7E76qojr0a9UYEPrRWxpz7BNzu2b4wTKcPkK/fZpROmOaamwelWBPWYLX2PdnKFlcYLlnKPQQX13B3UruPxtgw9pkbNqCqo71QWc4miPe8TUZbCGHgBXTNT6Nhn8a5jx67qMpG54k39ODN4ff1HgbFjdCdR4y6NU6pg5CZRW8DxeFTUB8LvS2ggmXpcMNGS3bji8CfnvIPEMdULnfeo6FvK8V8g/e/kN90ZpkItXx3zxSpjKs/sSozBU0gr+U2hA8cwGerXun38OLOihLyvCyo1x0uuqokICA+vbRV19xeMN+SFQX15xsfthGCOCSrOc+9nj8fpDp85M3wouinyFlKhQcgp0REV4FM7YSLcIpowRTNUguAQpGMoE7lrHqRtX1mUqXujlzgcQLK9zqVXNmiS1oJWf+PeCjVjdHPcSu+zn2J1AEl7+mAxQ40IqcCWe1I4QKP/E1NxCaZO/jdBMOBkGnZuj09foIgk78gj4MuQX8e3JKcu74eW5Na9EbZHZQGS8aXx/C5/KKuuGO8pSRxVe67CDH/RKT+qgmMRAOfM+Ywv88JfPmFwpsif5eLETsjD1JlPojF6RsKm3bRphKuGbH2E2TdIfkmHX6/TH9VTOQc1ROsSZZRDhWH/FQOzNTPxAE12ciLPDmfAjMc45SHdUp+9BbwHxoGjZwhMwrZyPn0fQx//PivbV6YRxC5bEU7an/AaztB9EWX57ISEDmb4tuUs63Z1GIsHawEW+9FxBZHqXMStDIA5a9xzxpd4lpnoSH+pJqQIRWJfwEtaIoHxo16OxD75HHwl65FA45IHX2ZbQg8fxKPL6svrI8iAC+KqqqHMvqVLG99SytZXKubPCKHYmhDuKcu+exsiLcxE5oFwPrIF3aiy1NfkmWfrh48D92fhKboa03zsWm0zi3sPdCnts0jpWARHrWQra/kHFth6L6OxyLqXwg3AyUIu7PqOFFL/IwieztGgeyk7uT90RKQ+ZFhb8XAD+fDR3sFNnYPkR3IhJGh0wKGrxobJeOa6BKvqQTyIn1CDH3NmSKvOsK/dy0QWC+cvDw2ayjwbGj5TTMJ0cXtFN8sWmVMnAXJ37/K3fwRrGYkIwK5MajvZj0gCLvYhx7PRbGMhY5XsK4oaiMP/wRGP4yxCV27fiqxPFKyTzcQBRwcdgMgtndfAkzilOO6hqNIwzG2WG9rlIfPtB1yfoDT1CBfzqbX8eD8NdztRob0vbVN5tVrap2FBBW3zokTbXomVkxZuwVLfG72sl6I8FL2XURJPWwi8ikD+M7CjpXlCQHSdTafrSsu641Dy3A6nKykFwu0mRmKAfe1b4KZx4UUo3M7tXp2WAELm9l43dEre68ycNge6zTobz6Q9/iZxySs1Ytery9wuxB0xzAcXEiPK4WCK2VqwC8BC8pxqLBH2uvPkvNRJuCWWXiJ0QJpJ+meq9EjymYKoMRwaAq1yc/wfydpW7LcLQkYn4sjlN8hnPPzpkqOrR8VDznrXf7+8L2AdlIJbxnJjO1aPoiqp7XutxJwzlioVHIxpXTbxeyABInmI8uK8O6N+TZwQgHLkJ0fP/Ku9cGluV+qJzPlpgP4z+WQBZKDTJ98fDsymBmL5grtZX/w6vDsLGpK1KhAA+zdAMwlEUT4bV1Q1tfDj/HU188sAKgPnN/MJ9aWvrgQXD1XH5A6Ix0LKFwjMfSKR8WCJ1UpqDBzAtwR9zpDSySWImKJ9c34dIRfXpQxyIP2/kqA8CxsOAemXxw+YzHCN3FxUJ79dLxzHc+9TNdjBkjihRivsAZLkEMyI7T1cL0UtN8r2fCrj1VMQDw/2YRdhyFSPR5pXUar5rPyM9BYWpYmuKC4fbu1cDYbVv8O2gLGRE0AFZmHc9qn9282sO8ZJNGZep+1MQjNWLM8Q2pKv6mx9LVS/iPM5C/kcmdYKZ1CvHO1e2m7MFNt/m0wh1bNqORuxzEPE9pEbYo3Z8Gp5Cs+zAUJ6u4knmP1LnXqriNrFa7NY3TlunLeIar96i+RDP9jiH9qV4s6fQLTRvL22EArgyXzpfjojKWcvPu/GhkcQbxXW4YH9l1QIptv3AlcB78UnJGdB4/O4HhEu72ffVB/dHwheQvW1so5aEOFyiOz8gLs21D8jAzrGayBhnedn4EV8BkwfwMFgD2RIuHo1ngLrPPYUFAAlW7jh32FVuBkMQLHv4B2zmYkD6OSKJrgVzrKSK91iO7M3aWYHxxlznaX2xcdUUET1N9nOdF5rjBogEhZxLczFks6Pbn3O6dMy3bpejVrQVxuNmXBH3u40Mid8RsZsoQJaxKZUdlnM6iF9xOIlUN2aiLd1J0b5qgCZxZu3sX4V9uZXJs8y+1g/lWoQ0SK0LDpJ1gFeFok6FJb1orT2xgckab+wJDjxW9+M+elLiEuskx0DSUqbhh7pefRkSxpxvVM5/NcBCCspeVAyj5bxkinRI+/8E4nsuYYZSVM3gQpCgcBEm+KvPcXxyai3FEwntNctdcWVDEWIVrp0DYODhhPl2v6ndJuQwkXOovmvJQHQJIlP2PYklC0mPiXdXlsPp9ubVHYxRqZArzsIeKP1MuXxzyRBiAByJZXSXrovrsSq7muhGPfcq2k4mZrhM6jV9vWDespjF54c1f+PVdf9L7Hj59RnYOA7X00aFe3y+oGXUpAtQLuDfDs5+GICxyWSxGADxzZtjCm699PPvPwJCcXVTzWRvQ5dzV9MdcmI0XEjjH7YfvJpz6H+VCokDJFVhQwPdjDk358GQUr4IG75xQb3+4o6Z4RnwVHCsz4i7+mMUsblKXXnml1Ylk3fmbfHP8Yss3gFKwKG7V2PS/ddQtXjTpSoX3yCtTsyzDBwURW2z46RvcXAw0nGklhmjor3eBAGz9l741wMqs3220QJCLZzclOLgbYfWo38Byz7BXajgF76sAvHFlgwxeZl3qxVPFaRK6uGsHfHHJoK5nVHWGOm6oE2vfQAsRHGHyYu29zM/qjnJBFG+9UQk7cgrCVudJteOS4R+Z8hHipy1xYVFKuWOMWc15heuIMHS8DHKYchOt262QkIV3RGTzUmx58iVCvAB8VoVkqD4nA64vm1a2ANyHjgyJP0HKDAZ/2pd/D5lqDbSdR+M+8tzn5fivx6PBMiVo+Y/ywV4TH+/i5EL4NwBlB/pIZ4VCsPInd+go177AXy1rtPU3toyaYKNHUTAFfkARWFRTaqRNqNG2pMuB+P1bPkfKrH++HJh3s2hDa3qP3X7Dww8dgOs5DtV+hDFFvyxv8gXI9dB3Z8D263yk8epQhX4OJx3sgGsmckz4zNobhqPyGpPJJtKIYQEszUSbHWaGGE6nxMgUl6ngM+wdi146/EwmACtDlyXZTq2TN9fuP/tCOu+/1yI+kJBX2rYmJT4cC30I3Ug14NBQ4cQQYVOo1YeM33lKuKljvkFHaDTd8OVKidI+1ymSadtcOE/PwfCcGdskIGzc1oNlM3McheFRQSQL0D40hL+2I4ig9k5AYYM6cqZf1rCzpZsVK2wQsSv1oirzBi//aBxtXURjtoeJebaZUo0wPI8rJ5ZKRTKSMfWvk25c5dOYFkf/7FmKcjelrbyd3L6XapnV1K+IksKxLPlLcTaoZboZFTa5pS1pzJ5myjX4Juv95jKSqeHm3v4Ah5TmWeZCP51mfvySqrnBEhE8/lCbuJDMjUQfLhRZcG890jnifd8cFEIT5rJ/QW7sI9O6vtCVjwyjqjst3H9a4WAZBQdHUJwWuTqPRuEH3XsTkvMn0BuveImanpSyTlWbDPRkY/C6wjMbjOedyB6CbEIS1pE4GbsTJ2NELOUoRGShkwE2nP6Pp0PyvcNM+lAKRDFw9bgePJ2326NtmmqOYqp6sRuWELOI8WWrdcNcgKld0/ZtS12fkfPv/gPtyaeMaTb59XjmqGCJBRsHazspYbNYB4FTEShwYY1dLRp8+zuU+4pXFM0FVjN6iRUU+5jYb+0QnPfQ7f3Mjkekxjk2Ixjigb1PCYC+yYbiwFwBQSPE3jCj7xU6x/OBeAYZxzNcaxFg3DBr7RnZFeEeaBzyApm7uCbWRGVXUFYWduitnzKEufxNc2evxeHgixguwGmTXPRUpKW3DkvzSt95pbiPFpB2fZNrPvTnCHC6alC+donQ/9Fs24ry0gHM6fl+RmE0A7fuUSY6BDk86BoR5FzTWvYhixjotOMxaLcIIJ48CYcSzQTDLi6A7IKTL34x/gGp8suow1+pdLWUc1c5WxaexJAJF2loJQIbD9wkFCR/R251LRL3RxBBJI9HuvkjMnF/DG+VSysB+4X3CHG5TR/TTnL1//OEL9GISkcRhMxmLiLsLzjLDHhTRGIqBMj/cDI0A7xGznyInC+x8k8zs3COt0exgovkYqz95tir2JNB2uWCX+A9OrVTtzSTthhPGJjJFY4m0SY6sKXdiCZsckxb8M7Lybloot6m1L3PxT1ele9CIvzo+V/hWE5Zl1ju6pxwR5zLKSIlxJ8YYOyEc8uHPmjCXpGlx6bVPBnJ1SiiUDc5PGS1j5oSJwZV8RcJRYKC1ij8L49Bs5i6a0k1GFFOkjRWfjEvL80I7u40FnVABgpo+mp6ES82MB6YXY94+MSi2X+nBHfXbA2N0pIJklnWjJg2WJLffLF8iM0EvI/wsY6vpeAOiTtVe9AUV610KvG0lZEnGqNlUFQ5hZDSvXWWLByuMujRC3z3sktPDPW5nmqaZ+ICyZ6tRk6di+u4kwQr83WGgGz0jx1tYu5oXv3akJllhDLBAwgdHl9cAZbNoPssZsDlNHzLkzcFna8PWDk57XfNrSnCDclzwAEkKaWLAJAOi7H7uU3Gu+D3NHdCW7wamBZs96atMrhP9WGc6lNnNJfkACjf+u2f6CCt0vXnkSNLOcRlmUcv2eFdtTns7CpcfV+0C0Sn5icUITKZpLBgKcMenl/ePPBIC7VPYJpxSv0mkrqOy2uxBTssPaZM8zbunnSQKcdkw3/TuKmPcIo2YBmdyS910cd0m5MAPovxoICd3n3eSj5GjlmLvHe2XACs8dgQhazzdVYmp8Ipi5v3y50AVK0lo3c/dWzr4hON6nWH6ZPmgtRxWNqBTzjwt7faehJt/MCyR9HjtgLhWENGDY5/cCj4mh97Ec+0vDl00OpAyQ294m4nloVFWPHAS9icmXMYqjlgNMnOntm3cpyv1/rZSeLR1CRIoROLfHKL5SZmZ941IffJ1GYk09eQ11WaclzcsdNAwS8tK73AyN+0s/0MX5PGYiAJx49frAYXj+KzkjQVOYGF+RScW4sW1WTR78TkVERymGZ4Jv5aKfSV3KbQBjD6cTHFDCuq4XLDB4gGouZccwgvQYRdBRMh5IbUlsPutezixaEMpmUeqfW351mRczZ/HHYZClw1tstSKhMI9WGOAHv08p6Ub3OdZIBHr1WfXCHmfZQtDD967qT0xgWuxZzZj2OpyoDz0LVNZBFJ6pZhbioNzdNDT9rI9si6k5s157PoDTL8A0B7jSAUadGZSdOZzi9jg7bJTDATlCPbvOYybYocpA9Qy3HdZDVJYSbZxjg0kVZsYeFqmRSIpA2raPYFc/PCxKV7glV8lvUJ+j8yLrd3rB8P5hjvwsAd90dBGbbeEJM/eGLttwrhO2VIC7Y6hAODrXVRtmbRcq1EJIgtrMfWN5jme2kgUd1NW5HWxdn2GeA4+MHPVpkvdV3v1zCJveONVXsAjEXWJrOW2taAEnaRov0pPO641EUed8X1odZUXEaMatJ2VXnw7Lwg/ielkGItKewcsjOolN+Os188lpKJVYHW4GFvUxC1lyycLBnCclq0Jl3uTNrzix5jf08sYJ9s4TFpAURGPO4u8TvOHrJfQB7tr5QBxHHBwWCFOq1Y59Pfls/t2RSy3PsrDdSKvYWbd4kV/Fl07ZJkeEQIxOnDhS3jg0LPArRGBGXJS4XUn+DV+l9+T8J4sHVA8QeyDkrWKKKZzhTJU0swa6pifmm4sHMC30Ge0yDFIsn4l+g2WQJNnZvMsHG/bK+6mKhoW29eUUIYUmeWxtJ9p2Zbh37lYvDbpNM30PL4uROCWbhNwmgNr+6XHbe4jxGaHp6h3zOFqW2Y3BBDaEcCZXhgqxSV5OXXGw14CzNOM4QDOKZ7YycRgQcL8h5fmo0dNiX56auKeCJDVi5aj9yuLdGi0qwPXmQk/yRyTYpW0rGDVhYzeBJ/Pdv+ud72vWzy8u1w/vX5heNxHj4o91IYi6aZlRz55qoDfkr54qjUyvmnZMHBZc+4iZLLlpZhR4Dxo5vfTqEcF0feHTpth/ZvgiuNjcQ+Pf52SSWmTItCIZIoSxPAxKOt2p4yeWQFPeWgswmot7MWZqg8roD/iN/9EH7z5XVzoCB618i2ojGMJx1T4lX/iwU7FbMNVuJ0iElH90QAhdz8ZHIZpILSK5hKVdmZKY5aA2/qCey0vMfTyUuCcUpmNWsnnNEcVxrvpOk2/oGgWsCgTDZ5z8xvjUkPB5Fp/q7N0/OTA5z5Qb3hYm8hCUqkOBNfgRKWF+u+XjQm6tuOuSIQSYjBGAa/r8NJaZNCtnIQu9jsnJDQWv8M7CA0WgBCavCzG2qGv6BQQ02htKXFNaYiF4Z7EkDnTrxyT+VzLnhvhEnRRMTugRc8nxfPs/o0Z9mDXfc15VuAT6qZhUzKFqQsLFvNy6GwSPg5QiwaKCOLifhDqjjVqlpDudGH+GCrE62wNlZv7qb5khofbABrTpcR8DY4UtSm+NRhphJa3XjYdDusFSih65s+KPwfqaBkx8iVXUyipRZyu12UzJ+qp7AwASdwIF8CksP+QTr4l0oq+2co/ukTjeuaU9cf+YbSFNAF95kjDXAStHGrVaQU6z9F4d6CTHh4FZHRBxgz9J7USqgRRre/tTALOw9pTmgg3G6qIQFz9LdgfZ/sLOAhkLD15nxtqRRbDuAuVWBobXch/uZVqoyHybtElTmifEoQj8sE2ONH9uPiom+0sRPS8fZtWvyyqEX8o0oeWX/Hm1JQJa4jJTpFQAcui8t3O3hmvYLvSUSIhhfUXOJgyUaeH17beVjAEI9GdojM7cbScoDZR1heaeYmlvga3d65N7GxT+fgvz5jTNVPQWfvxy2MTfhz2H/UWYNKW65oBoADzHL1cvVlBDhyoId3N+ZsFUsPivin495Y1W/iQTld6m7ne+vB/ULd7ee5EnimA9proI18AQbvoh6DFoFtVlMYfyfyXdC7bwpBVNXnLkba6zNgV1/r9LMn8zN1nBvwJLH/82qqXOpBZbp6C+zMEvQkVdbkr2sDtOtoUWbDJF8HPeb28aisU9Z1zH0qz1VNlhGq3KWTGWmMvYBMF+xtJ1DPVsXaMahTLZQxDu2USYroauJADYT0zJe62KJ74Ay8Gu8BT/TVqzXhn+IXjTEDAzr1btL1gG2zKVCG9d+sfSGy9aQYZVrjkiN/t3qsTQq2+zCJYCfoXlQF6TNqPcu4Jq3/3PVDr0KWunS6ztkCjBtPC7+OJ/nivExV+2X/N12xASLxZPJ8+vxNMYwLrNoaV1WpH/vl8JiOTzkFU6jnSXr/ReV+qjYUk/pzikDxcoFGXnBa4ciOia5ZJwngd2RYkJgoR2UtPJnL1TSNZeoaTNQpXg01JEwdSpL9/KKWiGvxSOIlQA3RlPTR++G7hcQgfIPffpITxvOZKbpZgyUEHxT6TGHHIse0lMdD/iUM1rQFdYc7vTiuNbzfGGH0SKTb2lVacVPdatE9iLvR0Ab1MWCmiwurBK3BJ0OllBE2mqHhLn/neQ5UFV6d5Vrl1EX1Rif8RILqY1Tox99KkrFQigMLMMw8N/GYuLMpAQhwjyh1S/tMH+mcMUrGxNC1HQteMExrXgXOYcbQa+On6wPU513aw2WQySjoFUNHY76doFtrZ0AaX9G4SAfMkg2cvXmUKOqzIcYn671aZdwiFAnE2b/pTycyc4d1P0mq9bITzgxCVb1CWftLjadQcqG3Jwxj5HkjhcBX59n8l/Tf4l3nDFmQX7wL+eQ9OExGvJXT6S3sB8nR9ubTn9C9g+O9ND6qzeKGc7jhRss3KoRO0WJPHjKmVXWxCTzP+ED2y3cFPIwahkDUacLjeospJRWbg4MoPGTjFmlzAUsrIofzL1ObLZXIOrg7zc+B8yvKmFFZF2kDX3Q8QFZ8bLHFauoM/A/vKIawk3PKVdW8teOJd0IvUEWx/h2u/2aEpgyex3CVxKEoxs2vmu4xLjwF+xpq3sS+yuNfuQGayFE0xXoxXJh4DrVpQYyJkgEl6IA7bP1WCiMw5jhH2a8LgUEEVbLMaLvqYgIZqDCTwlzwkZOSwR6Xn62YKycip2VdRqw2788G9m8EGz0d0klAjnTNSTIph8h8AHKi78ad2UxU1TmjN4xfU9X2nSj5gjysyrGcEY5ynLV8ENNrHhzsfQRYhSmQ2fLgxmWC5WnH5LgVyzm3VB2MoyYy1Io8DmxAd7gSq1RVPFOYV5s21UBk21uyPxGZzNh7UohRhCUCE5l4M824D6+me0TAxj+6WM9Z7yEl1ywWXlWkWKDjU+lFtL/Cgh1/PSp9EhkRTI2tiokbnQMmKFV5jzVNRo6ift0IMu6gUAZuBXtyY1MgcDZcTZmOyxWON8IxgcizhyRpMe5Uvjls38rdMrvvpTFXiUsH27iRWvdG1Y9fP7DAbdxRoylLeyNvYjCFZZ6Xva5bxoQ9iIQXwSls4gYEl2Qc9AYVQErolVqb6U5fqEOUDQTVDJyqd1yl1rLe6q9VDRyynwfHDu5ILEi72eiqs6lhT7MwxYSZogorAicUDAsRCyuPPAQj4j1Yb3A65nEydutNeNeD48kwbkNzE89f6e6jdi+br/8pYukMaxNKMHdGDi++sblltLQQg/Q0pNylg43ov5oEtaYvqnONMl0UKxfUXmmyvRjEQ/YAmzk6x92vb0k6sFt3xlZCv1WeeXqh/lf9tcxsowSXZvyhJ0tnaJAaCxUiNjIsvErTY7HhQM0o5fp47QD/ekYhABo6Wuawpnn0Cb5IC82Y70i50ELcOgljYO73PvUQuy988U+lBQgDgGfdy44RynOzr27Y4RfSkSHEczqXWTt6W1fydLtAQQx6Iui8dxSr4UGj2x5ICFMc+hI9sbPI9zUxFYZQ9gnytMte53UAE8MoQmVk8qIPFP0W4eY/EAH9vQNDfNqe7efRLdZaAHe5RicqBuSbuigiF/9bTPuGuZREvjcBYQgiHNdco3/KJ7yOr/1GnGZ6qD3U3UvbUTHvM3+b15RdelTYyy2pTKjKZ7F0RFVvfZgrz+aHYEnZ+jhhO/+npXf+NA3obZwj+CIn/HecYzJ0I5OFmUdIP69eENjZ3b/ldzV1FGAFXbH72W6OO9KNuDXCo2i+dFj3tI3m2E0YSXB+Iaek0vQcQ8HT5P5ji0OaOZvzLYjh1kANW+rxafdDH6uZTL15oSxkcLQtbipQEu1WlptrQP5snpQyWNDEey41jmksUzqpPpvxYR9rnmFcmv8WyL7/ndOv/XbqfAQtwTqccGZfpJcJpfcU/UylfMIMXEueRJfYyUMyJTSBM5PDOUWHoPEZFYIdHcfJqlPZ8+Vj383gItix2/HlSV1nQU4X4/M2z33Ei+eV+iDh+52l9ktwQBWEkfKf3K8XL/k9rTLMOHaR2Gk88MaytPXC77bHniN3AXkDZ4t9zR6P3iWq2V8I4GGh8cXH0joMv5jR9gZWg9EQ4EsTfJKtVZSmi+fPmDv4CCYlQyRCtISZFC39AYnpTNob3Rr7MN+s1en9437mY1tNHAZDImg4KWFeg5afcZF5MOptWQs8mGEbdb1irXV5jDqdn57+cof6AJtKkyZ6EA3BxpQRHRqV27XDJ+8GED1lfcne8x/gnEq+pc9HNUSfny7l+7iRHjLOFO/HIpHOullLIh9T5+B7mEQO2+ZyLkjbuyufcwJFn1qoUzqmUiU2qmgKsXVicBCbdv57s8JCYj5TSsz0tf9N5pVCTRhyVh1FZxkBgW4Wx9/HNC2W2Kw3hcsznfSOwXOSiKbmXaVPNv4AvLtJPvrC8GqIm+Vj2RNQY0vYXCJdogMPJ3Q0NzE1DHzNhmcIEorhMF7OAnlRWJL4+532FFDo1tWh8+Tg2pFeMElYen+8W8lCAJsbiqmQws7ffvJsAivy2goFt3+7R5DJZ29fwu/t6o2Vtgw5ad5Teohh1SK7cWktbIt2/KMcH3bMuAtn99ZD1JY06zEk0LwucuPaDej73bV1/qTur1Ok6dDOqgyJLk9ErGs4UZ+5FKNHOHCXiWyLOU0KCHP248/Ek71xhLWPPdjWiz7w7yKFHH2fUM/52rZmqwX+DuJcaA1Hh0X1Ie9gusq3LJyZ9SjgkN2d86+C3B6ncKYXZWrCBfsYHpKLBLum5wilFxk0I//hWKmC2JqsqE0gNsIoKigVEB3JW+UAr16X/mUuqm4kw7tjwTCLzpjS+OCr4PmW8zig6mz5+fhcN8MUUKj9idfrXK0XJzA96ofiSVrE11bP+v/dqBVVYNXJSuQqFf0I/XSaWU5u/RU3t4bWD8FJw80FfZA+hTW15yehittc7RGp0O97NoUNC1Rcckmrn7BVS6CuR2rINB39OcRNz4P5wae1jOsuva47p0d4yDNl7ApRrrBskLaeaDi8fxlYvIvxTkWQW6kbjHV8LTIEMyMuLMYLYTJV3ljv7gfkXKFsGRe4laq1RjDXVbpF7nuGZCzW7vptnpHASvcW2Aa2fS6HZYJDi6MfpL+rZKRqev0lh7OH3u/onJu1dtxO21FBwuXWyM7FFUamjSuPkAMR1J6AWoJgWnrKAtx6kDHP1fdeax1lBuM5bFMD+YZbiaX8uwQGYJN/yzMsPXPUPuwnYzCApCDSvjDkDf47+PeYn0jeVsxgVV9dgTFyrl92CNnJ/Ms3HASSwUp0nVuecbYpOi4k7DqMPmOY9HkrebVKXxI1H4qOkCRoquQIO2+4ZdacasLdFX7m20lVxa1WeBLWr+B50a1zHccBxXFRYzW+gGsRvOLIJDUtXBzcdnKrQ/RXxD1IEfB9rPOfTgm9jBF73U1efXZP1WyjLAn3p45/8hM3ds1kupthh/L+3DMsJeOC9N7Wf25K/FCLO/CxPjYdk9Jcr7UzCeQV1ud/Te67L5CwN0adgQPnO5fCdbm6+ih/H3rmAMXJzRYzinuXk+osfxVwFmHWbgKcR/A0+H1MftFyse7Y8xLmw/fFXwPkL25pJbFiy5dl4UMCg3yI/qcnZZuZDeblZW1yu+58v4z1ik0r+FEwbmmVYDSOdiGpJTNBKHrpE0CghF3E6u09x3/OIEMwcJXc8jWoMYRxWC05h9gjWV7yPb02U0DymUrmHcXKyotCSWk8K45ww9KsxiU7hfDjJ36YJ4Mp4aKTiDr8rYhOIEMzX3uT0NmUt0uUVC5JCnJFd8tuyD/vTCD83HEKCoJcp4EF1bOBu51+OiWYIS6bvVZuvx6o/U3zftK4HwH79rf+Wx1qKgMIpMT+Caj2Dz+lS0eSaj5XfrXzPEao6/AH2njVRaQITi0PBSgumf8hGdFZNpY3+qpocNowCLTG+rU5JYwvoZO0klKxeEFMJRVdzjAuAZluG26WVgBR964bLADri/CdLOsa3N9gVo197418zpZWfP7OhTBIt1lfE98+mm9PGwmoL/+RoN5s/X1wAPL9+rVEscf1x7EkhV1vuc7snkg/NtOllVIvydWgIozIXpK8hJ8R8luxQwttdNRVhFmkhvcJLuQgbsmwLamFlS7gwSDFSyUF7zcx6duryWCg2UkEQky9K9AdokHFr4AFw1taVvEUNtrYieFe/CRALZKqkJoT342ya0OIEPRkc/boudwXsKsJnfM/9Vt2Yah3DrhtFR66SuwEUiEga0mvCr5OiohierWZOf4hKyaAkCjLmrIgrLN06bXQ+AJSLW32kK43ailft8TX1baGhYrUoc7reiX2FhSyZqlcWkloE/O/7ZfGBm2ZCxGO3ei1EspgMIPFDHTZkIO3TO2WPpypHjvx6irXPX80YvrhmRLky+4EYEfaLvFqTHCAvK0GhItTSbf+vJ8IucYJew0XwzDQ7ZN/O4S2hcRXjuXlXl+ocPU6HnKsKWMx9XeDjFE2alE26dtHyaxmRhbvdfRA0589d1/e1tYGG2g+4pFljsRN/kZGp9/p+z6NS+kRy1k5Im4Tkz0f1lUCnfN/GQzC/5vdnl/aucyKKQGHXOf7+UxSnBq4EqSnBivfQgOBrzT9eZt8iD528ZJOvJ3z/fLYth5hgKR4H/KUStiX3ZpeIuT2C6COv2oSL4QyH8HShFBLqeNELsz8odX4CGhotX4f+MY6oTF3DZCOCekrmdV2CZH+NCPw5eHTKFWpTYtRCHqUaMuuKCsk/HBHKRrt6NXF1JimCAEt7lGFH/MK5ElzwoehXqzn3rf4DxGNuggOEe9NJKm7aZm2ME00xRmRntCOkIcRZ6rbWiLzRkeN2TTJF2PcVpwGBtoTSfQwU/H34A15ZZrcvOv4YlQznW4yr8Y/M1/Njo3RxJQIGQp2hp/Bm1y4KrkKRrrRFPA4DDOtu7RUYopyV5COqfk/uWZmn5KAgm7z0GjN1gi99/ZT3bhmnKjBOyLTmOlOWxFUtgF1T7i3qvDZzHjmzf240BFVzCACY2c3m4zEZjmjNgoUxPuLJ5PY5JrjFnwfBmwhAhpoyteuVHHxOJC0Y5M4msZL3Y+50Iy31tgL4b7O7ymDJdFsmYNYLILuvRQocjqo4Eq6Wp3UBIQl3Acwm3Dr1ngbm7yRSEQZqE6ObF/P/6ocqgzI7MaGJRH278qQJ7286yIL71qSauh4mHQmD2o/JOYla48Le3zYx3VBgeoEJH8Y38so+YAz5VODZ+94/1U+w09F1zu8vOrlT3QC7K4DvsIRHPz/6331w6seCsEZRGb0ft1H3ScakdxPVzhxxU6rGJQGNYeteRdg2YYErBhS0fT6N2jmjlLh+YgLECerXQ14quBZGJvn5uCs6uUGpsJZ0bYouxOuwelWXr4HPUDMKmwRIr6rSbrdzlbtIZZoidOTgFxIaYt6bjq37sEMFxAeFJWjdnGpiByTaWVHFaV7zBqH8gzUC29naEIlP7Rd7iyb4zxxHVK6DhZR5diwciYZ417QfkNwTOBXk1qyXLkxqCk7aq3yJ6bbpdzzyEGF9NNvgY8WT1CZRYfvrXvR4rDu+dL+FBNV9/wntBLliYClgxGZoi0XPGfxOwEXcrSiIn1h/KS4nrCw25W0+5HmW8ZOXYtNoAsqaDXV8NuX3H8oduQOazfNWkyuUi+nCJOvHXGkCMOM38pnsQaIUM3S0T/ciOSfjqpl91xwXvn3VuuxsPExnTWuWZQbl+KW/Q6DhnuQHkP3zR40GS6jeBOq5T4kc0V1427+EBfXsMJxqCZIc9V8ratTp0M/rWnRV+B6QhzgB38eFqNeYK5XJyQlKFL2acxrmck0yP8q89JL4SaZz+jlP+f+z3LuUJu+lscibemIGb2iKcVmxzO1SHbVVQZENkJVt/xgo015MYYCmhLwpctOkifOoZ2zXLE4LSjTmOcEFSm6IXDrMlQJae/pnlnsQEA0Ikd4gp89QUNDK/ckybymcKUTFQKmy3zvCd+Yfl4MvU+9B11iM2O47YgyR+Th16sIRbDbbDt5K5W9JYaAusfTCZcObJfBk7RCGaHACKdPLzmcMpPolFwi7o32YXEzo+1B/1Fyqxw+RTKtJdzd42wQCqVdprhGyGZMP9P1nU7UaOuf5zbD7qEZv1h6531j2lTDvaqCchEw1KMkUCE90CBbWEK1lozuzxANUnvvz9XAZiXNBm72e++7cieP5hIu7lMn+Xw7lHDFXKN6KorJxvh7ra/vGxF66rbaTzcd1eDleZJZa/GOjH4gS9fJmQ77VOtZnup3W0kwTjT9QvHE9o/3kaPLvBLEtj9POiYSoF0uAFV6LSFBfOMtlMxPxRPW+JvqLJQY/WyAQmi9XNvgYPjwDu48VRYtnkAQ2ApDG3961Vg7+n59yZM6qGvwFIuS8TR33h/yfV5AjtjuhdXUXwJBjdMr3dhwHefosvVHtRAunKMnrqxhOOGO+Bxs/OAwMaiVI9NGsx6wfXn0+YotxUQe7whM0Bft8Xuy/KeUD43ELft5WnPK3i2nAe3Ov/8q+WAgXga7MPwiFZwg5gFB3onmphT5MND/1/tB9tEU4tRBdHcaQvK5eRhQh8UGVvFJ1Oha5X5wGVWQaqAHNja7QfKfU1R0qBgBP7GSS+Z5lNZJrF9rpVw13lMkA85eVF8766EXC0vU8G6i30Y6vpBAuBnU8FGciSDphOjYY8nR4mq3R8s/+siGHlwYEuzWCD/oXpllq2TZ379YxI8lUCDnJRoKWXSLpwrcHoMsZq/hk415BIjCNyzUnojOvap+/2SSOKNxNUvZGZjlmXLO/avnO8IPqKoFaow1zwWQO7FcgdDmIw/Bu5Cyzpa031Pcd4ztOD8HBcwiusTwpEndgPFqvEDPgCLgec4IDsJhro9hSkCMQ6PdmtrO6h51OJfSswRRhBFLlxPkr4C5jVmWKIROP+tkJEW7wcB+xl7vdvfFSziZPl1i/VYtXjnFjYYsgOCUyfi1/YADWRT3uSO0fCKjHLps1jzvHOcalgZl9xwxI9BwxaFKw3YSjxlLIXUfMkhHLqFiNpsqb6CqgNKsPrTIqHIu4EV45xwydLQZQHpEwPSpOuzbjWtpKJo6X8PYoWM5wrUtaabim2Svgwv0EDsLJXiSX72+oeT34LFDS7xtzmCMO3sqqQGR3ca6XxRO5gd9j4fDiZilrTVdJyvrjyOnGkzB85AGtu4ZYqyZM5wXPRX6KyQ7p83OIKFDbBtLv8JHLD1M7YhFIY0QepoJeeGoBRAaKo7DZT55g7pM0g4lQDaIx9L24Q7/oxB4NKVOIpcYOcrONleDwaXIjeaYZgFjnWMBa5/ukhhAEm17fJYX3LPIadF7iZk01NzuJz1++f68wCY/JLFioab5v1XIQI/UDHvbss7z/ilx/KFYz/h9sbfjAOY6N2q1vk4bGdVPwKV0G2P/p0MYIdkk8xRB+4SGm5Yf4Qafx7RLrTzjie7HkyH0pQFNU41XvJl7Jn+1X+pr/yyLWQt4jZW3V4PP07eudRDpSs5/sHjJKUupLZsnHubux1DJO/TRzW+zF1Vx26+1zrx3tab+UepOEhmghh/clZlw7nTsdD6eaalpxpwXbV5+oYmyPikuJNjbcCBKgsgYwXJNgxO3exEnieSv6anB/0e7RzlHKC0eeRa/7nT8hVOerAS4y+gZG8DXElf3XpQB/ZeaYdjrFF44Q+RKvT+s0sOaMcs52ML6ZWy/HYXJHph3g7qRt44vblSY5d/tpORIecNMYtz+J6deDQdVKFYo4qGt2lFdrCBKliCtgbCGU8o2rwPbBbcPCyVaXFvtmu5FFsCdpyg5mhujz0gPGzI0kx0Uj84quCMQiK/sGVKolk2uYHeKp3oUhcFO+dKsUB6qCJpZIFSWx85FdFPrW+64NbneKVPUghXWIolng8fTvSnQmTqlDDGp2z4r1HDw/cjLEgBGN+592nPAB2rUPcd9Td4Q3JUJ6lRY//GjluXGqXCl+00hKlnnAS0uxw0/V0WZyaRG9Xxb/jGfmX+g2GvYdEGlrAK/wcNmJ31oyuyabglleXF6UNozs7vgpHIgoazhdlOA+HpXuSiiMUzYFw88/GEzrc19eIirIGCPjfbj1RcZpKZN8ussLmQEZJntA3bIbnq2Rre0MjMqCAxwjiYXXYw22vDmpt8svxtRa7lqmhD3UVCZWmHatgHMT48/ZNfAiAAOnRpyO5btCpYArzbigNrmHuwKi70mtAo0AYUT4EfPMGkAfJ1VazSmhwVuRxOO//TbaXjfslYskx7gFWePWne5iQ7RUQnTbOYylw8UwDd4kozTz+igsQd76z/17lsxjh3Ku8COIlIjBBoR3RPgIOdT1E/fFUz8KYEQqrT5ZqwoDpopGJsNhDPNbhauAHm/NhbZORKC0k5xItoRXQjFGQAvOTctTwDRDuRmCTTpeIvUmTyqzfV6NJnVt0tLltsScVmWDd/GCD3oCprfoiMFz+pXFsc506MDoYlM6yAavE5zVhhiihLpT5ySkayijgZYznHa5ihKlvk2HFZ0RSMVA4AVUI4rDwgPKJTD4NqySpD4BAvEeG5q6yi0QUzruXCjATvwknUFczfUUs5DnSpVInmz1nlL64Vxmuk+aczliB4FA5c5iL7CUcQtK1FdCeGBs97RinEqVFQXqU5Q/7fYj+I5c0OWiumVPQe2G7xclJ59ujl6wl9Xw/9Hqfm7pXQUeGzQneW8bNzH9MYh2QBIvO/IRYtzresnc1bWC300CNFkkOGNw0eQEt9nJ9U3Rn84ITFza+w78Pday0vyb3flvLhIy9d6UryTxSZn4I6sAE9xB7bpheBjjGmH0bpHcvuroFZQv7QB+qd5/7wOKXVMxVi9/2qangyvTsFggF1Gj02sO/wzRvrYfa52yXdxB2C2DTUv386fnE5R2BU0MqSqujg91wEPjKEqxXlpaHIktZmy38V4HZG1B/renIow4IshRLPPsUiYXkEYp8cVO5WcVvJLlg2Dh1gmRMLo9X4GLN/Nk9FNZSPZwfbBoczcddDHUCGHc0jzUECdx2K+5mNCT4xm9jcWMlT9OJ3Uzv5TcBlZl76cP7NBiR4Ysaq4i+34FIKjmF5iYeQmm6kKLyYaqLD5hJYy8nJMyP9waKijIIRtILCs+xVpi66njdNp1EWPThomO1I1D2URN5fbJhbjIUNkEUCvOsN+iBMGGt7yQhBShDrNybqudHkk22irx8ptbJckZhO00cyIT/RShUE5ubOvdLVbRaP4TU40xiNtjvK55k5c6lve1NjpRC2aheABzG1pp2mUEp8gr3vG0mDdpyaZHK2MDxw2CrzqAuqmVZRab56vUn86OzQ4N+MCu+fZ8Ywaf8NUPTeP3Rr/9PawJC+9ahIe6be42Knlxx52S1iBXUPF94A2t6kZNvBrLxq2HSAOedHyU0Xm35446vEpkQxL33jDs3JzL5f6d+Pl1X78jfPfSR6KGS+PBbuS/zYXN1Xo9CXzS/dHUuvVmGSENgLnXwLJIikrkrcpqEJGcIIWcKuwweiwvB/lwBbYwlCVkOHFm5PzxKIqlMqnsbWRpG7L0gS7m7JDOz449RTmV+fkVJlQZT2YCWbqIIh1cRBx6OYPW2R7n0n32gAcyp4eNefKeP9T/ZunWHlNvcd903OsF8NZKHVmPJTI7vjcQArzfk7ctlFXtfD+9EdhSOhZRQ/bWreNlGidNzDmbXdOpaAj8ZscqTfZlrWfJTFpUgmalX7Zn3gBX8TacSNShhLdOF6zW6yNouBinxURwRPxq6CV6BqK3UYWVfWo64Sstih+tcw+MhG49X7z6LMdFdE13KEN3nWICQpccMx8L3rInj1sWyDqEcYPL4VIHc890ee0p9B6LDvNTc1HtG+tjsCPk9Xpa4xYqwzY1ubVEeOMlKsrlmuKu2x7OJXTmXt0EagAbUDW86zqiqdOy0H2/i57b79X+38j/MgC4GsKzwTGCsOHKzC91Cq69eBx93Jw/74SgZSI12pm+6hHVYA5ysWUW5j5k6e93qQACq/BNyHnxKsXERdCX954FzmMaDIanv6kXDWHBDNWVpjG8GjK9UN6SfgVrMQEsOOjGHkXbsVom7RiPGilut2B1gLyTwCsGXv8Dqjx+1bmW5++B85N/sMsQJcxNVbyue1z+8SIFwmecyREcsDxdp2VBaP801cvAn+KLEIP6OWFb8rXporZ7FV97zIo8xeo4xbng1NRi4QlK21kT7O8YPyvNtyeIoAb/8R6su8qPW/JaoWBA3t+JSmTjQnCdN3ugPmSMrbfsxmDes1NyaBLj5lgtrH5NmXLk1SxC8MbAs+diyBd+NmBlLAcnSKk+LXXcZZ51d38O8uLGrlN62UUGcQOW3yenCUl/Sb+U4XNDScRZ4e3HoOj0nMBaETYg24/Gf2aIn1VPxuNjXJw7YYP82pWxkMC/KFCT/DUSNj2NjcOKAwz5QT64+VaqPUKzW1W0yEhGwykXN09+mTG7dx21AFCoO3wirEtrC2Xt+GjN7KM/Zg8Sl9DYedQJ2HS3xL/xGIL7HOk6aGP3X3S4YOKjf6SVjXHw44TcvS3xcBfq4FzCzS3ykZWJRnyDgPVURxJZ6ghAAWZ2nNQ7dvnrvscxD0dDYx1f3Zck7IIRK4hIbKw/Hbj8FJGexSDHjmCN2/gHf3xYTg/i/NeeMNYn9sG3oQPgONpavCBln3RR1HwrXVNPQtg5mEkLLmdEVBYePCLM4HJ8OV0tpnl6D6Ty1TeNeDBR2khdGOxmeLx+qRgQlsjkvLW7Ox0lO0rfOuta1ggvhhB2qoyQ7IihyiF0/c1fp7+cAb7BCtIHCVZMg05BxJFAlUyF7F64guNXbzw0Kygn/Gw48dweKYe0G6DKWFt5ROLF5s90KCFVEIUVTKV43KVsiyrWRPf403HZdxe1kVEwoCVtgiG4CY2WLsViOCI2VCZqd8Oyil4QMWM2RW49s099nB31oxMa9Gn63n0cjtyw9aty7vOWH3KnM3d64+wl7Hl20kWrGpz5WVXPE0wJ5DylkKBHssU9cxxSmZ9go42m6hiq1HxNZ7yA0CrwDpZjX36+XPGSJGstynDqCaqdkeVN8EQaYSNsnie9JqqHV63DlTviPhd4i3C1Qj0s7C49SGLb3sc+77hcu7b0OG65McNZRpdT9grHeitl+nLuG87w3QWooYwZxxjlrIe7hJNIRL4C1SAyT2Ic3FPrl4KXwkyPEa1sb9S/JERG+ABqb1qq04iJC4UnsSIYOs33g8/SPj7rWDoaK34udRh9EucDh5Tvm2j+JDfZLbE4dN7uLSVxg8TMzlTcefbgHMK/bublQbjfNJeyCM3+pe4yMA79tnS3CZaVc7orRKTw4EPtk5jHyC8eDgPMrYgXpfaZ5d7EcFIN/BsYxVpDDqugfztzZSXd4PL7/0zwV2V4Vc6wWWOS7jeyFPalHDGoiFu6cbvayemE0jADpAUm6pbsF3HLLa4KH4FpBm0Y3OonSWcxVx0OMHm4eCn6LbF3uTDFa45QLw79auQvTu+dfBMW71d7UeN91J07LadLvjyhQpmqJeLexbi5eAc/jSEFAGxgfaWkMFNOh+LCydJ969V0IGl0R9rMVmEHm/IjW0C4ZN/ZG/MPa/xxi660vEN2UutTNLD9neRBdMy1XSxoiq4/U87Mj0bpKRnhwFt6QYC8OJz5AZMOGZPY0X8wx53EqNyi5fW7/I8gAb9pLxRGdhgmRtm6voWMV5qSh5+h6bo5Onb98PcXGz8ZQfvN/+Nn0Q2jLQnsId4xCtrsZQ+09vJJOqYoYw+mxAW6r/Q1D8MTMMMkMQbxvsiriHZjnO07UOvkBRnrCW6R+7jXFo1jyXP5CZiD//I4hiRRc7oiMZ+0THjKaPiS1iL6ARbDPt9rIVEoqNNvwWYpUNlta1nTZnfrl2vxkHsU+nzjt7UKyu5wBwmhdMQAhneJtoGNCcd6jhDRhfyvaQs2z6vTusBfZchy4K0XrVmkltWtNjq7qs4PRRm1mqsgA668vEV4hBJebE6Ffk2RON51+7czD8dNgJ+s4Ujrdrqlt/L/KBCnUEqUmsTyS/Q9YlFRnYers8u3l45P3dW/aGEa7M6sBHhC5hpDUePIPN1u4ftYurrRMeUY9+IqZdZRr6+9cAJDktyFgG4pMHz2pDrRRU/yupZ53FsIim892jrCRUSfswWWrRq2N2UDVYMy0RFHPQ3drXXtqubNK52Mhsvi3G+nCbCpQq5bUhAA/3HHRrGpHFqaUjWQYJoIpmSKyszrTE8GzszGhJD5nCGa6YngC4cQKs0mRKyohF20F4phqxKAPlj/DKplYcK1I/vuXsaQGC/OW3mOFqLakfaPzVOLRqnupC+zrUSVnIVL2Z9qDkJ9pyHXLJcMKEGGxNfBn/AuuCJXbT9OI2tcuJ2ppqw80nejxWLPxMA4+Sh2ixqDzLyus7r+ubPCyi9VEJQGsto9UiD8bY0mv0zdhWZSK+XeoOISQiTvejhiJd2AaSrjVeBrFCGqqoLgofwWse0+ZbPRkuvLcHNUH6vvKSnkv5QirZRwfHYgGuejyuZp7UJ3RdL6uFKe0H9VY2mJLWpUobU6X2dvvvYPLnGxiOa4/CTiS5r05sAooNEy/3iAyq9tJJekiKs7HuXAMawZi8Sms182vKh1Otn6RmerOhDs36yBKaDcWs0Gxn/IQUknzp77lhWDV9vu9FhhiZXz8TdCR4APrK1+4uzSDWIZHiLkQycktjlYHy03NColLPVlFPRnfYWKZpyMM1lDLrsM5jeT7k3jou9gJzohgpYqLuAisqOfX95w0OJlaSE1+IBMBp4dZzGWoWh9zvX6E4BNuWWTXe6fHbQ6uhUw8uwCoskfFiwon4jVpDVKddybGy7m/H8+oHAHDyxOUij/F/08t72ahAnsH1r2n/PVgm2si0p9B6uqLJzVZP4PA0IcNvihzHJQd7CoVlWI4LCeaHHOapIOQ8JyNYYzS2XbN82TdQoTymXpvRQANRb1qNSnpEp7+gU/eNVImNk2H4YP0aVVYIxTb1n5P1WCTyxub5tkLwyJEkXBVK07vzQuTrpJ2t+w0VAnsaDUVQLE7rM3ZTemZVekvWSQ64nMSOtF3F/ILZfi7jwJvbBM+cjxWWOPAT1xzUmxVAIsoX5o/ELIAnuFRfb/Haim70/SPBLzMNHgEEwVD6zE9g1l8vyiD9CgL8RMNTrb3Nw4gZryqjShQbaCD3WZaCqgojSfrEA93xuq+gbSnuODZM9isKRifZVvcQTz7vl6qtZjXREfGZYRYgkHlsfXFUtx48NRcKQyB2/mnhZaoipSn/K4g9rmcV3J0nK8NLR5W5vImqEqo4MvHH1J3gXmV1q/KSw7dJZ+FBng5Fyx78jQ+KH8LgQ12+G5afPj5ZVNZT5eNKi5e3xrfGf/R3YhZP5Ks3D3TrkpVh5Bh71pFPMiXaJ8Hu8IS5rADTwXsl2HzRiFaGMZPqbvHDAZyvtztl+e6GotbpP16mZzG6ggU20/4rbu3Vvbv9t4Bnl0ty8808eiDMFi1wIgchAFZvX8MGiiD+Qp7DzJnjcOkh/mMNUqvSA+2K2JINHCaVactYi97sdUZ7HB0S8puhzL2NjUL9bQOmhM+h6JYDkww/yC7z3vCmO6/d1PUHFkStGQKab449GUyVUjEDLsdknrCZPLBCYJWTR39NP4l6zdENcHlMmnJPQDr/FM2gibJP8hbZai4D6A/2Z/XXXeL80YyoRwglTqpbs8NxSGoGhHwK8q3GwgESnQR9WSl0EjcTBOI2PxaKVZxgjqVe04/yJvsw6jucSChKFXm1ijnRbrBlQ7d4AE8M/rQUvLEM2rjH0HwSjvEeeibe21tXxehVKcPI6shlHYqxCg4JXjrO8iHO1fk4TwG5ShShmXGaLly6CCJPuL7gGCqe5lPfzyAzwarrpnaT7JHf/zdQRW7H90I0SqCXCc1dDXSEkVwgZvMq7tqIiUfFpMmswDu9WIuUYlsO732Y1d8fWvqoC9/nuFAPUhymEHlLyiF4RMOhEsG/3xXVVMhrjvezd7v+ZuikeCuJhmcsHbhMvy0QZegnrNfajHN+77eAwsqp4TROtQdPc4Mepk6QdT9BY8Jy/9oPCmu3Dei7jrYhd9y9opjty58esFxlbpOZfoe7T7RcTJUOx8R1xv2U6SUTHI5pofKmTuemaHoFGO0FekU0PEY2oKKqtRnN+zdN+lpBIJbbzETpGFiYuCuIMS/ySVZEhB7jSNMpwNayPctOZrpBErI+TI4d02B4xfD32STuxlMg2F0zvoQhhdhW49128J+qJ8AaJVYxnTmkVJBjLW2PnXK4o6Yv518C9lb+j0Bnbo+fvHS8bnXU18rN2K0b0r1/neuLdlELmbRVD64TIwvQEopmi79SYcp8msbVt+bJboa41VSyz3mz5FsyZXESqcSCYuZxJ9mhGQmmU8EYWq7PAATcmqFeBQtT5TJ+uccCMJ35TyqyDOwm4y4m9ZIYO32mQ0LOJwD63510EAhyFNz29QrBxARFGTJeFxdJ5M7MADrP4+A+3qieIaHSwNAX0NOR52d1fGTE2NYhj+KbDCH/Y4Jc0HQKwhlpskxXkh0XSztnQA9EvAi2HhdO+NTsDhYFT2BichbzrOdsmT+GdhLe+gKThESpgq7s/dczZ0zX3X+Un59JMSHbN1pX2ZzvwK/fqaYGfpghm4sTSowR3eA2yP2EexCpiNZAXTKK8Xb/v8Ga76kj5vzXvz2EM7CcxKUXntJNoWGKIsU76zC3ySxsT5og4Cmi2YTLjkxHNkGh9jrkvaSmp4zd/Ag8dcR6/TXkB8saFBuyFay+24U0jm3rowsY6dtAeuK+O0A7CeLuqgz86FwshZoNAgq+6xKY6YwQTHNn1TXoboHT+Zhg4Jmg+pPLa3np/VyKBmSZGfWuzJ7gk3wgGMwyzuo+TZI5ttDjzrtGhJ/JSZfmfBYBSiGGruxRXL8oLahHf2+cRpIHc+zhS9NPDdv6XDfedBiLSckghWw6dSS0oiXhqDqUQ1DB1FawWWSqz6sRtL3krH0KxEDgLHgL+qfkIlLBtF3Qhf70XSjAAsdGxc1js1Smaqt8FjPHfptdd0+qYMDrbGyXyDAz3QmSSK+WymHWqrnaB75242xLIdlKiF6Mj7IbmeUTXOGAGPac3/WYn6YGafCFjGk3eLpWmfjCAPqdgi712Vl+zGc1t47M25YeUxgkM2842Fs1IhhuAZPVr7tLQpkMTJqSiQqMPoEQxK1zchQWfm3C/ik3YaeWuM9HYoY5tXEkb86QKLZOF8xX7nvouTIKxFkqgIa4pRG+XyX3+WlorQJ6KYR4VYVJB38QXC88iqzu0H7m3eN0ycG7dd1DPefoJE/i6pbF7Hsb7f/NtC06qIfOnafg2um2BxRejtelyM3Qyfv7NCClabeBwWTOkJktG8XGAFJ2nml81z+zPl8vMAxKhnci2Ay3LUDNLVa6o/G05nnUAcLC35/OIta7Bwz+sdkFA8QZFgHIv99ZuEzRlPNezfAPyIR9X9hu+CH/IVIrAPnKLIzemZSCexPl1QE5qXlWg6mA+deVvzLNtWOJE0qIY4+1p7mXAcOavnMUy2TV3HvEl8+5U97oQH9L9SI2z2k/t7LU/gCodGvWnANKfxS/vwQTkgUmixVb7ekZIxRAGFRwQEw9RqHChf6oY+gXz1C8Qwko/OS40BjJz7siFXsMXtcg2ZA1tVyRB4r9TvUVabGymMsET3nxDfEl54vxR9aR0rC2gSY9/Xse/UNCB4S5PaahxN65p8MWgxpFx7eHq0xNc3+k8RAfKLCLIoyc6uUsn3TP8kSIS9dKZR9l4W5HHzkkYd9S6c5e/7wnXKOJz+2Ij/Kn/E4i+1GYI6bPCrHHCvx5Ci+hTuGMHurtCwaR3cRKKOy1YMx0ZQvYD17AlZGy2SAcB7vPreuRliBM89VU5HEk7ToImLjKNJVlY+BmjzJuU4QQwoDIQA07IdUUCjAhQnXl1ii4svloy9JdhbBuSiaQq/spfQ9PqBs9Bm2V/TDj/cfb2WpF1KVk4YqphBkxoosQqSr9XxWDQC7cE98uQqG8VtZaMZ09UbOapUuckeVdCzdNfmNmGf316qTN5Tw6au5vHUvAJ7SLLam7osKsKkrHMkVCc4KqYef0keUrA9cWlA4Z5vaxyONWRveTzJjHmdjUnoFl/G+QO8PQueukP46bcnSPcKzgjhAB1TuHAsbZhtKZj1vgyBiYzpwI9Giy9JwGy7nZoH9Qj2KZIQ0udJPbRHFqcHeXwYIGdgEx4VkVEH9HiFLEoxxY8EjdIFeYgPRubamydCt5WHADJq0y1mc2AMSdN28da5A7TtSUKl9xrUoOYg0tUk7PbZHUVh6YYARV6X9genUtGcosYIslQwLFcwvLQT+CFyVK9AcMV186c9MhlQBnzOXcMsiEnn84xefjmg0eBDrHqmVRe1oatOy0bOONZauGOQzIHvZ8aTFcvIbE7vKSn/l1tlDnMw34kmjBzHMeN9LRiTGq1969+uECvIa3THewzr6f0lbp1VR1ePCyi/3RZXmBGIHIY2LunP08ubN5TpDWpNMESpLAa3BMWLMSwxUW7q1RBad24wzEBVbzG6s7OAR5BUc8kaJj6fr1wwseCogUBefSX4a0qVpvG6FpkF83CqkKSpt+9USdU55C1P37UuhbMbJLlx8RjXmgpzE+4CqMAoygkygYIS6NuY96+OzCFMRjLafCxcLwWDQPkp+OI8OTNBvvbXwnJXBLBX2SCMA4brb7APzF9suCol1dORkGJHe64tW/T+Ub2cOOpf86i1cSHbYKPQCzjeJ3L+K2xpHmP0rQhJFZiouYOHQOCdJNv8Hhx1EXvAfT7oMWSMumzhcUlvr2bCyH0tqagO/eTLLPgxDkNzlnsaRKOtELDJIvqWfMZWRoOL5ZLf7dyVGUnWdVMCvqA9ayF5c1CKwEmuEGZnOme/AJZgL9+2KslQtIVfIt+a9G3zpxAwX0H0NFGmB4lbH9irTVlqvgKe98cC1hpkpuY33wPwxvXIxB3QfAxfSrwPQ5bxnvd8B1JT9XeAyzTrCFucZXDA5SkmH4ag3/qfb7tiwUUTe7K8nat7+EDMbNcJhM4wRMQb8z0ZgtjEbmSijMaEgJBMt+8xXnej6NwAUkHisV1QYf9wgBTbGcLBJproFyyEhpD9tU7cXDys8g6lVtiO8Bm483MvzNRlmkkdW9Pqk30PwD+4bWydOWWU6pOHtwmN0DQs8B+bVFuPy4ub6L9bTjjgAsMG75mnQWXAd7gQAy8+/joR52irWi63qkx8o9l8zaxVIe9ZeVu4r3TJZaDLspiEyer2LC2DdzLbTXYIFPlHH7Mi5XZpm+K2moSgheJxidPrtrZ99hVRL9eHvwI3m9+8oyJx8/GpWt7Y543bPNE4EcKrevdADC7uAMjgbF8tFufxADgvb/fK5k4oFMD2P//RwYBYlFAj+wGlkbensfY5XEIvMjW1lYcMnK8JC6pO0jdP48u6kg5kByvRjSB3XvemnjP9nNLj79BN5CLtReIp3BbFrrGEPTTjLcpt/ZtIQKZdNPh8tl+Z1UnQYJrpKCYwUVWDpF2kO/m5T4wRqh555RNLj++8ZqDWLf0J2kfV6F3Cr+UjKB8mjVFT4EQydS1pLYEZIUWwUIIVywlnxPlkKqmp1w5GBvD8GffDWBKqv8iZBmN6QVqgdqdl+9y7ZUG9KRlkVxmHwM2w7F0EhS+eZFZhqftEXtYwY3Tnn56/fiDoUk0vinKNaoLqpWNx3nL/jA7qzU7NXktyHEUcy8efoz82cChSo0HjukiQ7V8eblQqsyHzR9aJErALBad3MD7D7YyaxXvztou9FzyRoJGyRkOcPzjZraaXJ3oWXZFC4SKV9PTxmbIJ22KFer+y4csCoVNP/CIkiNkKV3sbtFaC9Vlj9fB851brUrX9g03XTEYkxTDulhPIdcW6p5jmc5TFLhFIdWPCObWJnT1ZKAqSrFui0ugtGdODdz5Z6phpJgtUq4r25laKlq+HP3yPdUg8E2GEYe1MLuGQz3lxk84JYlQUzVmlIH/VQ5uRPo+YxKJIUEKSeVfE5VC4MdxBYaZuS0/5zMKq5wVIaSsWX/Ff4p77Ek/sc6w+MS2lNAiSTYRPpgdamCkYOyfJwJ24v6aCkez0S+tgTmVh3tYxKfDoyHXl1XRv7BhJOj9JGmowyZLEM33Q0+tU+NgIZTzC1VXREdYIAOTGovh5SRMjba3um4EKGSjeiZfp+ncpaSiwqWmZeIJ6LBAzFmcTLDM5Se3Pd9rHZqz6g8fAcL4sjyoyjgQBE+T58KfOrAWRG0Zc0FDrJ2QXFYAAVDrXGGPdVTtPjEeSFlJWmimayJNNbV0oEPRXyhz2s5hKlvRJKTCAfG/+hSjyHgfDrSJmsIq2gTUM9ClDKimTUMgMLuf4JX9N/EWywfyOxJIlHbMVaB3tD2c9d+MCRAVzzwZK/36fApquvVGCmvHfznKMz/LYupWcEo6DGXgu9k2snou03oYEAOPHid0s6fKZEgth4oArXwmhjiVHId/N01yP78QujK2ug+R4b7ajmG4s6NwMjRCqY8JUsEgA+MZ8IMmKWAvywPWPavlAtmjsyl5j2ZZf1HZq1TBsjJZtLLkGJfHsCmHmvUXWogOG4vyIpuLhxySgc3RShOQswq/hnsI5UTbSRv49orPxPkrQPFjdmhjHciWTFOMY096BJVoZVwnew6RRuif2TJKmcquW3n6bNej0+ehjg6S7hJtcErlhiOjLn/LWNg3m15jIBwZbh1CxACdzKSsWfztpqtuuF5GCxn+6VRzyxU2sPf1b0N4gY2WlhBe5FUGXfRx2+Ox4ycl1rph4EA7Qd8NRbl8A5w+Sn7kXIPTJz0chcbKKLTB/CLdN5sl8l9qh3LY7e3JGCvK+kqcEcN7xpSElpy70fGCEshQRQcXWRfQz683pdcQfPbjoeFYjLwdWsdI1eI5wgYDphK1uhieBcuLMN+p4K4ZuHHs3Bld+HcDPNlbWuwW+enKV0iCIrdCoIrUPmLsgS3vnWrv84b/KXbv/tbJ+y2HnsArSwOGEX2Si9p/CY2hBVodg71kzrS6wcdeqfXf7wiC438vI+oktiN097f8lEzUC6ekeDxDSh5iCCeiqC6XQdacrHErKF4hD0DzxErcrc9f873z76AW0AOpS2ajZWvEtTTFv49ynJClfGIqw/lkjBpugHGVMIgW7kUCqMcq4q2ZaS251zH+3IulVBEzYFIRdVFqfIAvavL6A0DFE5hTuZ3HENF5UyOf5NqLfkkcPmcHSvOBRYoPO4IGF0lOQ5MtMWdnTO4l9etSvvl9NEK6n2Rsz+ssFmGsyBDPT8Oeb752owGlPRJUyQj2BybvmxZg2A6xlQ1m6/Hzf3jIW16guEgr5LAqzpQmqSeBil8nHj+ri3bggMQW9wlXdeJHqAyUcF/+e0o8nYOA13EXDL6EIyrjMjy9a3Go4NQiMg1sbamELOZLgVOxfoCzAwAbDRrYecAqu8qQarzG1U+Gv2h0IGoLsS7+fUyScWJme06N92QFuUFFL0z4h5u5ucf/nVLTvCLnM4UxS8eB3WvcfQYKyGsVNxc8v7k1xygcagQ3yFEGQaJzH2vur7felyYcLZIcVqJd6OzPR5KuV4qnQMTZHM2r75fvzu0Npwx/WQG0vfN2bIUQ3b+w6gQspY1YGHyL959e5Ji39Ipe39mnij+3J6J9hS9F3/+NlSTggo2p+6bxhsDQ0soTIRoxisqpEvVLTA9FnDo12BCL9Z384Ts3T9VoPEQg8Zd/erpkRfFZjFqn0c9pBlfHs4Fb2pcxYSw59dLUY6BpavKK5JSe7Rs0LzXTqeKD8FeqK3Wy2sxE8crbQv07xtonhat77Qb4tK8iRXIFQFisJeImoeCPdOpumjbSQgFfJXlplSeHyGxYn5p0e6ahbNKZoPQVfEhwZ/Q5Bf3xT45eg8t0lkIkuRHHjNV351aVMjJUPS+S9FPJ5mWGgQDm8vk/N+eUhwYarv+calWIg7dWzWHQaccJmhj3GSYM0FsCwQ6u0LjunoIpoTQ0nDzbzhtXTf2e+zlbSkk29TXYqCHRfJEX9dLBqoTrDwd3AOtsHo8SSeoNqZs0+5xB3JTgRmzOMhEyNADdrqj9I/27Tov42dmXR0C6anCrjylw7ORiKXMCBPeBhnC8+r23rLjoD+dcrt4sAW4Jsn+RefEymBrCBQvwgDD0OQacfzILzRpnAzbKHjn/BT4ycAuynBkmVZPEQHoTdjXTQ3MhLCNwyID8lG+QDVMVVdYOXLeII47jlNor8kTGlh1OabeLoVCFM8KfGNHmfFu5Ys5E/SAojFeuRgRWMEjafeo7OF0PCO6j5xHtzcHj7YTRLePgxCsLVmeg6QDvXN7pANXJLtJt4OP91Cv295DqMtjO6D6t9FLhjjURzyWnZvORiLOrWRRKrDks0GOgqzh5QsvmpthcQEtiq7IVUgfI34qxoBRbVFQqJdOHHCGcNqVgSz9F4QlI9ufduY5JK2q5yHjWyHfmVDvct99Pu9OgsfTjC+O+Rdis9UPGIOmai2PnrAQwZLoMh62v6ZcD0gFHGM1VnXczp+Y2dG4hKylEGlPbpuZfB9xVZ/xuTZZKQIvUtfSlLUWnCKPIlGl5K3umcEPr/GJoY/UfOzkjzIVOP6dRRxU3gt8HoQJuUr+nddW80/xcJDgDqF247w1ngnB054vHPXVOD5o09K4+OSTefXHzuyDqJl0hnag2e2sV457dYJzcbgYNnHQFZo+MhB9Ys2dQe9Rd7swyeGtWqnhRJSU5A37Y0Y0//XcTEDeG9KzvoCJ/Cz4zXxqOvC+1wlZX4gIdCVPH+fNfJkJLthcOLTeF9LsSaAs1QyQzzliCU46EdKBxBIGfpo9Glpzl00TGmXkG0CtWI3Vs8+NulYYMe4pha+WKm3k/YjVCEEGXHzrQA8wDs5LIm1G1yRYvl0BAfoP2cgn1Vmh1ar+1dI1voJG/c1fLnrOZxKvaAkw1kSHXpiHLhEmXS5rOpFdloCitpFRFGSbLe0xDIgesGSLx7px/hVi9R1ibS+vGhD5rEZr4un2XJ+MPYsOiR7mAkaBjgPaUPwGIVemJGDSGcSxquDKJwBk0AhIDBi4IvlgXiMpz+7oOcDW6bhyCoqGdU29XNKYv16Rx8AIoBuOf6j4ExSNtRLS+F2OYWsny1Y+l5ry9ZIsgRpAlXi0tdybhj7xFDbU6YC+OjqRCBIAQmLw7Ff8DwlE8aAvyx1K5PGhaOwp2JucsMoChJRcQLWvVXwX/Jdk3P2asbqDWAM3jqQRDhGgS6X1DIsx4Xb6sBpSSnrbHrdvFFgX/wiuI6xBLgzpbVw2Nv4Mw1GZkXzDFsHCgGreBG5DEaU6Si7Nky8R2LyY5dCVxTjNrpmSxYYsKVFRPKlmA0yw6EdPvU+8G0SafLuzZ76vYTy4zLtAPYAXlk0GhFk72IsemOUObcmG/J0IcrvQny9iBbWc33l3gkGQdsImZp44cFZGChCyuqhcBcmmyT5G32rjyBK9eLievA48KYAIvFD6fBFKQlLDkt9zWPdafsmVZZxZ2EHlyfvVveWINqZjZpK/0LLnGC5Xpm/sXkepWh8OqYtmKY6kzl2yA11madxfSxcsaDPfF0cgH3w26DyP/i6ypvWIZkXaPN2hCyIUvKcHCcN/kRuHR2JuK1AmVI3Xd6cvAXapKgiqZGLy9iI5pks6Qb+np69E2rvy4bDb7NlnNMAOe2Tdt6MHBzu1dYFXMk12RgxKyBeRZUAX5KAFHdBYyDTZ2wWXa7ECvnkiclhKAKt4PPbrQqFRp6Z4uWdtNqkdnx+qIf3j2Yamli7Z95XBOiaqhv2q4Vqd/6p11HWAxSneaOBD+62V6nA8Pt5Tj1+kB1kJrjT76GDkUJRpHomHJXpah23bfm2duzjdsUAAHCuZHXDqwzxX+Bc0LcYUe/9ddWAaEX4pl0U1PKR1gcRBp4pqQUanWetnUccT+CYxT4s773hTKjnEI+/yJYQFVUqorWw3pCH22BQnpRgXjr+ueWfR95WGS6mn7WZinDuKdw02rpOwKbr5VuvrNbqN/X9kOrKHmtY19NiGLbbq+hsTLtmRnAudnCJthNRZMsUpT6YO2qM1W9Tx3NC2YtANiML7zATysooZM90dTGgq9nWlAM6Gaf4d4VN5yM5fW6jS+pwlOki+Ch6JKUaAYD9yn2maSQ+Gm2Tlz64t8Yx51Yx7EpiqNDB3syJ0VsyTAjCNAd/cJk7xokRkJ9StRJf3g/BLSmDC0S7QFyUEG0VygGsaVLU4YSRM8v3ITg+Ue4xKUdpkrSAzMOxUSzHuqgMtrk8DfM9+RgciugfazoH9PiLhCdRZ9uz3+cFYBvCPYVUIr8glKsIA0xXclUa4fH+zw031QFjfApq/oUk+gi+KWP1bn2aYLlDb7jDhYyREGuYeV483swxiJwqpwLhAsrn8dOieuK7MPHcScN/ikbkRMM3B2Xk5WL6A+cCMkRfHtBk0Ih5OSENVt3kA3ypevE4CUS/pgE7K8Zx1+AmbDNjUpugKFdjeMnq4wk+sZSvUp0nP33Xq8NeBZ6UrovGWS3lQQV0S7+pdBkMbf/r9KT8oWYe842KKrdI9MW69i8zMKi7jo6GU6TDyS3rjleHgNAdGN+USd/oUVUzSMbfg/nNe2WJpqBzZFFW8oe1NOyT2ghi96cNeqjN+AVEOVZvyzZDgxkxa6FxpahskmQBjk2u0ZvPK+P+iYuSNQfk8UHVeGRJgA5vJ8eYNToV37zXPtjT2kfHkZfFp7UwexYhAndOYeOQn9aZz1orGfsyfU8c398BZShcWked2ulwM5YhPc1bTzzrnAlYC0vY99afxhVcY4Cij5rM4xdIQ7u0YKIVyqbjMBReK/ok6mGqRMpnFP4WeYsBgHUwRmlijkdeP/IFYYHDFIpAZt8CBAQI2dALsvIkSGpRl2/YnbvXEjRsiJkoRqnDaTkvS5xodLaFcfgkAqyZ0/ez1RsNeOqgiH0hoJblmbBS8xaYdeHwB8Js/vORDBkAaWhF8CvTld4JQkrl7jCs0yx04LfzSUaESa64v0iylJ9MZ0CR7285hi+WVPtbF0czeJrhop/58+z8tqy/szmML9LKGK62EDFY4tsRCMv+TFKuuJdM5ksyRyBGkGfvw3UqfkLJcCqq1Sa8I4q4XAvoiOHqzAF+Kt7zaWe7kEwXu9VmaaxUWLPgtmLBLYMSYZKOliQr9ntB+tLApQPTKlVGALqT2LgaWV+4S5dg83GG4IjEjEEMg81ZIG09odtIuy0MR9S6YLurecfpQyBsGr5U4QeIlcZV36X3VP+nN0/mc1PEDUDsy8Wg0J1zgEEsxMfcNhqlT7Biy25tos2PjI/NwSDjlIDALzhfEsccLka61Te0QXNR6qI4Yq+ZqzSOr+QDE9eLgbNAC3Gdg8W1YfnRtFK5lg8vneXJb/zdTVrrXq31/hICzjWExbxHbi8PYy2PwQynlDJjOamRAr7o0UKNnOdZeST7+EmE0QayaY9UXiGXgnrCDztttzfrZmIuBAN4BHZ/JLosMHyNI5+3ctcTWcV0kkxzfRxKV3D4cXm/JC/+arWhreKDvbjqRRZcKO586YZrUpNSD9tzkGjkiwvB1sgbaBNNuz3JdxSD780ejr5Md0qX6IO8nno5aHvxZLsJHMvfGZimezNC5LV8uWWgnB0+dl/Nl99k6J/QqNw2SeII4qICwqSX0W3UcqF+2PYRmwVTCrsz79RA1fJjrDM4RufHGWRPZmkMEEpJwmEn5uuMk66/P6TlmiqL/VQFNe4OsaI++krfr0thjJfBteZ4uzP+lQGYoTC9iHof8QxrbsC7a+xpwOiEoBWLV2jkOVC3MLuymL0zkgIPUTKVoBlR7PX7i49XhpZjuWvoZ1OpDNncZAmkx2UBMe117ELjAkyDw2cecNm/eFYUJgYWSQKzKPVE1TTkcgyqm75yLVZR7MEq45N0tlSyv7z2lzK6NzkaSyR3hEFFExbTYHQF08p9udFjskJfpK3epiWfu3fj3+eYMjrjEG148D86JzXfldiIwH5gAaykLLNMMJLPngcMuSElFldl7SpgDAUAeFEoAa5MuaOudy43v5cUygyYUmBQabUmq9Y/ogiXpg+0og7coaxqgYY1NqU9k9ZV1BP+Ks5TffV63bTSsP/u3bCnmgPo0wD8HHfLStRzoADHDkb8oJBE/G5BZZis1badvIEo9cY5+E1jClbGCSureymgF/LJNQc4GfjYL65KJkGIwiusXaJb5rLFUNt0hPg0QJjvnZcUQL4bnMEmfz7p9zcsuu2H78/ftjKqfLjmNdvQRVwyDvBOVCKnci2udGKN2OzV7/pd5DuIt90HKarrTknN5R1DS44Gp6kPg6wdOKYCQyjXzhL1JIMoVUyDWF0reUcDQGFRj20TZZxG8hmKIW7nICwi9bNC89yp3ugBNxySpFy/pHopzDAD5FC4DyN2xT/fqgM2iA7cRzH7lWofkQSceUvIMjakVlv2x7DBnwyQ81dKEjIwAvx5qmayKQZ0RPtMmF7rNBBLoERhhkJ61zAlisb61xdrsOtuV4B9MvhoL4NKBPjpT/H6zU4L5B52zzcA6JX0UcaGzRXP+CbaXcRVOkBU6ol4J0K1T9osQKSaRlziZFKZJ87+bYcasGSs/qPRECwP8WZs/VYcSkQ1G/xFqzj8QuUzUXRJhcyyNeTn2dJhMavaOMDDTjZib0LTzreFU5zrrobSOGJPs8G1wcnrw19iYvKgXX9SwTEjeIli1pQqyY8bjaULYNd1ucWWHoycubIXdwMxe4Bnmvk4PzhlblEcuw0mM0v0b9GcTwPvEcr1JXMoF56WyGYQvQqSizQEaZKf1k4RqE/naYIxN3onujSElRQ8AaHzQIwRZ1Z3h+R6ikpGc1n70vrDml77RBUXrVZexO7ol2DrtlvGoUeH9j9DhPcu5SAjlk+FdQIT5KqGooJA38E1FGe+nQn/3vPQmghPvHH9X0grOG/F9zm3W1Ag9RKWQOtpGWi6ymtQcluIgZtUsJ0yUEW38/5oZIuILwqcVvkmLmOUk9UoEYitvwbX8hYPylWvyxCdTi0jmjlevlwq5hUNtztyB6p67LxyX3uneDSK+rd58RxHeTB57GFGOMFbUO0CHt0Vt++PruIMrp9O4Lcj/KdsZbdQQEUqsBrzNJG4rq5XAY+iSyrv45kwGKU/Jw5t5w9piJ5YgzWcKtNqBacaQCVJnOC+tqAWK+88avlhL+QsGo3RNNbpe2fEnx+jlISimb0CNf/ZK08+i3jSRiq92VJWW6n42n/aWKaihE+K7zal6V96iWZAY66pNe8b3FScy+ait0+CA2sy2orzoIkiqStMoVL4wVo/GQsLxK5bZI+LWSyept3+8PFMIq72HwYaSK/76kBhYEUZL3Dfi2RdOiPpv7hU1TNa176ang/i2PAkBJeWs8xraqzzuhHpFCwSfHfpvIrmcK2E2POlASaWg/au57DY/eQFvX5kQfrkqrTRlClE1hIwBO8UL/LkD8sog6X2fA2TQxHFltzxjlts8alwXC0FPYt5mCdCSpG9yMMN9F9+gvXgT5dxgGn+J5mFB80H4XfD/RDTdPB7/VNf6Adwfpdz7+C3ntNw2bKbYCt91OqHD8cmBg/Y6CdItg4urJdVaEXhbJN34kVx1YnWhGyZFl91LLjMtnKSuUQqgCpK/twhxLGE4ywxv4eY/zRzLlpIag0t8PjxJ9qebxITjbvuy11GqL0hIJzCHFgcUSbGARyCAZy3K+WOrj4wslXIhaPMK31LCsAzYnyvGoSBC6GiRsXt6YBqKxq7pzkHkFoBQxC+1i+AE0WQfi16fErpsInMbA75U0K7VQJGPdD3QTHmVd+BZmpTMBfp6FrX++VfExlH6CPnk7I9wimToqKH9JT4ZBuEzRqb1IkVIK0IXun5Uz7qYY6gIm9zxuiA9M6jf4d5Bin9zVzI31dItXVMNh44+h8O+2/Kx2aOQTu9harYaL3RT1qtJDvGxtQ+l7RS47RSDQSxUHz271FsElNH3PXmtsus/PBYywh9LnArPQjxAI+yD9aF/EvAufWQmc1M5tUy8XUG5/pUqqCIM4ua1cxboXjkR5p6WtOJ7ffGJLMNsUndJzmJeQV1xjuUh72N/hYx9sU1m9m0HIQ+4iu9bYmTS2aTePAbBnr0EPcZdU3V5v0Q/T7kynp+vZ4yJxnKt2L42YhXwcvep8w5JEjYLy+XePThj+ibqXM8uyhnDYgJQfHS90hGIjwpvkc9WOyh77JEQZbuhEbCIvn1r6/xlYpEey6Y6VcDplkY7xBg55TjU2BgZ2rJx3KVT0f/eSztvYnWV04BXKU2W+1Zj4lzcA0EUWCwZElnODq42dT01scJmcEG3GSrV/JQcQw7s16gxurOgF4LgpTb63D1LMt9dbnsq1f4lNT9NVCkAnepEayT6rzwFqv5MaHE5SiVq9rIm6FwuxwwQGSyIBZnfLHZeKVMv65ij9GMubeZPIH9hPVrOjvee2VD+kHduuY21HeryRf0umZJgYdT42Zz4nKaJSiOUVeBoN2a0EhbSxFxrFIS+BQ7JNiokGpK8dsMN82tyS/yBHOkgiyfnZzP0O6S7KLAF7mKWtKyCYCoj33v0KEPjPUPUKSU4VW/afucNZIJctLxlhmf7wSOJLozTGCLvmkXv4blnFnbJ7e2mRmy/3cRc9xueVONziNdFmoolWVVdXZuL8RnMhQU/NVK6Yc2sU5v5Qe35vOsOeeOQ8lLDuN/YX3ZxABeNjbaObt+D5OyOB1fcf429HxreWlmsfJQAbZuZn8UvfHntziredOOK3hvh/3zs219Q5r/f4RNNoIGSI7ujQ06GO9IYePxx4VjGfsv9v0m3QkDs+RyQrq2Np5UdQud5R4XET9X/HbcSTlTKuj/Znz9t0/bY3DtxP8+dcGACH5WXn7kueX7CM0jDEtbWc5y3VNn7ysUbLxQI3Z6FUFqvqiOPS6/4JCTQRpXzgH9Ps0wUeptHWhVMG/1lKwJBnJS7+9udxDoMSFzXpdxaohrdhv54pUfoGMGrtMVeF6YhpdwTco9fiDy7I05qOFTGpUvNNxQ5HDlq79opqGjZ8vXl2jwurGQGA6rB5TyJYuHVKjHjad6a93xTD8pw+BNur4vC4OzYQY2zLDf9aU5XRcwY8j6g1FCDcuVV59a8iIbqDh92ovMEaTQzt3XXg3FxUsc7sKAjQJwU4l1A8GcKUDZQO6XN/3nS54FrPkTF26R6OaLqaQfJHxEPaDa8BFbdvrX+q/xG8ajX/IV3vVv+pV9W7pDv2zvbyPK0owrwY2KW+0KJv5ho4K+itwkR8qqvjwHeXx+u5xUg1kNVSXQxvEW2OcUSO8HdiiPxYO1egHrlGhX9TRztQUClH0fff5bGjy/+W21Zz1hMQkr2/cGmKUTDKHNs9BM8QF7i88KeO0Tw9n7ogaw6EFTdtGcPVvSMjfTVyty9GMCjgxPTyQnOo5NFj+HUWFp3KCHlvTUDQEdOW67GJlpZrqm72YzhfwXMWdNQs7aCNc18EHCRhguNtOZ8iMfPi+viwBmCZO7BR6ZvUVl+Gd1RX8BJCOQAVEMi3O7ftZNGarahe0MQjItjWMAa1HWqfZTzKXkZHJxJEx191+mLAcn/bzyUiPBQoqwDJ4vOQHXVr4kY8F6PTD2ZzsbDEbTowgrulw/pXpa+33kumxN8wxLawefUu3vx9Cao6HO+Tk98yo4UHn1dQ5liY0M/uPyXxES2BWNNzTet8U83psrhlxaPdUJqDGFSgNGDdMUZ3nsgyy31Assz7p85sBo2F6kduDTHeNdvDGK3AaqUbqjy6WRoisLKCfcj2pEIKuAvlcBeJkT8vp2iyndl+Dc2GHo7KYzKf8Y9XTUa1Xm+YbILhdapWbHprJY4dSxlNIliLunJhC6RHeTruuS7iIGU9rbPMWI2dfjkZOxARAfnvboeKe6mtEuo/8NUHkL5X/4YJr2Cc1g7IB0ETuhU+ujSWJe8rORcetZW2HdLMdm1CAUg39gW0G8CQsJKnT9Ta2o8X4W4Zd8/NONnqYfY7TEWK1z+X93vVDUyotiopUvhcLepOraQaysOdyW5MQixTw9jPi7Fh+AQIUYb2QA1f1M4ClGR10wDNIeHXOd+TUaaLAGx+LD87AePURIr/OvoNSKsSDa+Twk1vOSSVBIXQxhsqkcVQVYMUilm6VC1Og022CN9kTy2x2YjZBEtj8ebwmIVDhG9n/mcj2+5Sc6WE+ED1y4zosxPHyY8y7NntAVbK7DG/0en1wcTVzHJeIbp/YQKyrYr74CEmkOtMJbmYq7OPN4imjWSz9BkjkB0ztC0wFBIxMTLfcJ7/GgpkC1AN5fczv35Nf61pPwsvMdDb47Ddd/uCreGHbreFZxTemZo83luYAMBM+RLMN2booRc2vZ7EExsZldn+G/n/Bd/81yOcMyn3kKpzNFpvQWSnu1r0sPNH9ZJHRgvlVPeK8F0emPpD37Wk+u30xzrGxlv/KwMFCWgGoCXuNNYljAcMfe0Enh0Mu+Ds5qh8dRvS4tJ2nam0F/5NW8a3AAZ8hqW1P+iBhklN6/CmjCgjajqJ7agNXRwYO+xZZ5LujKMny2qzJhk5+r8Jv61b7DOCGpf9GKNfp19IsQFmuPRWXurRGXXFWNf1l0XbOPUWya7PiejoOhnB1HuxB6O48CyWsY0FZjX6oYr1PQ7n0vzgGzukJ0Y3dsBXmADRL4zjrJxcB2QrmSoJGlRwUx2cE5k3X6J0gE4ze8Bgak2V7BdRsRh47qe46v7o+zB3UHlLiugpuDRLl9CEglwuVlyCzQ8guZuuuHDIiiFF98ceptBQpMS1aMZVM4Gj2G1iBYcMBnYaioilSG2RxRhLIHVkUbrJibtDVp5kaPjch3pcsDFw4B+btH0+oMSQfFHHiFV6Go+5kRdcO0AaE9sT6Op+3Jl6FmPIFm3qrehBuhptH8N3KwG4ozwuw1h2H4GuAEQDY0l4S2a/0gKkJpTmmCQnhc9ebrZ/iA6PGUeiB6vFdDRXh1vNzLX19IPtKHYnfGXyvLOFw2QcNnsfuwZNETzs8XN8RcCSZxJNm3YjgKZo66YZPrUvtBDt3qaig5+h1n/t8cRitcn1xyKSRYFKGfRqQ7bEt1QgtsYMw0GZ2hM2Z+7t5zAwWtu11c8NeRQVEw0h1msjdcOXdszbJoSf/IoU7mG6VbcQKNsxv8yEq+DwLLvWhOqFNI6ZxIffpIg2cvOUV/6IJSidi3NhVfUf7lH1Li1TLkJ+Fdk2tFlVyhaeFFelP6R6SsACWbpPB0YQVFbGELhM8Ud8twx017Fwabbx9uvwSBCE28KW9r/mBQoehBKmIDvnFxrW6jrvIgJshbaMObnnCZel5lpw/bwmP8f08/mbungSNTlhUgD00M1tcB7Mk/sZH42no0oG9Pix1o+pZyuK/p5KauXG4LlHHimwIbHYelK3rwSoUEkO9mDkGCNszqu+O/pKamurioERyYjIXyCv+FOuvVFOX75gfvycXrIaRkUeKQm79CkEaKfwbuSlBZly7Mh0zKYwhmgOnXom9L1iHYESU4mnToWSBKocMaLc0ZFoy8T+DLiY3/rZSnMPs6YMahWVEv6azTkvSYapOmhxtg23gnR+SMPv/YsyspDLtl/n1/vwhQ9+eheUtd1CLeAGt72Y70fhRNXcw+B71I5MkBizS0ItP4zq85jpPkeQXxoRLI+3DL3yHTq0UoZRelkYv8kp4W+ckDdCZHxPNfSo6Q095SYOVWytnLZX66642E+gStq2HN8WrZw7KDlmUFovA/k+N9bBgslgzCaYJwymqDp+4mIvfcx/PSRG4fck1IsAUFnw2LqyZ99FgZogOyHHVBwdT8MaFq8KR+y8WfRlJTXPqQmzT5aJ4GFgwkqOrgjlvLrGGsMymlSOBh/Tv1tOPsPC1dUUEwk4KzWwbp6TUPZ1bwhhjz+Dn3pz04JfaXXL/XpN7BdfDmektrR8LjoL8FQwF9/OfeG2mvLOVkjXj6VW0Yw95SH5cooAhebTJa2uNxjAWI6CT2SG24ctKR4c95/MjqokTEd4Yj5aXJ4nsmybaLhs2C6m3Xqj+jc76poA1EcdSIg2YiOVSnQ9ylgiP8juO1XgS+skRqOpG4Wvivz33Mkw5egBYsbDilT893Z8vE+IL9y2LuONGfTWTw0IokVY/Cb6srHKiGPyf5F53yzfcbOUS/iRCxGAsSRRCzDuvttWTPbD676lh7Ol2CDfiZteMJ8r18Vw5vVeTwANaaeAyX9nBVpNwianebOCJVKnZemFH+6y6Alor/3frKrukCqw9jxrIE/C4Xr1aMlHRGhzD6aMEPCKaTlQgIUvLB6hdtyFKUCFcP+fJloB9f3edFYq+I5PMLYJ5RYI8+3obhc7kq9iZrQ3mHrcWaE4qY40hfTgAq/gGb7NoxJrQ09F4V1nNFqZLr//dlLb77Sh3PGk2WRTNx77WNsBe0aJTGSrYd+E8ujx/AXEhWiFSXiz2C4lKHP6jnybr1cVRpIefiXlQewjB3I+QOD4ThB2CniFiD6nPO+gS/CZEbSjtS4U6rZEU8qGlHv2HwFMySchol98otQaGiVmNeGs630LzeACmVfjYChw0KifM/XGFVMUYK2ESsMIWcxM4pq0WuXpZGlKtYS2lAWniI0HOJwEsjlCSmjGtzQ6sz0WhvIgc+rX/LyK8RQoHiQjgynJKoDKQCLdMp37xFt7fViNWJ+j7EQnIUKRdBnbOdj3SFrn1HIod6IWpLMpUNkm7qdbPUjecLpcLrV/5bBVwm8Twv7eZjgljAaW72ivwXDgVrhqUBQmWhh5LulbaNH+24TqKek7/Kg0qjEj+PX7bUEzRIAK6aZ13+mtlSriygyclEx2HXx6ilzhW2MBbe8XPflU/qUmGPUAMAVOF9fwmiFOnYq4Bhj/zUOiZU9ztYjXgsQmUiF4rdMrjgPkTcmwlBaKKLDYCaLBGb29PNruUcUlL0GbXCNi7aElOxRFLb+XLGxK9nOmeFavF+viW2Wwf4n5w49CEE+DbYxHYb+RoKyJaELXhl8tm4DVTtO5UNKiz2Logrjvh4+lX9NTTavA49kTlfC5sHWCcvopNhVmZc/0VVj2DlHFq+owQ5oaZn98RI67E0JOHY3KcBx1aJsFxKfm0Coyezk4wdEHd+xrsikcmhqParkJCpNFpTCPw1Clhx10h9dz4mgxyKJetBEaZkQaHRQtEDUPD3KzWPUm7iMHoSnTISbFu2q/anrMKDCsI7Gdc4TRCLtb3PRq/aNOg0j321R/fzUO5LOzb8aWVMJhXwgp4ai+OZkiXQjcmE33utnda/lag8+n7qkvldt1bNW1e5ikVTV6Un/VOqZCyLkk42G4lOFlcq3z2g5HB/8gTY6NDol0Sj3jTbIeTyTaH08zaA4mYBoISRhvQicR5oabZ/UPx4aLDF8Wz9aKp31lRnfDUjOwuHEJvX/YeW+2ON8U2mIxO8cSnzlxHf/xoYBMB4oryR3nlSVCCz2E/ZM8ppiCGBSSGJPlNe7Cq2z4E290NTvt2f7wQlvwiCth9Jpb9wB2yqXC8UR0u1gqxn9uyefp1Vss6AfvHxuB7PskVJfsf9mtkN6DkAWisQawFJkTUpy1c8rfTitfDJdwcD/pGQARupXUTPFyHjmpAuOF1nCF54Vh2PREHFti/42ropHeic8lViO2s10/bW7uImLlxoOo4xn2RP6kmdJFR7piZcv2jsWtknBJeFG89mrorsgSBdDusNsczp2fpzMFwebcrFepM0YVLk1tzT0H7QTTv87imdbsFs6TitJWBPNt1RIemuec7U+kyMRMkMhvCM99dtv5QmTGCpqJHqZhPfdnJFKUWEicv77danAFJ5pk99/KOskU/2qe4dhPB66IW6iCwmbOJwv41hBofzDKLxy2T4pHKEv4XDKDa1AyfXQ6nUeMSfOe2Xrt5mWrXNCrT2Iwn81ZrlhdtmDm2qXuRWIXXxHOnxQGhnQkFCfubOekS8NXHF2R88Qg1nwrDNC1aA9Zx0CkYUWGx7lwIDujFpzc5PK2koG5iLkrOPBzOTqZsQ65nhw7/wwVHaNoorO/GMmEc04C3gXQs9dHTbKULMW6z6dId6N/7O6lejEH3WilEToaDwAf7/UPptDEL6LgeLeZ3yookAnWAVZZyTlYqqcb3Cf02eMfTfplQHE3Vx0IQEvK6DAtGHCsSjLvxKnyG+gFVwN+otZyUBaXCclTNjd6+w2FPGvDPwAjZURLlstGau9fPuRDVC+jrl4QWjGZt6y+hhSVdlv3Ges17/BC8BWH07ywSj5zA7g1yjg6Nh28h0Xc/1yvSe1t+gxeMgzfqY0o04AruDZ3SqYnTfDDQ+CsVWA2ZLnVw41/yc9hQ5vV5m8NQq8A1gFYJ6tC2aCU49h2h12wV1NlPA+5G5U3pWAByBfjwq0r61BOqo5DokaLfNJNitTkfLbHtWh1tLsCdnSdngKsBzRi15Pqjnj3kCQbYtASVGJcHDGEjZ2V3sXA8KLO7Ghw17r2l0ZNJ9LZIcJ5DwVe33p7C9lahUT1b1F4TN3C5OWYHxQ0NXAG2rfbFR2uYaj7CZax0ysXGB2fOLGJ0giwiReHZvHTpXw5aDgV5XNuM3jVCv8MGTaGtDw7zD10Ra7hxuK39LmbcfrLemTeOEe1oewc7OKcZ/2Ij9ByJXxjdoZc5XLlj6HVpgU3g6vtn6RMMiF2ul+yfRjLonkUMCRmCWCsDRfPrv08w4WKkLlj+ADEvi6tMQssWmeW9Q7Sr7sFAL4NLq9V0oddhdT4Ypg3nLlvK1FpqnYRcFWhBM+B6zrn1MT3q4JOZi51wdr6fGkaQMXZIpU86gzRZ9BfxePSXw+zXOarRX/gcIx2uZgJaXXCqteB0setdeLBtgty76/4HmiSonHjdlg6Fin3tvyvWBl1QnkGrNdw5gmNFwI9QO9cA1NZcei8840JOKsz2nLQid2fZ+4TAZYphgbHxy4Js55CifB8fJ0VZtwD7SJr1jbedLnkiR0OTT2naNaFNSD5WVIc9qfZidCZ9EsdPRpjsKe0maGVjqnjrjJgatpbLmzMiAqyKj5H6Pi4+CQvqJv0DlVoVHQFl+F/K11mxkhtm/x74n1clpItmpLMlMLyRpYWr7LBvZxHdtejxKnTt+aGPr+zLo+Z8yhx6QaC2f+rD3+qlyE4ZuGUqCs02XKmX52/7PznaAot2urnIa5gNo12R3S0LDgNee5FvaPr0NSb74EFbMFKkBcUdVl3k5Q9aKh6DkjQGMCgC6VPEyhUpalmKiKpHymglhK75KTOGFh4F6ie5B3qW/rXspdn/d7jdX0VsJ0XiabtRbOYonwwXAflewZm4OGKFzEj72lSgC7xSr2I8tdteQL6f7Dpx82ANIu6tNVaKJ+5j3LCQvQDXLbsgaAks3Q6dV8SNAQFA0jEXuKFeq4KEIOdOaZ/QhLUP+cZzIpv1dMhOTnwYnkHVGiNZvwqE5JTEP+0XPbXb/9B0tYSzt8TDP4GCG6hdaQlw1p+O46HMv77VJZHKigEdMEDaVkPMA+ajN1um9XnZrv4+7b3ihd8lJbgZjkGxznUjgQBdVqqJwEq+NF6VIcH/AzK7lo6tzp1zfVmYQ+FZVRB/WkW9Nmm2PdT//xSzrSVXyRh7O7dREi6jzrLtSakgpRyP1yctU40YftXjVO+thHBkCI/vTNmQu5gsVLQ1qrrBpgKJfkNAH2SdqG+sPs6StcKr/dsD3AAGBJ+ACALIN/dpZJ0EVq/4hnhd3GyvEzbhmvsR76gt3WbwZK0cB4OCecouESRtoSPJTRjlne/rGfVg6dxONHnxiNueNCIgUF1SUpsgKmuvMJBzcddOAJROwZxUezsKp1FcEdziscnQOWqSJM7U5uWorQCqPz8dwT0peSSDjKUjGGp4iKTngDQFMYagBdt65v5uh0inQUUJfCX0yq8zC+//OsRDkpyH4H+Rttn0UVeTyn651mz/YI8wBOiyXRaQn+UNIxA8YcrypLcj+OZVTBol6bqrRkDorwqnuJF25tWoCgRPZ7Oh/1mihFYFzJLOe4DbeCXZTEzGI7lqp3FEgzphr3aV6Oyrj2vx2Uu2k+zr2r6qzpJ9TCXKfVCiGquSChw6w5wzBwZZaWr6bNFKh4RDOghFEilDcZ8p1geE22HfNnMu2Yt8r9KY2OX33M29lRZLRFx6pMBqGyywr3EiJ4Aaf6gHTgut9ztj29iVUewQYQPD6nbWQPKilQ4+ZBUeKTs2cuXrsFlNYe0eOoJa2/QpNUZQSXH3hH6HBBz5+Si/Jcv9kEAKTBNJC0drCyfgCEqRK56rURFPlbeRaUP0AvRMhFZCZC51727V/vu5zqEievYI+C4YN49Mna1+/UZoRPZ9HSm46PTJrYBTIJ5G+RmfMlRJbsWHET02N9LigFRvvto9Vvf/OqmHi6L2oGSC2ABbhCTtOfW23hP6OSdQT9E7Ud/AqZv7bTqG9RHoptuY+AzbRm7rq3iHwl6vsnWKy+/wgrtHbTzUV4SHdORuYyQku31bdZztG6oCZqLDY7ePqdwNddNhy3/kMiLdap6ZqIZOjQroa9m6loqCXMUc9+gz8tICP/sAmKROwVGOylsvXVGKBBOZizmpq0i3r0Hhn0jXlHzCVCUg5yzrtYYQwuLxSNOQJXcSW1XR81F1Jr3KKTn6Cv8GxkXDzB4nEbPNFh63aR0rAtU7cvNLGYDur019HjTONPJWqyts7pRnbTda+bepD5gRmMwQshk1Kkm07+YC3s9hC8yOisFzdwKZpedLUxN6QezskmxjuwxNHKcP3VlH/t9V9f76ERI5NjaGLI3v8LnFIsq4L7MxXHqLGU+uJgy+J48MtK7mO4B/ZoQZ50x2t1sWSiUO++kQQvsQ5Cliqi33GuNjbu/EEoNzxUxnD04TFX99zQ4v5GhrhU7EZ7/nTadRYp42qNTDhJgVCXnNfiFRAUZ3fZBurqX5yuqXCj1Rb6qaSExiz145irClk2iLMhu4DaelmM0Mi+uN4Q5nBEJ/l5vkNVTHy4HVrdE5dBX42RM3ribMXq1AUbULT5322C5guuDRmga+WCZYTPMFsPdkwHBZBFidp1I1Lyqn80raYyq/Wxjrx2v4MzHZNnw41D/tV0MAvLHodcOSeai9cufflJ6rDrlPzrKCrxgKK2xKGKRYKPjx6tc1UmYW5JGEKoH6fjfQlJOwLI8q2NTwgGqyrtnpAKbxV8e23tVAf/aKIUBvVJcFXzkG8FzJQ2Bx9iz2qYr47Owvr2s5e9Pcf2fyRhsYdkTVa0xmREl1a5muTxyZWSNx5SEqnYY+TiIzpR1g7bYH6aTWPPop1pGabcasFuWjo0VqUMhhav1dzDKeSDiE30UIH6EhLJXxrnAs1TXuZ+dDQUgYUEQKNgsr/4WFVjHGa0f3XJQO86YejawWFW8Y8OpxcobbtVC8YRbDmJUUO5p5Fgdhrt5SWytKhKxE08F9TLpbscIGiAqU7MGoV6qWXIWp+nCW6Zcmi9ZSPD2nvPmFanxqg4etCqyx4hJG/fP6mproD1dgvYVDX1n5espc1/vGvNm+sEm7C7rxQS3DBs80ZQLcn4aHG5O93cp+LK1J9lyhczN/MgaX5dp61lcheJ0yTEPFTAT9UdQcM+vi/mkAbqITh8opjhjmVeXRHJWUAvM6S9YPxgJSefm2uAxj91QkooHIAyIKkVmX8cdWUNkoGSfoh+5VnzOT0yiLweQVatvHVXsiV5UBSxk4gF+gqpwsLXsvzXT72Ag+ACuQ5yvprrIHc2PG7IIUHmH8yYt/2u8KdRTxnvPIlv8bN9Fj2fOWZWEm5UAp07BuyumffQjsfdr3152b5Gn3kr3SYS5YWKa4fUhOQONB07lO3oVT6KBNJlnE7c1HrFi4XXera4dtZJ2EEO3G6l5yK1Dh7KVySUAdXP0Jz5+A/OtWPh/KG0Ix48yB4mDplOxH6r5dgeaPDultYUvDhDgXSeFNT87s+bjZGdbdYFPjTU4TCEGqRluK9eGjCssM7EM7t1Ck68ilmhCHDjOPOfg43/QKuRt690sZkU+DEa98TCtYLB2vz7JrWLL8llvN+kb+FGsu08bKGvZyRlQ1edAWtxrHEF4Z+dJVALJSgct4w5cVgC6Eo6qd+xqSAIkr1fOBRt8QQ2fjRtnYo3+CXVyvyrnlX9UnWlh/8Id8Pykj9OOKXKVy79BDPC8P3LXwpY1I9v9Ysl0Y/8+46E10e+G71XCjxjd3iZ09t+PCoJJb6ZCNrnB9iHWSMzcrcTMq0kyD1iw7lHGt6UCAh5xqUhKhXC3OTmR02X17/34Y9619C8RPz5mN1cCM1GH2uxc6hK88T96LQWSIcQ7/bJ3cknw5PWm616kWBJ1isD3Br9nkQ14XFw8gS8912NGOOv99JuKjO4OwtgYLYp/wFtl0/YutFBX5jC4Z55Z+arfInQQU5eLpZLYhuaMU07zuH731sRfnk5cMvBLhRnkVOPfX3pOSU8WfJR29B+iO6XrG4mCgmHrnwXJYJ/rYtjFke1iQTKWi302nNdgnxasasIaVV5nHV3ZcZMCkI+muzMW5UYWStmQ12P8Owcj6o3v2BTFJyeOGDJsjA58BvtAVpdtEELZ74BHqDcgXawjeUOee01Og9rc0LvZjWbenflvPT8uPctCfWRpNtXMYLdMCXioGzLfSSV/t7jXEhThhQKBtA+Jzn5sNId7eDGATgw9ffp5+0j1ujXcQuuta38pRg2KJki8eP3OSaPXvaX8bfIBMnpmdM+rn7j9zQxFgkMGgC5mJlSBQdD315ZzjKbbXQkCyov5EQornO1OEWIBhZ35vAc7NdLgENU68C8BsDpaHU9GtU42MZByumX5iPLWJ6scici/SpTiKwaTcKYwvCzAhoTVyDRkU5PHZfteNopCkr0swhpG/IVteov5+TQiy2j6sx4hhKvHe1lJ+aeoewMXBYTxQab6I0JWntzLq/wnY4fBONvxD50/uMrv/l9e12TnPI9uwgLlq1DCLZpH771g5a95sFKLlfb+Ri3tK6JDklYHWBgEgYuy4TOFrAwlcRYRLD/nyuUgW4vafdW0vvRC/yTNcvjrPoanUAX8PdSfbLtQX8MsQIyIapqn2N3D48/LqdQGgIGQFrI+cuIAYR2MPOEofaTmeOPA6nU9YdGX3o32YIT09g+3S2ll0AU/9hgGqM9hNfNyk3P8N8Uv7gxTraULD+c2f0WjE8kHFav6j25QD6SkZ3V2Iwpx3mqMDuyityAvfpYA+eE/hWH4KgHjCfmbf7+r5NS+OgpyuDVByWOuC1gbbzYBICzW/ZrE3lI7HPHjZV160ADL14dRhXOSyvE2gEXnfa+AFaVif77R+kxJunEL8pzuIJ26EPHJVzt3UPrkmhevXQfA9eVPTOXUatYC4ddGXVBrJgKyCGW+74O9tzcKVIhjMb1KgWlk+aLoeYX29NviwSeAvXEL3o/BKluCFgrddqudiu6USUQVbtIU4+ecQ891URosUEvl10acVRDWLddt+Zmg9o/DrUMAEf6CtU+aZL7KgLvoX3hE9dA2YjbU+hAJe+OM0NogYia/FP2SEIvbgWaOK81HBRsnYM/K+na/yPa74XFyiUu5Q4tt5TcUkzaii9Sx9RX3dhwkit7qNBp81TW9/LDy3dK6fgrGMqazkU1fYSHupeRLA+NHSeVit84PGDr4nIbaSZ4eNfCMzO5O/gSstxsw6p4qfGAcAjCEQLZKmIszpbGNFslOAYDN0lJaSGxGx1HihruLVSuLS6pt6V1PEbu1urjtdKWJYS3CutZnxbMm+DlS9ElXGgU4Gy9j3tyh6FlGRjBopvIf8UepD4Ir0W7I8xpSrFlGP+c7r3onrGBuTPGDBtjXHGtHSdOtmXn9qN899C5lrLpT9EXsvEV4iIbbevCslrhICzeOYelLV0vn7N4jqTLDhmyMe0JluR71YfuEG3uuSOrRZCSfMzq+kdXajLi5DCEjgEUma8Gl7crTNhyHthQ9uuqUKJJa12x5x1bivww7rzYJVsFpbjMgRN7MQr/aqm9jgxY7PEB9RhysxoTBvy7munDwIpgKVxk6A+mshaleSHxQZOqlyA6QwIMygx1pMBsSK0KpJ11gLIlf89VlU5Kr2zyfBAFruGcsm2ycYqe7E4J0OYH6Jeuc2viPWwvWAETyD8e66a3vHtFlb+Fr76ylhw4mzS+WSto8r/VFInUgxTOwalNx9dh35X0EctpPmTVkOFR5KejCmzpCswNqTEfZlHedreLipdgEU0MgmMNeOpYr7ximdwVu0CXvEtee0XExAE7lMzhUhAM9fRnRGjaTf3CvXvJ4UygjLRSAk+ZsNWk47dB9vWvBjOILTKMdZSwvjHfyGTq42nyBpxaq7e3VVM+cNupcTtbbGk0iF3c8WTk04eLsytJWTo/eSW+IceC6fyrUdmcgaOoKNV398wSh95LKf7qsTHcVfMHkfJrRGtaMtMpqL+Wb3rQSdWULzEWyukclTJEJ1/xZJsLaVA3KSTMyeBaAN+EsptGXaoqIqCVXQ7oL8qNmYM+ItSvbCO6Jp/UXrgyHmSmGWI8RVAkbo3CWVtLq6xftwbdVAgk2TvhoUmGSKXOkrfe1VCoLbXcwfEDYm9MvBV6PuvOywzL2808sa8+Cn9yrYf/ujD1KsGNRaDWekp4xI+6yvI1sJDRcN1QKLFjQj4L4YmuV+yRRG/WQLYZ5l4t3ttayJkaa2bWAPD6BvSbmSvv+1y8QlzNnFlErTCy5l76OLhad1ZCw5kobbij6JW9gTY+XT/xMwxJtCvsydcR67wySLlq3ftSLlSVxmqw3KBntc/AdWxFBWTWt3rp9zlbdHebYaRljqVQ0wYIyJHJnE0OsWRazoseer9ui3vEZaemFwq8AkokoS15IMfNqqQrZGuQXB++X51Lpd/Ts9egCvk5PNoAurTJPfPaFhgTtFd+tfbJgjwYPAoK3Bq2h2Ro1xTc8Ar+Fwbd6tZuJZhwrg3lrr0IUeUnr8i8YHMokc6g50rnGCvYrU0IS0BL75SJdN5Tbhc6UB7MdUrxy2OvhNrN1Tsp+AiNLvHUaem2/7NWG7ds0Rcv45hD863N4XEcdjxOfefb+3XTZagPa5BLe/V3F6kx+SkrF9VlXj7bHUddWaaXtHxREVT+C2EVi8+1Rcjnw/Sfeg4f/xvg5Onn/P64kYefyDkNcfQQgS+h7pj5cf+wbWuakwuj1orTvpWpj3r9kLcKVg913d9hlO0j3zIpzsQ4BYanvA8fT/UCSSN32MuhXrAu5J5NQcd+EnrWf02wYNs52vGltynl5XhTvuG6shFO2+Iise5MGJMdbFrf5jNbaUf0IX7QBh9e6SLEGChesTYHGOspJwBi1xnO7/H+slAfGKCBBNoH8rsEnpPsuN2rkeg2pj2P2wC07tmMemkaLYUG4f1JIjXviPDAYQ02GAcPjNh92a9vkg8DvItcpzyohzJNbHvtuLR0zfzi64krxqVnzFcv2M1BSlDeHnbs8L/yD85CnCzoDi43UBG94gLZEfD5FfjWUM+zj6AR8EwyE1Y6B4UynBt8MncEb6OCkQicIAz0Q75TOPSju8llzkTCIP5yHEnoVBr/ySB7uhsx71tbScITHK5QHeOpqhnP0t+CiD3M6K9/phW/9f+5dg/UbQFV3/h3vLffoLExPQq5XH8RD5nZfkX2VwMqzkJYkgusEbJ+FCcoGNYWZ7OnaE0UY5NdjV3R0f0eTpZjrzX3iHsIV1eWfCaWAahk/37Bfg8oL8SqO0NcRRU8kqPF+PIQ1f2cdvUEFpMNMe5OkIH3keh1XO8Tzm+MIKTOcof3xFXwCAHqVN2WpSpnwH6ABe0GScAproRgl+x2bRJ+0mKv5EUvAPP4tAOFLfjo8wUJV12ANkXvPmIBWghXPuxUeiN1twAQ0Lp2BwRlWOcBmY5rrp4mKMSmRgDZujVZ/NV+ImRXaIUZQO3gBcowLOVp8x7a7XFCFx0If5ZOLLKALrJdun4pALiHPk+Qa1qIVoPcS95ecH5xdq8DKeYcx3Drt31C0O+QQ4KPUgCaQhXHgN4HUSDSvVtPTQ2jWo+eCm7YgWOnUjFXxHfzgxaB4nGsOObBMK9RG0FMRlxysu1zDKY17x67IDhT4Y9Jnem/TZPj0g5HQ5+OInRSYvS95ubSFdQKyG5KI1CsZibU9UBnuxdoEteeNHEQ4PuxwtRYOX9aGLll5BFg0+cM9UxKB7KjmFwpUG5PORKBWHRpqVTpLzioFACqJmYRkPCoaDG19/aqOaya7PLUeSA/aPJq2C4eGKZg9GUC9rH5SpqB2Zys2x0BQBReYC+tSDAsh5qreGG8nAMc2q0WIpV2bS4gnxCq8VgaBVSwSL5kLfwXncoXBAU7YfiMjZA6NJITdNGTheC4hxIDcwL2e+sSGSqCYq9XXhTBFOnm0cmbK6O0eOQbknVUMA7+rYqUax/BR6UARrAX+7BRKgCbLo0Otc7n8FsfmWLKZ8mPAdOyCAC//j+rmiIFhwUm3g5DRyIUnm6/jX9cSF6b3jDV5fNozg11ULB02Nwr9i5qS0E5mQJaS+BBtoVsdD9TuiV7DpfSkiMYD11zsjWcJ8qWZrAPaQk6FawVbpRNX7z2ZhwYzBKbYdxKk58GhnZZ3fX3NjbVtAgaIiOvaqmUKtaxTebcIfx05PnHwWEVNhI4zaJHXfzZ1ZHojV6ZPO9a7j5yxQ/gzz63y2b34rtzUfnuh/YnD1VCAEcJCr9mvBWRSx02X/l8FF5+VwohbOIaez8zvqNi3SVAVGOiAu+qZm2OUON/BUFTMh4rhOaq+4z1oJJwjCZRcxnyeb/L8udWUpktKVvqwaY97duMDw2xBuCDJUjjmMQrsUcqxdtKPLgYHrAJKXPzjISikLXpCF4Wrmh0cjHfoxMPYF6Ehv05V8Ra4khzlg945HJ40p7bAFuBSYDvQ/DPJWonUDFUVoHMtqj1OHnJYIpGkZqULx6FzHTAzOCT/6pfr8NL399XYkcz2OHUpHS8EcbNSVOeGVEDqoku4U9f/MtLASmSw4eqfN8hATUGD67ZazTPp6BjdXCQ/CCw9et2hK51jsRRYa/eZrcivLLkm2ycd4Tkdz4Fm0MUEeoQ1GQi0ZY8PkPDpZvVByj4go863ptPukwv/fTL041bH+GDGqohxPTEOLM9uotT8O6URajZi0DveORY/V/+w+F199r1ItTXnKZeV3isFPnOFjMkUU+TChpvtZnCmfdEY7EkS4F2aNalwnveJKRJY1NXy4BD7xfkMV4QRsB160xDh/Y+bET/3swUHPelcEVXH+gCxwxb47Mjr9n0qwwIRJv3Eu8SVb4ydTNtP76C6tYlbSOJRecpNYOo+1kZL/FsJ+bRFLpQFqVCdHjFo8PtyPnPLOj/nIbTC5xDZWBx0NXtlYzdkI2g9LaevQQ8vQgzo158B3NLFORt4tmjAAGc4B8X8Ic7l6sg5QcpbfguFUIZVqungDqOkbBPUgxt5VtdYBUtSmacRdsKIvtPLc6f11HBD2WrnKpwrjoEMnKKVmy4wswgwVIiILvhjslCuNEziNb3znNZ7Ztd0TZ/bneTcRL8Og9HlHVNjfvnCGGlOH6TqPNcCQEPAN7IIfAMG5JGw98H+Djo8aHzudzQew4y5a4zpjVxuOeg53D4ACRTrxE9sCHSBAnbxmm/I1fz070Don8RWJwagqrGpnUDVT/Z+4QP17WJUTwxEV/BD1nla+Bn7bBTr/kxNpU1n/nc7qz5wT76+SngCqtUkbhXx7Ak2GOX8o5ZZPE+cRSGP1EWXTkxY/fFIGxTuNaN+FrnWAVU0rQJSqN8DWMKIg1h6zPCYz5z6sSj9fi25/2cu5VVYyi5VdwB4i7ySKPPMAmcGFZ4rVbVWT89MNEQdfklfpeGCS1OI2+SPUve2asNw/55yzLPPVKYc778al517yK3gn/vHduoXmJ38Ue7lTAk87yyU6xCJ+xA5AQJjOv3sAkPyCDfDfLjs7z+IZgzukDzZa22i+w1CI/LCo63wP25Q1hzEXjroXpPVB8Lyt+35hrNj+LOiITld1gpmQ0uW9jpD+XLCKKcE+ElP0Xp6UB2E0TbsIXvktMpXlmFmONRlYTOBIvf9PO03RT1iHtirnMhU/sHyZgqHsKPe35pDR1MvG91AZFMYaoo0S+LZTcXxMDnuGoVyFeej5XbzuCpvgiDtsSULAcXFQ2YrVbJlhWhh5he7/Re4QWbTHCmWD4wy6JUoCMt+CJeCr/R6LD+OPqa6mNWZTM+xX5AjJ9Y1vDVQzU99Syhjrt1CEwf6JS372+cXIKMcJHfQjNQDNjPL8c1xOJcm1Ltz9G5AdoA/kq0qnfr3B6IrC1sn/jq6k6v5tibMrU+vkr9vfP4/TV7e7eZlP0/KI33RsaHGPwsWuoWmtU5CO3N5c5+qThtSUX9oqhqeZsQQUHaTxUC4BR3v37KkMbSfk7J4givaSvmsXlzFNWlcVe3IdVikCyo1CatnQiJVEo+AeLVROwMG20AeNSp557oLyJ+Q3kieqPMG6i7I33sG6NvX47elUtLPFGjMAWLJOKrBrFmOEmX1oNsyz1x3hVPL8kFj3Bg3Y+dhRLAGkQN03bS85sr7kd1O+92eIzvuib1QBpUqVda1+35a9iPyhgn92gbs/G6TaMG1mT2lGUuKyv5y62zgL8V04qzIHq+yhg18merwlHl1JUDa+DGhcbTcaIK8x8Q4sNdzUIpcJTCKBVwFVV6sD5XSlA/b7rk77ia29uSStAZOD3ZjNCcLBustslWXWPmto/LXR6d4weN7Qw3wad9qcC7F2J3Tiksv4sAVyTCaMTv9Qj+f3ZHco2ggMS5P9q9PaIpjWHDJoMnegf9c81Y2Yfpp3DRMAvkzVLxq7AgnKaRzwKhxIQpwtLCvE9sdFKFnPlFx22v4OPuy2GYgrbmYWX5EXsI0ExeN2f2hNMXoyVvARG1nvTb2Se8P/ybg9rZU/f4gZ7c6C6aNMAy1qVoUe4FxX9CWViqhvYoOeo+oqL8BGngepOdK4MGOV1glY2OUjwhAaO/vClMOHLCm6Nm7SxSvHPFdbWxmxs0amhEp1mwybeVSZDe/upPkMEt0TJoJWQtYM04vMEgC40+EMk4NADUPW3Gz/WhWPLj9Zd//jueD98SJXn66YrtW4ujL1Z7vie1vZz4PaWWulNb3SyLeVt3CFFJ3jk1jQEFhKgs6awZXD9tOzIzeAtIVdUtVwGVHUqlw8EKDQJqKS/3lNsyiN2KL3Iz7LVHWKOmenRwk5IRYLRlG/Z1ha7bXbjz8Im+j7TRDYMFoSy5QWbLWMMWaPNiTNDMLV1c3TuyCAweGVYSehwXTG+V92um0w06O/lSQAyfvPF64Aj79OCnn9LF55vW5UDR0YhDvVxChvqmrY2+g7fLkja+nE2WzzJGZWtzX2YBBz1jk5hDNnlnQOAwNdXFmGVJGuVPEcTcgD7+rIUx2IMo18De/oX05e7OD4j8lC3884AgcCSYIFxAiDG35blFK5kBmKq2Sc6NyNvUbqQBljMTE+6RWdyC0NwDv1UjAHtfR4Vo1gzSY+s1DQwYGXVHJwf0Ject6AcDYzaz1u0RM6AqcOgyTkJmdeNB7sHjilERtOlAUCfvUAyOhuS2u9g68/KDt9jtyT/yHlFA9W259S5W3OpybM2+Uh07tY0irIF5Z6Byhy54QHw2jnt6lgGEJL6P6JaJmzLiBBDsujpvNdYl6WdrftIwbfm/pO5aQtERmXhQ0djhvtTTxeKwsbCe2VEJYBxQwhX+zpFQNBcOZ4z/szV/Gi9ep9asIXKPfPyBUNk0U07jMCoZf2ac+mYRW1vK0J/QhbSP80RqQvy1fTm0cO6AoTHHiqRE6XTaY9GliSf+kJ5Zc938UL0+eXnC/kfmiocy44gMZczYt9Hz3HNFJVGe/K47HJklC7m9IYlXFMsUf8lRmWhbShCMZoiPBTph1PSkY8QQSe2GK1pBYQ8su6cHhfIuXVdqweV6tzn5nLOlBCeTBCI1trPweXXPEhfKby8Mg98iFEGzCqNYQ1bk4XEbXdcneyc/N8kPcYDGGR3r06GVJ7mYZJKXrzlDmCp2TumigvITohzbQSb/z/085ixjBtaZAgQZxXEWVdel/G1PJmQTmTjEWNXfk7lWUbQbg0HqIyCPTE972S1PfNaF31tR++bvZGwCKXZcj0sW6WiXHDKBs/CYxaocHfWUxzNcq/2NHij5fcLO1qZcCC2CbHoG5D6+tsIAvEy7lzGmT6UstvPh0gNXSMdC2G/CnNCwdsa+DHY4ZWWE5MIzr/hCZsdkbN8vOUQfYJR+rOi5+8V+VGUd21Cm+7lcFHN0QgIJ+Cwpk+e0EFkoiYkJ721CiaqfCd1zs+SIOHq4onuxVE0F1Nrz8juzLKLw5xTJUB8Xl6Gej5CzdhsolWuQLSwix95hrQ3K3ng/6VFlssSjl1O0RAwE+PxCrldh6dhdXtCEyvzMDIaBZEZ+5AKXV03ImI6VidNQMNS+2/Tmyqs30HcV/hw0e9O6Vc1/SRHO/9Xn/d9ayajkd3Ciwp0mxci5XeXiWa/bejWGy+aZCz/UGaMu4SGxMiTBbMy3CSAN8dq7XM/5KL4IH0M+5BSqT/q77eW+aWX5iZv03bF3RxiczvmnUw/noZuLPaUbx8Ne4yDLLDgk8wO4KzeQWcGg9SMBQD0Jym+BLEOQuR+4e0f0Q0FJ2+dSMf4Xn3ilKAKFidAcVS54bQiY7Bitws5zR+cflzxu7+Jh1I27zhDTzbQ8HIE0uZS4UAXv9ZLr8wvR6R8lg7iiYFBGqqPR2J72wQwlicn3zIm4Q9pYLa747frIkHDBp2TA8A8Pij4VRAyOIBMHqwHXjKL8BjguZGYySYQDJYDRgPkNIve+0O/3ZbXOzQKXSXrTq6qSjly8UpCsp4ZIs/iiTpKtIpzencMDluLvam+glMwKJw7j7RWACgN+F99VZJeW50BUtnL6T8R8yX7Mo4uG7ie9llnXYHA3pDa04xK5oIie6xaxXkUb/ZMH1YcUS8v9MNAQrR3TPQElz33K3vH58BbCu1UcchcKUmgeFRdcnExX94Z859ImlXYnL1H0ViuYBz8ZS8Xuy0fSBs+OzU7P59HNg2hwG+zSUEU9ENCHqR5wc1ogDUPpm8t9r1EBAiteS5iN4lfoCQt1zAyJO8H0vhBfajpLrlJlOXREng/6AL5IG6C+OQ0s5KcZplS++xjd+8jixSToNVciyPeMIyPNgrObNYOxrazA2tbVH/X3VZIhDrhDr2gKDlTSDhFv6Ce5P7LCeosNRsJQWzAIX8tg3WqyVVw2ajOmfmGOu4O2Pd6F6a5VkBrKPj5cBOsemJywlFFwqlCqF2XbNFJ1hx53bdZPFIK5DDu2NizM5hjgvgsXVkCOS5t4hRo5Yy3gvjIUoMykXaAxmxzgxEVemMssFI4vBJu9NcJCIOYlw1gs+L46RMHOynhabbdoKOgQfgpASfu+gS6UNU5WLQaTJ/EPiaoHGmRXqh7gUO0VJW4+ZSaPiMd7SPhu4Za+QAnX37pZY28LbSpWgqG3qjECWmEuSpBuwAp1qfvgrvoAoQfcXeXEHb5QW2BGwrWSp3M6CLIjUMqLZewBlOxcUT+DpJoSL6uTG/wHqeIvQBYGe/p1SxIDeYz1HlBnA2S3qbZtCJXT2TJZuSg2CWyVz36UtUXAUPfV/x7NTYPrAiYFYIs9I7P06Xql7wGDfyPy8oOPcqPGUg9Zr737GCab35Tknd6HucJLNtyU4EusT2ihh2+sJocYBM43CFwkMxTlPx1Z/hCluuGuauPrMvAy7aJ9TIrTjaahJ4tQBVsS3cDpaNQctrVobjb0ULAQ/msgep2TFZOwzSkFSUhfAq1P2FHfrnBqIM7XGylxC2C6AZd97DxPk57TUcgmRDofrcgbnzccf7CywIgrUukp052gk7ixiiAGwqVfgKkp/weQEMzDbGP9MqZjk66/SMqQOVqcBxXv08I3fnc9bLje7m7I6mLPWF/Eu8oKTNDDEr0XYS2PeOZrujQQ/RXUiymiaOiBe3thtdiTs8+pZdYWsMzoUUSU2QUP+AsKTHta39DanIKXrb6D3+8on/VLSnlsqaZf6rd/lbS6zAEEju2oB78JdVzhpD92Lri9Z0eygOYk8+m7+2YDz4f7MCyxjvZCGSfs/TfxfVk/FnHwusyYb99lBf6jpItK4CVQpdHVSt8yeXp+K8T4FOS/eZxCJDFcQmaaHw12lxsr2hc5e+LnPbVMDme9y0niZtGgOYaaXG3LpQRqxdXW8JEAZ42FV9/LnlzhUf3W5Som8U1NoJm+WZE0IBi1U3EtpcEVGTQIm91WcKVJhqLAL0XhrwJebPrJu7WDv6LEeAeDuvk+VtFW7VWwKUclDM9w/t9u/3RyVbRAurqqUZpY0BRngUAxzpDpIfsJnmEvPb/iVmeKwTeGqidpzZGBGqx8tQfYXy2QoGfd3UXwxQveyonAGf2Fjp3m3n006DL86v2IBv3eCNVtVMiSq4A5JOvlefXAbLsGxVS2mobi6vLZWEvaf+lSnqKc4KsBCCDruPHUWyVQkbhgTiGea8uteq4IE7EesYMunR5kLLKp80pXzHvedmkn2KRzca/D3qen9Rhd5sdyqhNig9TrSkIHvY/J7B56V5qERdmP635DBQM/3SghvLgO+arhPbrCGQLze/7WcAkvk/xS4XNzG1sUY1+sY0gh9BHKkwI4n1fI24Pi8QreQzKmroNoECPxHAdIc4PItFEDORMEz5zKpIeGoCRFyF7k4plhIyjaEuMEDu4iE2IwUzF9U3LyL/DSKU0pmS6V96A3A6j274ttY3MsS56Xd8fTLYed1E7ZI6lkFqSBJVHXzkdE3hO2cFZY+YEND/f5XpH7aOvejtavLcprksOcrRng7bCuESIjNd/bA5vh3tSmluGmbD+GR24Be0wl80FnUnJ4ELAeCfN4OwO/HsdLaf35SRFLZHzv7emPpiI0LX06QzHUE+jhO7xjdanGjsDMLVxO/x9wPKf2AQSJI8et+FHpMbjCT1Ur+9x5fLXkweNBBtblmyBxWN6mU3B3h4ZeNSZHSwmMhSBsAO5XzLdNj7pUfGqMi45iLQeIUk04XqqNPtYsyu7Moib0n6hikqCX1dAJKDvw2Fq0ED+NnZ1VOgvGMk28FU3XMBlHgOx83SWCxE8xKbRFdZ6bonp1FoI5zLWYrZ7Y7L5sGTtUNTXKLX+m7I0BKhlglsJt/dx+bNqoB0E7NmGxKIyTFQVH9AsHQnWYTPMdCIN59GndW1yAyjRwEYIB3+ebvH0s5u/4v95Q+UoUctimT4/Pu7txgXVW/H1fxMlao/ZgeFCKASVKDxNyQTrprkg2kdVh8Y8nHq6Qot7tJgqJDrQuFKJmc1NTqNFciYDcm/3JRXKX6cLmLQNgB1TvOGl+rbNzW18/2ea6ge9HtxJ3MmGg00shkKbS85qo7CnqpVTCm9YdNqCxqsUaxyKiPaZ973RsO7VtSd43iXVU0D9f3ncqrdvjB4u5NGAI3CQRhridzXEyNjUsL1fM+h5tHQ59nlW8CPE/jTLc+fcDhREfYHE9yUg2PkM59jfy6+A0P4UfXatdbop9fvhoFCmuGx/lRgBd9dSNGImEhvAB6zbxnASZLbYt5XlLiU8hACua1SuI9V5O7HpdsICfTaKndosFx0xtY7LZi/kc2cidXKVL861ntswXQcfCx+hKrGrYXRBQ6Spq7tTZEmkGuRU/FRrqAT1l4M8RUJZlPzRrkNkln/nMZDSJZD6Lr6k9Te59fgY33Oy7uiiqYG6DEyFIpodcYN0dGFjO8zvif+1nf9aNN5ssDxNvIexcy3kgEalCrsP6WfZlXF7JqAzYOR//OQdK6PTf7RjwZqYRectscXkJdBdSSqqhhYavAV3y3GqbAByWs+qp1h2TwbRLZJq01CvxwLWiTfCo99GzCLhHba62R9DTzAoyBLW+Ru6ruowS1AxVRhJWbKd6S3UOaBySgYrP0R09UqSmz5kVDSRtGggmRf7d8Dtaf2wowPB41tZIg2O6/zxUUGRZXxiftJEaVs8z4UF+mWvKd7vBxRMdwB/MMPo5k4S5FDGIeqY4D4J2BYV1xJAb2MRh/a+Nm+Ygkyl8SAdUV0kF+h7e08ey9o2FVWC64fOe6OMGqBn9UUF5ya1lvVJ2S6BQ/1JN2Be4U6wHy136KfeTUZARPbSCaJFb1z/T9l9aAuMCH2kJwM9BGp7dL1Po8o+1ANCGOkzrIsPNhM6EKtmeDhDZ8dtlm7tYT3nHC8PMLQjPzkY31jo18YW9lpR2NPue/H5B3fYTEMXu7SbNW1mgxGZGIv9VVsRW1Z9MwdhQ1HyotQDoNxm6rTcxLTHMDDY9y/pQTKiOoc7hsSAVBPEG3vMQzxympb2YmXshS48+OkgfhYY+y8njG7ogznXXlN3GzW4/VR4NbrJfNFqYMHNqCi+Ly9all08jl5zGSsIGhHqM7M25GGg99Vv6RnsCjuQCPCDXH0K9NrsHfjouNjLsfhqmSwaIEgOk8FVYbcATeDGLdGBPCYhsKhpTXXpjPGAyRKuEH2rbI1prKhZslJZLUJTNdObKLVzWvNTxhLKHpUgcBlSlEhyt6oUJCt9qFprUc+uy+GuEMieEs82CoBjN0CZIeuAJ86sd9rPWaSKk/hsS+xCoYOJ55Mm8YzrbiOHtwu7OgZthEYO0BPqVgUJPhpQc5u9KnsaKaXo71Q3LPNqxEJCb0lKIDG7LVR4hqiQYPBtV4LwPORqDSiDFaOyoQSXgaLNrHGyAg/MoF/Aj2virob1lQ32BqWIkqux02J/PSsZU0FrJ6iJaoIpoeneQSyrnjBc4S/H7Ax4JFqdoujp8rZBLhqyExi5i60V1rNx3o9aMRNCm7dWrtgBopQz3NShPQrzID9pp2L7LFBKsp2sXdByvUqu+M0UV+6MK0mT+z/O/8oVX1GJ1rlv1urCCkAjqpWgG+yjzrgLiE204XVJr6x+j2LOu1MxNLWSLc7802dcJdbTkB+obLR3v9w+wQ2PKEIx75P/nizdwg34g8KoWfXplgt9vQbG9uBcsWcbUh/Xr9Nai1xXBbrTcl3h5yOuA5/6IXxJS69g52vdVnvjljkoGlco2+QzLmy8Mjf/PjvxyKGX+WCu7XU0zPbD0b4Lr2TJ0lk/VnBwkRbEhxJiCx0HU1O/2IlDHT4WWtBM1plWmcnCqrtRCgpvcXy3qgV5yipk6J8jJJEPiWOAWRwlEvehak7wEUqIN9hv5FAC64bgEI4PSEQ0ECmmbYREQ382YLu+maspoF9Jfv/lIXvC2idb6TUJKUOdc2qWSbgaA+j4Pe2ageelp3BZxPjB5d90gbiEG7qurKw4xfORSWVyuVmCipJz75HYtRJOo8ONcC9k7iY76iWyeWE1TKEw4johroS3xlN9aI3vdUuYJah7zmNnmr2kBBbDBKPbhUwEZc0yBJCZewdXrOmoyaXHpfWBLmX4KsAcFJsMA/heaMRRQN3DQUnDSKXewzanxqoHE9mI/RXJUB4YDgvlNf2kk0/s5VhEcIgvyg+vPZREH+/FlGH/D5pJs/OPYifQvDG2bHojWqgEy6yUE0z8CX/NRktKsrIFetDepTsgS3gKu4DMHEamVQZXdtSxsF722/4RKtT5ikU2WKiOOIAkP1vJz4Z++cGinrWsyHtnDpMHU1UDIRL9Sr/b5vECqqZNqg2tfP9IpwZZurK5cB2moIgmaeMfqUlcvDDGhkDhwZUFYubL6krQLYLuiBNLIAumrgve7tfxsof+Ias0r/dFIBW1FMuM/AAHjfps/ZeBeRNDrALoDaBT1Rx0AMXnSaV+r2hfdgw1r88aiOKdrpHGT7zAt/pC0guYSsLmD2cn8mdxAuUoZNo8pVp7luXTi1Z0tX7GkHY+zpRdS5tsgAzDo6RFTkt95Ix9CGXa4opwoYIOBB++hReNf0JYE40vNxVdy8yxRblfb8k21vWK3lEf762+4if5FDlC1/883BRCmC4BR0Rz/jjhTQM6EW/9/zIdN3ERN9d9cv+7wW54WyKqw0Td4XnZM45d+2D5Ei0+s5w3/j5mh7en5lV9iF5L/CZpraZPppknQQGIhuxtFDp20rFv2eTfNTxw3yokbJrXNwGIBxouM1i1M6mZRVea5gmN5JOdTeKSsH7wgjPoPkfYEdewhWME+AmhS+euJSvdWymAjq2i//OjNuv6DYojS/UAhGv+umkxw18jKPExp7SbuUyWI+9woBQc4Cek3Mkp/0rxFZO9yfSDOeNe/4UIeqtWdtSgiLHBmeVg/B2EpK7dT6GG9A0zJvL114Mv/7pFCXGE73ZiSXUJjmklfWRkXtYZmUpclmVyO5SM1Bhv6uEOvnrgsYb0gLxruo9m3/HIK+K0AdJCbLngQ+4LAHiYggtFgArgCCElkE+ATRih3dek9kBExZPEk1OTsOm0gEhA348CgL4PwOAsDyZNBQF0eVAR3m1gefKqGqdzJ9j8Tbo2X3b9HcS8GA+bk52I2VTuIpO/ERzDlAnRmUWCpIxRxY7eLiE+TO+R2F88QHsvn5z/jILUQTSqauKq0fVae/qBmLpuhHTKsxB0sWEll+aTFAkPk/0u3dC6bWihXdaeMM3y8T4Y7CHBtvhuUNZdrytOnVKzjpfODV0JyvbWelR5QUtZtr5zzZH/r1rs86++eiETndLImB8DxJIau9Zbi8hMFSjNpGa3Dd5XvaJ22BoJ6W10yxAzWFlCFQy71hhB1+kir/aXOm2EphrGpCh8J2xODsvQpSfyozs41E1tbclfxHythXlu5/ODlRLXKwWK25n01voFkBYAQG3+Pi5lcg45H/qb9jI6DUPuPoxyF7rvYlf4t5l+vD49RyC8NufOJMOeHJRsUdViYDMnskjxuLb3R8BgtaEn5cQ4rrThz6w73FbBnZl+81K3/hzG3hWDpLUK0e9SMnF+/jJ/x0oh8S1VNbDPzB9+00qKD63qI4dD4frYZcJwrSquie+Lch0g9D3v5pICOmu2bfJmDsq5OC7Ysx06hmiKM29G2CERuUJi5f41f7wW8+rLK9Rcv9BuMujJPJDjXTp7Uwb9UiODjai3JRK/LK5yWY4cxChpJGmR8FZZ6eX4pjFdEqMXxYiMGVD6vjKxbt0MK6FsQITvaStP8UgOQ+FYzT6peJqLzLlvdf7QybAWJOi1yTsw5n2DIgSo1VMwM62cpCe78+Vyf3DgR3CJnV7hWOUrjpLT+WY0jYc170k4WLj2Tzg7D79I6l3x0UwQoCWPQnG45ag/0ol4HrEa04T4sqO2FXEDo5qpJv8gRt5A8kQDr+SEGvK5651+WJevZvTVcTT5KDoD5VEc7pDZDu6lOJmUE8ubS+OA06S59n4dCu9xG3ghFSd1lZ29G3AWNBYvosDpv810IqHlxTTc6boZJTSS32mfOcVdlHXH+nconKn+P0HvA8c89CCwp+gM4QKoUhAdLM80wAK0A1uKYtoDwODuynhcVYul2fJ/gcXtKyNjI//DsJuPZxQS8PkLn0woX3DPwt5noYVg9Kb8xHHO7lPNA8pIC0x2Fxetd6BjsaUADPUhupJQOwz7Fwi7U8dQd+U+NkPi+2GlI2yxVLgWEAowYOSbNTB/LYIQs3zl0ux9fM40xRZsN1BSLusJNFK5Wfrs5aXzO1lUgrngx135XABPlzt4Hi3jJXIJ1m2x5q/tfd1upHxf731WtJ7qR5O6HMWxYwiiuMTr6unco2BrrhAF2u7KiybewZUI1KAXiGVjK+6dO3GNJDxRKIc8N6cKpd2Gj8CmoOkonLWLrwZtsCnukgA2SKAETlZtR1cnS2++gB1U6QGPZLCmtXxff1rCm+T5EEEHyK8cWty/EbtCuqpqty0AixLHDEQfO99gS+HmfYR92o1Ad+eangNieV5MiBA2bNZ4W3yyTqaBXrGIXy7XQm+jGlYEYwSX8eF7lsoXRmo57Zw1mYt7+U6Y9bd/K5QOxIyNa08bMw7d1a5sLBG76J4xUwn11VWaaCKVniPb1hHacz8bNTim9/VzWL1iKTl/yPRFEvVWGdoSUa85zVq/TVF29GWI+8vxONpN7/fhlpSY8cDic4ggJXZ3hweX6DaU8UdXIVIZKxabMSUZAjmaZ3dTjs7TQYJn8C7aPVH9+4lkZgj+Nz8bUT6P39N7dA8A2HvAxmoSEwb1CXNpzSTwqH7Q1y74M7ma/l326CEGSDyMEOwVignAdioqeLtW/dzI+mQwylb+zbIplajYSC7uy0iO1W0IVIENi/vbKw78YiinsrrPy6yAOomJth39QTaWfY+/rzZQVY9Fv8ZhEG+w9qK9lRMDZuUqG+4tbS6E606amK4QfTDvxJntpwZwuJEN5SnpdMsIqDkbAakbJ2aEkVnj5NRz43KoX4I7y3SIl9t1jQKpVs+uIvC/Sp3ncfchUmT2f05CLaYr8bB72pMopr7V9VrpPVRZA8pgKruc5EvhSMx7QOJdY1OPi5W2S01o03kLay3WqfUBT7rNRHBbe9YnB150OkwZp+MqlHiaOGvES5ZNoSyd0InVy7cTVa9sjmxGujIdG1rrHfwDXMsUdpWOQJVt/Mui5NTrlz7Vuq7Vgyc6FkjrjDlcWmkAV68+TgmYcvv9U2dJpStp8yJxRTJk3U7jU8u+A/Sk25Q36/uy+4c0RszLHMLxp/NtJvR7osF3Kw0KodyBQWonmGkIWxfe1jKy3lScRf8/bqPVcinP8MEGWfWgbzZAr1ZAuy8cY20Z4hV2nKl7yCdANNwu917/FU2DQlwOSd05+9AaNF5HZiy2VGrjd/3JuwlEr2jeQCZrv9WwjNzu8tA8ZuOpKXCRd0w40pVzvkhURrw3hMQjYjdvDew+36GABgqElStfyVuJDxbqEYKur8li3WD/TGmajsoAho/kzxPsjQ0dTH6zc3BfR6OELkGYDUBgIX2aMD2mSSeTrRQREe+dgkmYZcC/TtijNC5fN4L9xvugg64KAlB5X/+/hwcEJW7Z1TXliz0TiBo3pGJ8wYwdOhGAejZcR1pE1+1dIFdsQYlT9bmLVQfXXEeb4gsNpmpTyIqK6M+REEiLekCXg08TpAF9f0hSm30TPn4Kv/aLwcVEmcNRZNf5baUNORRm4yCEVm5rNpueQe+gJKZoC3XywJx9Y7dlj63TqvuOnjpuCYtXqKKuSFyMf12LhoGlLTShQ4LdHHguxsSPQi9tNEzWVqKnbGtLaYD0QdgFhPdiEwiRpzUpr81Yw0kj9BfwMefEiwyGxFkf8zW/7Cf43cmnEs8dy62anntEQgfU2/IJOLEznmp+4LzKpnMK6OMSmI69l0kvO4xAVA0JSTdg87gXW6vTcS/FhfIsHF6YwhDuN1CcdxZHaJq2K+qs/4TDi6wPY7oiVM9K2xSKd36URxJpZDCaQETbD40CLCzORbIm1ugz5L+Dv3cjZX2klkg9uK3Bon6YZ4pkzJlnPZ9rg7JWKMQA4s4spW2LePDOgmq7oQ6cAUeENXGSmTd4wGf7vkKyH6qcBx0vxBd3MIpE+KkfDJkAgISGRkvhlHoaI/SkXw1zUXRgEACCFtV3Xl3fLdepyg6qDEdLK6BWe+Vn4mwbus/ZZ4/3sO8Dt9CfxpQfCL0UfXEpnUAHqaAOLSlCRzDWWLXhZPmxbJmm8tUy1WdCXREpzarnBUBTZbY2oJ/TXHbZJT/TWexOs/Vuby8ygICKfHvEoflJNDsl4eMhYde4ZD0q2qqGcu6ZWinlsBCNM34uB1OGtNxTrRybVBXMEXTw8Tr5gx7b5mDsn9DTwVnQI51z/1DhPpNXOGHJ89plnl1d38oXewjMnp2hASTDzNSrJBlM0lTtUh6n7GxSF4ida8wIlHg5Og9U5bP6scWyONl+PgiK+ECtw1bqUhBx+emiYfxp/cvz2BGW5j+ze/DDmQcYIhVx9RqROeCp+D9XxDk7p72S6e7e3zzWU0WVd2oY8VN7dNiKdwlq+bfR7jTuyhSkptCbXh5khCc/8CPCOKsOVf+STLJjzsQss31kWMsJX3sLm/IRaU6b6kxvzzwAK4W64O4yfzWmtz3XNVzbj/wFAt30HWTAI1NuGT2Dt9+zMtrVflmcwISa1lrMYldpQ8zCpVDrD/rICadVGbNfyNRUDH2DAvdr1IpMTMCkRL+DRELRIDZxThvDiNFvaVEf4GbGUmdsmEVWW1sPS+AHadRRTtUCi4FsA3vyPyXRvOySmYZlC7fNrzTDyxmXVwrsu07oS0yyj5ms6sQZ3a8mtYb1WvOVpIHPEPDAC5HRIRkPfH5bXEtS2Zy+XjusIlE861wDB0aNi9KKLvMv3W4O3ejUhKqr+ykTIcHzRS8fmEC97pWZMeYc5YEGVKUJW7Oh4ZI3m3vUGiGce5wMfE8OgonoSDkiivLZZN1SxrRgT153nBI+5ZQxgy5jTrmLMYYJzCG3c5dtbQZQdFq22ZDiL9nTDC1VXyL+L2Ih7dpk9GlWkOigVR6XeHKUbLPBF+n35cYvceknerdCaWR6guOzy9GYqRkrdpb3GOnmgkPVUAp1COfCMCdnqEa8iA7KH8Bems47czIFNYiopieQo6vR/XtlHkyTTNmcfzr95jniTJc2+FhFD8SlGUesSexYQDmciNBZodi6o13fHw3IHKbB16IVu7xrVPcktuZg2XwDkMO26usN/lQRltkimTbFw62fUiNVN5vuW8OMgbo6uXQczn9Oqm/8tRnWsTht+5NHF46woqYz/9ZYHVLbPpI+Uc9EzTdCT95ffQHasAxIs+i9j+Yzk690Im5jpkEYkSCgMNCaoYAZEvOTYAN18exSNufKLB2Dzv0Q9n9Kl04+onVoQxYxC+3JS3FOEOmkSOAbHZD6bntO1g4QbN+cCB0VKwbERI3YtBIJOZmBUoOxfRst4PfqnTKzNa75skqNZB529Ql23Nu3n6FNtl7et8Cz65i0pTEM6+uoAHQgdavzj/BuJirKEl4CryGo7sonN311ukP4kOrlT2OLnuN5DDxiKh+r6DZhIu5um01PJHIMfXZ6M2uT42bq0Ywjmkx5d4HtFMJGxNeqRbDfT4em4+ilfiXT1wKtKsnto65TBG2xllrJO3pPB1z19+MDxQgmKBnrwNMEoEXhSxza6A8c2hKCB9MVKxxK/3l5QHBh03svwq9P2PE98PDDl85LQX/jCvxaJkLdedJkuYJVr5alewSCso+1r4tXGFhvw3b9FumGphAOt8m/kKHSrt41uxDbUVWRzggbONq0o8jrbHfn7DCMswodAJ6lKAdvO4Uv/v+5R5JTCuMxF6gEqPiVT26M4P8Jd4mMxM/FT4obQ5Cx99gcCHmuEguf7eoUwIxIY3pxFYFCDsH+8lSxyYKtn2zfyLYYMd5+mBxaiRlNwyyVqI8XbrnX29eAcsPfg9Muzb1A3jaNt6WEsPAjm9UG+vU8JmRlJIDtne6NAs1OdR82wAp+zF4ZghHTP85Q2QCP+OcIeAvr/B/+Gaufx4CNLGfxZo0K8RCQvcFqCTkttqH/47ehRrv0n/aDgBVIUjmMTNOecTXNyUdRqHFeMHrgu138RPQ1ZqzSJXqrU8bhsTg4TiaarFINJuHqQhwDWilWj0bMJ5T/9vXiKcQeKEX8y20WyN9OEkViScH+BervPmcz5JBnKiEAgXWFsaoaPK2LCd3ygb08OcMdI566DtHntdtIoBTka4a/TKowXu6k16wteEmhqlSV8i/VwL+JMPrh0gjFUGwfiOIidAH88fKrVlqYjEC5UR6iEmNAqoTnH+nVe+lsCumPXNzQTbZgwxosCnlI8QbK9+wGzCiNc4Z0smV8spNpg2To+gJMyU9LYyWTlHlbK8x4S//mYiNUCbVou9cIZArUVUaR879etHDyYxLyzer0yf2Ubhx35fTnTDPvSKIT7FsBBsAH+nFcMtdcxg8oJ9wn4QZ+DbYllc5poGT/wNhhl3tOOmUiCPtIEDFt8X6Kjvr4eUJahHBU1Jk8+8Ak5HseIMojcC9TOrBdeFBCb+fsfqsniHqvWBFrGdM7iuBoQDsLU62JNvX46tXd1rxo6YJd6suv4DzxfVv6wK8q6tWNXyFDizSOqEKcXmLg/Gm4F2nZ7FPMHJGE6kDVDp0xSbHfi2tS199ge6xtwvUcYgGqpnmGP2knGyQ9Qlxx2Z/Gu1B3/pJqfQKHDZc5L/s97M0N0h7Zjl7sUnIPh5TkCYwAv3Ep9oQPtzgm3oQS1aVo/ArOLQCMH38K9j1YiKh7/c9QFYniBw1RPqQA4trMyeetjSx4ane+tEJfrc46Gpb3OHlYKuIbhexjMAAsuGKb0S8SuVBdPHBwOKyGzZUVXmI+Q4EdcGU/zAB2R6aNTDockGs5XoKvI7J+Xrr4ELJ6UViBo6P3/Pj5wyr2MOBanNh1Sazf0B9JWm1XJpM49jyB+bVoSNcuE183VZajycBCwiIJs2ZxbHqMyoGPTFvJDHbz3hTmW7yEzlbxYZaDgIDmH+yXyUBLaT1RaWKMpcsLZd/stJ4yO2Y2zqbu0Ec6vi6xDbK8xa0cXa2LVctE4Hy5OUSnZq4o16br0uwRa7oLDWCaotcszSq0Q+dJKwtXX+YMPGCOxZ80LnquBVf/VsdM4b7tN0V/E83DR4PCMpdmMK5p9o7Pz2+c/gnLHznFINGJrNxADAkGdrBPB1/8kFaBy+LTQvKbIfd+ytGM65xhADcK79GaD+toRhnyyp+LfFWSiXLFr+0XzLHi3o7tY/DXLONkI7ADMh5fSPGYckTh2IB9iAJDV/m23GY1MWouVe//ZMr2QkWxvOVdKAiZdQ1CTup+nBWVOUnZoZRfUQs0ov1DUwsN/K5FTG3NbqHrQWPZ+ydM+RfnMUirXuE0tZTlcUibn2KP8Cd4FZVospaaXkLyteakPqwkJi5wfJybz+A/gjXSw+gbhLFIQzKY1bkil4U4Y99hOd+/2XztIBn4hXFvztjG3b09VZPVFMXrSb3MWsp0v9+kAqaHWdADlwwZEe20NC3BT8pCER/EqSzkDMqtcqn4OjatbZWeqPGn3Klpu2o4y7W9uHTsCX6gSMns4uT89ivcR0Glhmoow+UcP+m/yMO8hPx0/3ZPs+Tb1eJF85QuXO3kzXi9M7mF+RSdNu2mdTvwEjanKfRw6cG8tWCaoagVrPVXGJGQHdnbtp0/RoQUp+hgc3tU4wGwjvLkSMsKrqW7haBWOV0QEujvw0/Puwq9YbXwm0Wf/SDbvFmN87pgEeMUn7ciDeoaZsDYisG8IHB7u0cP5s806GUK7fII7gNGtW4uDD78XE9YRYjtyzzHrs06bA337/D0TD/i4U8TpdmjkJjPVZwLVkZltU77J6aLlwICTQj2r+qBTt0KwuVMvwZWd7kRSJsNuKcmuJ36NwogAN/vO//7aPzJKqhfrfE3jkLQ+cErZJKRQiTqvlre62TPZRVu91v1wwfty0Uy01notngkd/3aGkYIH/jvpBF5Shki893GitR9dHmCFsy0BpztkFv55oDXgggZ82mZIm8+tAnjh28IeoiyT+UXQcRcw/9BcGKSzaNJ22gm/NCoxx+ntDhmciGvF1ICo3pj1w2QHGCIPEaB4qcp4Pzcwc94zA7e4iwxr+CAHiqO1NQWwcMS1SWD+RE37hQcQMXvqT13ZpqwrmrR1wzF3puc5nq8dOle73hk7b0Cq5Lpr0hAxM1A88Dkwx9zbCd6bxv2TPtBBkebtNmNePbPOnNnggw58llCFYNILtoWzndzEql9bYyaW1YDjd+s9aDlsFQplYSMBkklEa5cjWZOKVes7tNf7i/Mdl49HItoITsBpS+Lgdgmr3mYbmmSlgj8D/tQki9zS1GMD02wmd0ibNIFHSa09iYneBqn6i6HL/tUIQs5xwvsr7mu81ITmvcqvf1O4CdKLaTcdqPTapWhoZwbcMt3LN6Mg4W56vNvifFrRXxW0wjF8En2hLTBxO8h+u9Ez6scg+iNbV3Vb6+bXAfXPlM+rIrt+WFSLepvUXY3M039C332i/IGsXtk7uXgZvhAbOuKjT3zgVAZauTow+c6DtICuugBdBjnvWEFB8IUhp8NNluesOf/58Kmb8XbZi5OZ+DFhOh3t6GUD5yskkTaJREQMwG1dQlu54c3Q/36W1qE6lpYY4kjds2sI5yYMool0Jn8+0V6mcZ1QZXazT51Z7xs0rBOZ7iU6cR4kpLUe1ni8Goo2e7CtUCCZLOyeQjdB5UAIiE9qLGSb4W3Xkvc8bJ3CKxeYbaf0Bor1fNhJfehMFxm0hOA9qSVyG1b4MP+zGtxm4JAmcTJK3+luwZjnXD/OInyw/lTxAzy+VNw6Ncz2iqqZRNx8V7B7uKcn/Amak9E+hf6Sxq0NOw3Pfi7U1lBDTh08zIlJa9RNglQT0N+sBlZ8LEqm2KIPVI7d0Z/TkGvlIaBOP2Z8phvc6q9CVBE6CtbOBiM9/5bRr3IJ5xxGZg2GYdMXa/WkSzuivamutroQllDGFHEFXAbLbJ8gYGOWyUPyZLFg0kOXBeZbrGcfjclnnDpHIhX4cxbKH2AmevoLXbAQTM1zElZAulyVvVWA7e4uFrVx8I9IUMLbaRb+3izKswF+3sUaeOVKTd05IZNlhwsDbvujt9QqS/612i4j3hM/hcXvVIMQrvS2U2qAnbjI6KQkZ5plOdrWYDhMbb6ePXNe5pcgSOVYzFreTU8GEdHAJkVPwidiQrWwA18m6JjladyYRcyE9V+v6qgRF8dLuLaGk1gEBWMyEtsHAvqp/xk7nvfkXEEKkzNcJPGhDxX0htt9gq1uiLRWYQ+/BnDaHexSphfNnZ12+022Ix7Q+GuoU3Pkus5bNfjf6b9q0p46eSYGK0LK2sC8dPcbrEGfWgv94syG4S1c28iheO7DxoDhbE7b2HwVK45N5Uvh5bsJOa2E5kCCwPWuSJM5pKx1EbEd3ePsU+noQ0oDw0i7CdcOEUhvUQP3TjyacTsUm2Zi28OBk+C0VUSYBXEGySqqGZTJF22RG6Q3KYUbezgOpSIKv+FLlAsJ2YhygNQOtCuipTMNOPOnzgOn5Jhwv9iDBTA3uuMsZeflfk8WlUpntzZyxu8GL2Z4VUxbR9NYSZoCBE/QQDRIxRFXv2fzLE8eF1tbGPIEyTayyJqAwNvIH068OQbY20FbHS3xUeT5gRJb9ReEosFQLZ7NcuQY2PnSVRIEtWzTie2yCxp8wcKPOLHWSf+U9dKpjiZX7XLVTI6jm9+8O1llOGCFKAHIUmA0ThTHb4qgZ/lYOGQsKCvtV2Hamn3o2d2Spc9w1j/VBIZ1vdfoFtOlqpyFyaLbUIlWRTJ1hPHaW9Om2QNW2/PBV+ZBVT2Hdu7VrCt24dnwdmnYq34k2uoiSVVbuQxGM+DelFjx0Jt4o4muBDoyRZ1N06z0yeUrzC9JV5Q5+WgX9LFD2BMIyfe5n00+kRrPUR4RjiLlAaJF+keq1wgO7ydeyePlkjfV4osnpAH8lRYk+R+vYQfsrn9eyBHrfHFm1Ln7Ao6MdV2+YZrOiooM9OLTZzh7ebveeYfOzpO1NqNbyregD/33ICMfvPe2e4ww/7Pwp3lzIRNckui6e4SIwx1OW7NskkA62LeC5ubXoAJJj1kbD6fBUJYUiSpVmX4F2l3bhGKVJvTRP6Si/e7a7TQH7qsI8wPO8TjTkvKDgOWdSezE1kBDdtyeXg8DVGLSyRyTBrVawYqy/FN3K+oXQGl1pIlESsTqYl4CyLngh2ccD+Hk8sTcHPpEaXPFCNWTCB53J5p/y04Q23aRJ/B/J2x7Dl+/pxqkUnKqrbsL+P3t+8Jj1rCKSKPMsD5uKvstSbwEAan7H8yX6UHKGBk0/YeqEoh3xenRjv8CMCtlBJs5v3Ot/xszYsBhf9gI4Muo/RVjT7PitYRibGo1huVwIlVoi+lVoDwJ53fhtOhYY8lzj6gKPT5M82XkqkDPDdI25dqC70vtD3eD1rMF8gSeeFcF8TdUF3ylS3/a5xJYs/xTNmP+xejN6Vg/RNHGSCDzyaLoQ/a0mVmu4J8rB+Wx/ELF9neyWSQfFsYBEuev5zTJjlfxEIy0/A1hLuM+qSXlAGcw/aEG0m7A6d/5YHOmnd5YUJFFoSMPBhC21+8H81r+Yh8IdC9tPft0lBT7RJZoklCeOZxw6rRdpCy8t52+KayeA87bIyS5dCn38CoJoYgv8VKeTiyZfwDNu6w3+e2r7mPBw9CCPyTdOfPuuDWcWRM5U/ItXe4zFx7ajAN44GKTcz0371VRmKGFeL5sl5MudKuVi+hJSsdHWtiI1iGJN5jd9UttpUsB/FY87P8AqI1foF0g6Yru051DRKzk6UDHM2aPlDOZFJ9xdra1z"/>
  <p:tag name="MEKKOXML2" val="N0eJB6dXCAhVmdwZ1tBf3aLk3HxxR34VZ6YwW3e0ORu2ofz9wEV8ySFVE1cwr9/qu4v+U1KwVoeGjFWSlpNQd/Z9kRFwltAgoXhrRUUVhfQUPLFmgnFYOmNogYqBAjwg2tp6Gos00VudQKw4Ji29jC9VpSKxGnMhi6KnnIYAeDjaa5VmKen0yLECzBsZ/Bo851GSw3XtzfWn4z/2ShtGOwrs7XXtV8mjTPw7V/oKcH419EHpdLE1lKIf9pXjR5o9hA96bJY6pcP+xagcJAIyp7s9YUAY35m+tf8KZxmY9FCZQyKcpqNjERNsmdeSj3heIniHFj/48shzRLkI+tyzWLavhsAaZtHGOTO6OzH6N9VK3I2NLlwW8ZvOA9863SU7mPoiioljJA6tkDRAiLUh8AAeITUDnNEn+eOF2gQr9OBDtvXGTDW85BrRWwNnsf9YEHqemgf2shwzBYJ1XjuKPLiTTU0Ho//Eshaiwj/eLAdxqJdjWD4H5rw93jy5jL4FUrYF+HKowsHz02ZoVOjjMyGk11XZuIzrOg22IsBLPZbBN0CfLUK3MJd4SFzaKGurYmHThSxWB2EEvTp4AGdrAyKjy4gEALXDfnh79MIdBYUaqXmmjf1SMIbrAK/8KTAAc2iD09XMAydMtxWhk/Z76o4+Ah3n9DVaVvVHtfxG6lfG3mJZVvUtUqX4TAgUHjWB2jIoFjYF1iE/6Ohlg4q/iGexPv87JwSXd+FhLbGHDobpRW2edQPZYDzOJMsXlzcgVbc0AHj1RqKXJTsF+qzZcAfEiK4im00jmNkib3iEcsICQJZiSBsqd/zM9nsd7Z1ODbXYsK8IHWgFZ/CI7ObzYte6Mf/uH+2Vsj997Jmn2IvUdpWD/DRq32XIhEVlcAmaI4ZMXr8C/NPHs0EOENULTsSxFydjqzO/YIYHC6kXInoJjnmfPaqgXw7cQ3m0MnTSdYLgbJMBJJ1NnZolNs7gOmLr3Zr8TVMa3OEdrTWyKtojSBoz1+Y2xgPGSbjgoLaJK/q6XUzPsi3X65InPXX1KSZBEJ04I2J1el1XisdHheO5M5krgnkpz3yiI4u7a25h/4s3OmvLMws92h3F9ji+saH1kcVCbyBfeRkifztfChdz1TEXt17T3wC+N4Uc4IQtnyv3Lcc/poKOva/8/uSno3usfv6LB3I8btbcHKxBckwwbaQHPLPmbjOI+zCKK+BKkUeOMRpinDNB1azMVMQt1E4989aVwNQvIBxdJNG7nSqX0MFV1yQjmE8oCqbHhzm6loxXNKgC+CKGlYCtM0PI/PJ1bfEN2f4DSWFyHa/bUE3Q+pAfZbw/AjfvpIPHsWd0loLJLkG3a6qOWzi0alxZM1lOeTtgaSYi/sK9BC3Z7D1MvmMGpefJMiN001wCnzvdwymZegJ7D33BHblmZAvREBjW+KUT2R8NTZCFPCQ6qDrM1cZrWjtSntH3/rhgLnxdK7naXl8D5Kd83/1qQ7RWRwdX6vDrI01fVNK5Xf4N0EvjT47c4axmBSR6O6CFIm6dh8Vz8jBix+lyI4pGXAduyht7EXTErTpQ7GMWiRTB7R+7c/fIf4qgF2hBEluQIT86sY1HS45i5jsWRKJTsKPuLRqjP219nYXmmumZD8L61apBKMSZNyn0nohZenuogtZYj2JvNMG6EPZa7kK2Jd/7RhE+IsnttSo8wS/k5FPQ3Gewp4TcMrbs2aN8oXgf8O0A0mC3N5HcgYxL94BWNkEZQ6Hzl9AK3IPrxJi9alc8prVJ0yg8WPaRN2szL/NabUxQQ7uETHm0PlISUlKe93H+R59Sv/KLoYa3vfkhrJmAXZorFffaPgDbGK4g+t1+aSNz49azLHPzyAuL+iZz6quU7lhrEWrdkiPYb2ShxTpoJcsJN0xBKqwnqIoGzLmWB+4mhYkDOWekvZdeGR6DydIPTYn4n0NytqEQAl2B0aU3r5/Go76dU1jz/oYn/pJIEi+c5oyxUtOfsyb49bXUV3YYtvPOppNvBSUqXzf1pj/LTgwJdiwctj3SdIpV7RL77ajbRHq3+gUHxMX4usdwFOzRFGiwAUV8O1VGPlfu4IYG+blxLcbae5klRhINJ07GWzHud0tRbQPM7YO2rxi3GjEdjkpfIisWcOJ0UKB3644SjlHWmLXF6vLOtggckqqx4tY/5BWt5Kxy26aBp4QWZC9a64K1oKpQG8PrRVeBq5tiRibEDGGG+hB0/vqDg/b7ErTz+irL9rDR1IUC6kYHCChF+prADASXExnG4jUCo5pchDIvS/c0xl/lU5so5MHtfvLv/K29Nd2Gw4RLh4eZKL2KiPK8SJwHaBkaucNMmGvhblMI9vlyvWP3suZCKAJq0jMPoFmJuGx39rLP4o3cwy4ILfmTrrQeMGSr0vN8cZvKiFyVNLvGcG5lZWffP7fT48Nmohvv2bNo631xhaPQ0uVHRKVoptRgTnvZa8HhBFrcf2CCNVz+afv3sCAW1Se9YR1oVjv0ARkin/GnQgv2k6ntKpI+eHlZxoJN4d7+Tj5bnJM8uc1L6F5nMjTb4Ld28+J1qYyJDIu4OGsPXjNbfBwWIybqd1UP4nSUytVXckXy6gKyJD7H3TqJIuQY2NOARRdf0uBMaDRgH43EfCQ/IJJ5qFKi1oBq0wdUv7G4BnX0h2u2GfAjPEP2wpCc4e5ZMhQ7EcLnebH33bXCck5UFoyV825m9Kqhi2gEzy3168lh80bf4MIJr/hL37en7mKSTs1R0q3hRtdExdHP33Apv6wuskcxyfkGsEJfyou+l+gH9Ageg0B1yoZzUgOQmcd6Cl4137fDNZhn/KKw9Iu5li6Ebo9cMT7aoXPMATFYaE1U+NatUujfKvemCEa7EwhUgryvLY6dQ3c267fp13c8z5Ca5b0yIbubfdvFvgQwJvQhXvJ/4Vb9lNMWVPeHAkeW0uAicj/8E5RVPVsi0BhFXQTYSK84I7xtDw10+lNuIg7ZbTOkDlVQTbLF8YWyATJpZv4tu8lbWA0nocWPvAP3ZJqqSV/UcBXjsdEZxE4EwGmx2A5R9+ISjvz3jL010wsVM7DrZsLNW5WMjdDsx41Ps8ERm8lseRYnn0FXI+DxGaBPgv6wyJ+4mmMXxZK78v31yHzZeWCTISiQxiboXc4Ehgiw/s7hATofLuMQPgrDs5JWON+k6He6Mku5BB2ye4gm9VMoZ7fzoLNf7NeowROt+Zsne2JdaNEYjD5Gdg74L3tW8llBznAwHVIkNqdqqbYAp5L4sogMynJnAx+XxcwvfZvYVwvPEvWyH061VoTOO3usmadH9fNscGWh+yLbZDvRK3xwf+QQJHJ+6c0UZlttHQ46uPSPU6/mzBJMkS5YWFgrGFqgngScKkVL7Wfhp2b68IL7QGtWU/3MwkMK8lqD5veZBZG2N1CkjHBBlAcmt2h5TJ6IIhrkU0gE27/N+dheZA2LbSxbJXm0MwUMl1k7ZXp5eQk5ZHptk8Z5XpjkJ103CAg4YAMVq+qa9BG2/19V7JZG1Y+1IShFKz04CKIah6mYNtJqSHE/Muio+1s/14kIGsyC0J2n6uKKJ3h203dBCO+QgacSF46F4qBK/SGlyCrz5soteXMcxDr0VRPO12IjBSu2xglqNa0XSAPLwmxXtNSwSy70IckfRJKjtHLRPP7eGbzMc3H2h3rVHMlzM+8A18idq8rqljB+2kYjkBUh7DrZNMEkFbwzt0whu7/THiweNqPfB7yPGLsVn34zkVGl2OXcPkTVSN7NUk/e7G4OeekdkPlQT8BPHAjivLqeGyZNJluc+DWWYtqYpprUCI/4cVYNp/QfpFVxQ1PV66Z6TzF/tza+XSSMi/JLKlHHClC65sQE6THnbiiMEsMiShPTzgrFB9+3+9ewMwMV9h6r5+6x8XMIXdkT2aBk7ej7vtHJxXI3+6ruUdjfI5hP1yzrC6IaW5BEeyeRDnAW/RqrNiJvZfgpRSx8T0LODk6r2GC4Af5jd5OnRZydwHZQT4AYtypX+Je2HyiHEwmtgvfVQgJcc3wH4N7yrWy8PoHeXIq5KdqjFs+iqvfLzfnsLsBKhMAjFV7D8/DSl2nrggWXA5TtHZpz42yt1QhMQ12Dg+plvwr66iHCdZxjYJUKGV2KfZXbz2pL835de0dGLU+4WnYVE4gjRx+IsAl4kI950C5VsN8KBKewvA+ygV2JIPmkCVimOen0Nvi6ACOtVzPygqHnGiAUNlu1BLC6iJoLuYxFOv6VSFecCQYgT3GsKy4V77huZ/LCNLl3Uqpm2cUnA0/Ol0mb2Cchf/yRLiWXH0gp7m/9+h73Pr9TZR2DMBHpmAy/EBAhfHkRKwA2TS7Yl5GgXaLk95XpFQErQLrS4yp+AdR3gF96ISQo4mU6juHppPp0FsASd7n56F7MPaoaxwnscS0DNxMiedutny6e5EmkL9JifvA6xVSPPPjg3iYvKm5Rds7lJ1RVY0yD5l3fRCrIJX4BDq/qZZD+USQ5ksVXX5Z2W+nkU5GuKRihNF1H40WX0xI2q7GlEcV6Qd6qjYYE4dKxHpLDf6efltDdAXdnHsy8eCDM/GOqG1QpZpJPZ4YyHxvEfeDKsQvUrTivTKigv7Pkn0gzjqlLSk3gOlPh2mEw5eGcdR5dgqTfWl7otKso6RVlXBoKuPga+vgrH1GqeCuEUp9WE61/hJd+LABe8kvQFq2+jVSOpExKLryKvPkBRTVBZwtJDntW4wtdbiXXHxSXNbISZCOMg0Tb3h0tU+4ea9HessVLMljQV3xZKc/kqtymJZmnuUB5cfkKa3xnU9SYIEglCS/Ucsh3MMMyfSoSWQpr6E3XNWqkislKdmoDiOPAYcIlT4/x+tChfa5sYNBsWvH39igmv8zI6sgyUimkx0KeKIEJRy0iqp2h0GZm8ktAClSku2yzUAig4R6/kFwln9Cc3T9FWRgxg+lSdtnVyr+x+LaCW+e2hzmfz1b+QBpY9YKXD5iNmtQ9hofxpyYsz7EzwJIcqYjfzaW1dGkuBSZv/bi1m6d6nfhs9Q1foEy0aP/uK9MtpLgo9cKun1LiGFw2ZFaRKYdFKHy9pbipalNygfzDUgG7JVgqH2xwgKdzVFFILDmsfQHKERLPqWqzCZJAjQLf37EihfEKv9tQ9xvoBggHtC/bE8WYVyVYz5QyJQHxarjhxodQpr4GOIt/MfaiWomQaclWARNjDU9xkrzrQy2mWNqpz2+NfZ5M7F/jtrHNybutxxPPa2zR0l+E1KzxMYkPd6OzuIjbQZ9V1K86UuPdDmWixvz3t89mBS+QF9dgrYN4WCVvJ3XdrJYkrfZzfaXLWDTq95qdnY7CRdBU8GQzl2TnjI4lttp/Q9Swo6iufLQkeRik+m60AdS2vDVwAc3qt0hfNan8TxDaXLcxUvW3AwbUsROUPNpVYkQfxmckvMqJDUBByzUKY+akQJb+VRajgNFhXD21svv83dFOsGFYMESsPvOuwTaDrNmuAiVzfCOMYiHJQGS7XhSIU5jFqIbu0mzxmX0+x1JbGi0B4QxAZ8OlqB6mFXQvvwcbx3JKFql8gUjuJd4RREm33fHyGFKRi7wiL+xaiQoYx8DcsuVNjsgfmVBY9sVAmYSWeqmnmyeFuaTV9J5ZjN/9cs4napbPZifWqeOB5rMEbUPpGtv0Q1+Ms0d17b3xVxglucVWW7XCXQziEJZXXOUGbMaK+9/OT2BhNzAa29yzFA+6KnVA0+y92bqgoTkMjoWIzLgz2kSEmQtiqStF8xIWcOE2hgHA0PIEdJBSGwpqt6kYIbABV31sIVVLOPam6aaa5H2nfs6s0xZ/1EN8WihgN0hvXyV9/zLnK1QQRg+P4ajHD9LOPw3MNNGZJKeqNEvPOoCEhT31s+9Mp2BPjNuy2Bcb4q/ZtOMAWMp0h9IF9ltHyB71BoGCY4v9SeIEGghyZ++2yVMDKF+LiJ5+3mFk3g3/m5cDpQodSVisEEPnZsAiVpVQ06Tcky7F/jW9EWLBiik0DH/igeseClBad0W3YT6n+hHTVY9bUXgpmi0OSxZn+OYqRjkjcp1HQeSeX2VyBtonuQh5ie4xq1yazZIyaPi8T5tz/aFukV+dbzsTGnU7K8rT8cBfI1r1+5pyr50fvUa4dhrwdsnLnh8y+MjPaqBImLiSSaRFzK+U5yCQKWhQpZB+qZtCZWd3fXERArGyuUPITffXE4WUteO3vG5S/wSICz4JVC24IQGc58xtzLqaiWwsig5cBTMFfGjin0M5xe4EfjQu/9LQ0b5ImQsVFUEGkwIH6zFVfZBeN/T1mqJmtW7h5uKOWkuGy0FJA13WqNubuJZZ65/mjdK8n3n7uuvBzRrG9jMzk/AN6lEulFAXK/Z7id/+cnNwbBeCmAUGkL4D6aSDIz+kueN369+5eHCN1v6UXvsQYuw29JhSesfEiAIUgbQheNXz1xAMJuhd3e98THLbEx7k9SYqpBfqLiw6nx/Vo0RY4/zIOuiwKh5bdBUCb8biEt2o4c/CsOjWepKQnlkVRenEuc7dj0LKGsz6PHPHgvqT2bBw5KXflERM8iYhv2+y99Oj2mCcvm9gas6s5FRk0kar6ENeUZ2AciGKZNkW7i5gp6AJgy4rEfqKcG9U3iw8LF69ket0f56uATWn7vFfWtc71vYBRoPSBPS+v/m+a9roUt3GWaVZCAP6CRW/B1CaMQv39s/LAX6Np9v94TDU9gpZGdLtNf8w6oce7IVSIlCIEcLw4GbKy7XPAI8t7pIU8LfUAtzV+6ubZgo44JpUvD37+OWaKZu97b6mO3jfUSJaFhyRfdJDdMdaJEqhthwyomudXfMjDLy5cFEBm4IOREmF0pQYwEngemc1HdZP8DFp3wWC7dmPNvy/5bX0j+TBSMRhhzN22jZi9P5q/wcbGXwAZahXfP0ygzSKYM3CLLFrHcuCQQ90yQe6AXSd4yUjw44ZP06lTSH1eak5ADJMwnvZPGY39vAfD/sy+DQ/GwqzaPWsBMbL+OHfGHDz1Br5C9Gv97oNwg+ltIOwoeGd1+/ImpRvXin7R+Mvi0flziupc6oTIvH8K5AAvtGv+jn8MHjLIiz6CXvyU0GHk4ybqs3deAdk5GecNz8JHdimlD5ESySU5CeFyGHIq7qwym7Nozf7cUIXMhyUIwY9zOFZ3PN9YIR2X6Puu2br/pGj2gOSLuA4YobKTyeLAm1/Mgqfe4cQsq3uBfz83kRiiCfaPg+AJdNLuh6SAfe7q9dk0vQQ3kiBGJVTGKOzaBmG1VpjJGFx2zoX7jTvIMkmkyrPsGXYDWO1sCbuEIjI5L4kIWTfNkvP8M3JGZp7H/MiSUYMdBuJu+nmWeRtyrE0ml22vl2BQeoLDwTuEbSLkaUJLJ2IHbvTUn6bWO4P/n7T9XbQCH+2hNg4JA2qdScUlPEKLeio3hj2OjCwH5e29caeJXKsDduQPmR6C2W9bqkAgG3wq9fJ6FGWHL7BchOH7aR9Ele+AzziFewiyZrcby9yxhHCEje8cOAddhG/WOOdouTGpjIrgTked1LL7XzC6GxYkzboOhhgiMFwgyF8vWxgTkC4dxWImwnI+AZoHvsBobVNH3KjwtC8IJkNP2PELEZqo3NoLcFRKmw5eMWuuCpKMfRpvXhexedj8nKjfLY6r0u+jTUKfVgBeiZ5o1M65/w6fs3uYdIFPSDVqeF4Y0hWMlrgOwouUhxX0ed5Ht0eT8CWjGxJr97PRaSDoq36oUNwKKars7TrxTCebJkkge5E5LiEN8yKzNrYg1yLwS7KHJKoBePiB/n+RhLA5sRIJmJbYsoHfKrBywXnGTdaA7yMQ4hyPi7du/Y4hGtf7p5sTN7s1AlFTDg9tVByUv5qp7weZRYryvQR7d+7n3orQAX7MQ035wj5+N+zHdxvXSZxfRjFeCCZH0+CfcIODTL6noEIcocKsOpqDDSiJzfCoeL+bnjjjS3YPR3IzVKgTFc93jxdNCg2svLVdku1paxQiv9IGN9014IWELiOFQfRpUYPJg5LnCivGZiAXZ/vOTmTYin7xTttaYKnmx0zZR1C920X3PBkn0ZyRFwTMv132PqhIqCK4zU9ZKu35I8KQlKi0w58oZSCNatHFn+OrhxUSMxgl8NxFgS9VqSh3rUQu7bxvgcf8dSNR6GgifBM1h+IAprzUgZvKo6Q6h4vUkttAmgf/lFUKK5XfWt8fZ+bUOOEP1xqKUvSKNZc7UvgWjwsphY0OVKILMSkwXDHCCuSdjeM+5RoVYy6zMAR+ls0VhDb7CTblMkqe+zD/QC9Qk66/O3Brwtjjs7bRfnR1Zgkoam4+DUSfjWGwHxk61jIx9kG1Dg6m1NR/Op4qVt6lBsZHBbR089jhG8QbgwvWtgh5C9hsaPbvipdEJGizAt2vnonRfU4gzvjoeTfM3IzvgYvg8nBDjBsL0NHMx7M5aR0/JpjnC/KOtCE5e4TDofb5Lpmgl/D0OH1aBSh0o0hMvKYorr111fEnggOzVI+cIXRx+IRSDVe5wK7mGs1DhCIJR4WEwbirN7R5+e63OGp/G1VofgazxM8h3aUJBi13blphlHoWHvh6elggEYDBFuYMyNXua3ZWEBCNTinycy0N5IlxBZVyhs5uOMuLbLqSLn+Yh1ojmI4LudU/YFdq0Py821MPxr8Mq/yYN6Y6l8Vbb3p93nKK2hoSUC8cb1WE7H76nkhT03FxUemWGmMnfeG6XSf2RWc7TMTDWfztXfqnt7774QfFDL7yJvRGjxsvwMmSNChUIfbgiNjOzF/XzvvH6feFL+/6rguQWLSDGxYLwo34fGu1LWIlW1hTu6VATnf450KoBQHrGGhf3FSxAQC1B0KrLygdFVkV7i1Xy/hmLKwfMXwhaIDDBx1zafhqj1eAEGKj8xdC4b6Lgfw9SSxQHP3vynPYbKG+lEf7t0DCDTZsvVgZfVpyM0+gzgR9YQXU4/fQJyqEWCbUPwOeQZXTLr6YrTpIreiPGruJr540x5BcVVDAGjCnHrjeUhv0ntawj1I1qTR0wquL+exVutt/vSGs/aKsankkhigjuPmeePPSnT5DGoGVp9rVGa3m7n1mA0+3JaCqXrrh4P08lUpi7SwcZ+Ll47d5AF00Ejw0A7XuOsNZY0tfHC+KgKfKtsapX0IWOzEKI3xpZa5ifOp8im3wBs5lt0x3GyUpOSDnUqlNHH25l+Cwd6J0dleaaBb4fmiN5lvd0+Nocs/z+AwqiyYttZMV/8Y5hZR8ImcEyBMIaMByhiCltmxvb9grwVX/jWaUxWDHC6enVuk66wEnthm7XRyKq/UNcXL7VjKIh6sHKhC7eT8Vtq/hPruramIu+FDa/+cdASUdCQ8Q4VXc+bYN6DAN/KPLlZMZJVA77QpJujeJB8l+k2t6wuKmI0EQskxFW+zkpLA55qDQ5hnvh0wZLE/WMGLft7gTQLS3D5ppS35HsZZsbpluWMVvWqjppRKyZrqBOpypd+dzOb75K+lzRUQi5CRHUDFZS/+N3TnGKCjIMOr37Tqs0GhjekZCU2uylbOrceVf7mVGwPRYthXrulB34hrIIMB0Brh0MXGFNvVtGmR1JsKf9C31njacbaunGaTyORZlR42t95TvwNE8nWnA2ufmpQpy23dJRFUN4hwq0YToF9MDqpANnxyDX9i+5l64AOS+UvAoINarY9NgUJ072f5y7M9CnBIXaBE/xnseLWDQm6MYjoyQj06Bed7H1ISWJBelHR3ltXNJa4qz535GwnOd30YPPc7y5cMAKKqAgc8Cqk0iGglnsY9Eog/iw0ATTgPXATb47MO1dCAYsoJy+TWNQ77GVeE6/3tV/qIBnTdDW4YrKc48vv3AsL7AAGieT1bq1rI6yNG8/Iz6aPCnEekbROImcGMcMgOymNAEc32/jsYBnsvc6jcFGB8TLPNhnhYGRcHpZntRoTbUU7eeViR8rghw8V9WIZdCrbUr3dkBVJp0knWOQPHok4hIulkc8iWeynQySiunKcwoXhpCuZ9ZEJ8lW0dhtMJ/ysGt6b6UNbddxFTqFwE4qZhHCIqqwPEtIP3xrMIlgeYyAh3s539av39BeifRhoCvbDpNWI+S89/q4wqWhAwXZ0C3ck6bEMKLNeZ1BJMLvaoyG+SXxvz0udUZz8prKC9nWvbZyafCcWQL7o1hnPY7NygYJx3aDvO5MLNJbacZpFd3TKkGJvYrVTxuku/zy/ZnQ+gQpwb47K0gUf42nhZ4WqTrTk7IFlgKcvM6zMzuPFaepWhhzsMJn/3Mq/vAB1iHxaxC6WunIYiPagXr+gooTuO7Wd5Ckbk7xMCswUE0YSFIU7ljebwNGTxDMITXhiAZj+/2OBRK/NktIJx0M0F0mlUWKcoTlFZnwpSjb7NpK86TMd+5RgCjeRnda396eYHSR3bklHby5J3e1ipTehBzpV8/sd8ar1o1qOrzK/BNoTeL0WmeP//lCFNGdPnIuQnC6ArzGSACi7teM3ktEgNQ3yXaPoS9+7j8AmKXagG7ZJc5yS7mYSB2ao7FoglPiVvm616vRs3L7EVD7eZwPSkf+A9PjoO0ZTGJ2lzVplwkFZZY3HteygsFdBTGyqD6H1EVrPSpRw2hrt0J02Y05aEDQS+c/VwIY1Z0/xftz4lL9NAVoGBzHRLnvlzXi9/HNvWVlHFLnTDh49+TD0f+LqbCSaSZJrg5fKsQKjI2/r6mZIXjlQ0iNF25w/q4wGzwL93ra4gFjSq8Q8u6f7XVZqkW6qlJDTfd2eL3WBCjqyflMUDKaoN+irPRtnxgnR9xxU+b3F5v5eTnFtIzmT/EtUV1ksqvnaQkTrwsqZE9DSVrytxQm1TiRgaMZY9SQSqSNUrfiZ+I+l/EmBJA5gkOagAg9gFelZdUdvLVQu5lImNr5Q81VnBYyVis2VBfqwrX3U8fm3d+FBna0sy9TpGSy5fMflMJWfqIMv/obyk6kaq6PBeGGin6cIS6WbkfkURchVikBCaXy9wjKk531NRxQ5J0/AThoNoYnwd0ADxkTwmlX1gUY9v9XMge1LhLY2Rix9mi8QVBFjLPP6mf6RzyHKiZXF0mKOSB0TiXwoxDFb9tvB5OO+0sJimQ1mPglh+LeJxuUtyKB1kHbez50s+toB+e5iSqwMAeLjigM0ASK09AyXnl83IFWLv5DxheR9g04R9Brci20WbuzNXDVf72Dyb9pyJK3kOpWpwl0CplzXE3MbpbCuWYFord7dDYzuV4gryKUhC3GG332WnPqx7DYwtmprnFScePbctOI7oFJztAIMZt/zf/1TvTrXbCXqUGP+AFnSdq44Pb8kqe5WFos1jKCie3A7hs16STYqn8AQAaPJ11EzHb9ApCJeXQrOa4Ff6IeTMLylw+ukcqM1poyeMZ5jvZTr0v03uSx86qrYjE5PDDxShunZZXJ3IMO8muuP6mC4gnoAI91wONT00+vKV9czFcHSE7vG3t9tnye6BVxSKI0DhpMstHnlTeM9sbDiniCi/UpDdfEY2k2eOXbXH3BEv447NmommujgiC4GDm7YKyIlp4tibjhJNQGMPqViYvUJU4sD4z7iTvfns9E/k/wRmHwIc18ssfqZxIb71ZHD1SD5piZ/SX6jfqEjT695eT/gO5wJtmEwJtPYOab0/KadiNpizuQiK1cmMnEOW8ENs8UbTQjR3JH0icNvUUeReTucOrY46kNP7SLNbLBVXWg6z+2eYl0Cx6VXDk1gjGHJqTAcDz2L/eF5QzMeeGwS2tt6ZlIzbQBhOJk4rJOyz1hGo6fzwEa1Ih558Rw7StXV/rPDIXA5Sc8zTG1G2e5y4TUpsSLEa6xAHcIJiN2VuHhNlTel5RkgrSkQUDqTYC2kB2OKqcij4LLoVBKdyODB+HXKcD39+99FZUyi14Jv8BNhlYBZWvtMyreNdLCDEszwurOsYKQqR6CRPdOrD3z/PCgPiOMwpVG0DUHq2ttWjzAwek+NuBUMSJgHcQ236rMHm1udx4UWepRmutaJbhJaRG+cOOFLYK+WZ9daNml7hkiO7wc2mxOZ+HwbCDIUbK5SWoddEpr7InnRObR+E2i+bfOp7NU0lS2KrPS5Lt1AgR3gl0eP49kr7DkSyWlftpCi4RsT+QsWa/4D2mpPf26eOriN94r+L+LfchxHLngwWrVWUcJa/DOWLVjsPPbmFVp7UvlrqWIqAz3wDwnJ8Bo7GCnNySqjCayeqSEbaPE752lBC+zLgNyBw4ocmNPvKpWpQI7yXiR+QOga7epmh0WyeLWR7Xj+ReNoUPngDaDpsbamJIZKREfhkzfyNfRjskNLJ+y6jppSbBP4Pgn2nZ3qHW9L8G1U6gRGC129I9FO3yPWSlER6BdZE33gfUkHStwbUupiwnFgzMLVkd/rIbqgrCV4IV7HDDit+oKnOXKF7w8OGC0G2vVEikcz1vAHlg0EEUQzowkndA792n3i7lmGu4lE0tJM1qPenFXeXkgoyX7VH3UW/7EFLzzTGlMI1ft2qXqZkZ/PeaUXwGdlCwIesEUcePjeCZXPCim8lPmvtFYoe+i5dF72ofOc31wLd5srhCZx01mwg0EhmdRtOqG8ADHNEivFVjRTfKafYP06mkjPgkS+P8/JJcqYetUpQKUALOXYXu19YGcTPZJ6VBhoO/x+ZKJ43S+Z+/F6VDKOaMof4V72VQnEaY4JfTBb1iByN/eK7x/o9F/hf0Z3P3LaDK4Tb+Loe/FFxYiKtUCBqzF22er1MhcuTKs8T2EE/ibR+dj/vIIQgB87rsnK85hzNw9KoxLkshFpH6NAsjiU7hacjonLOrr69+89gu224Fwf38gayjClNGxmVjN7O2GoD/mPTaGRsxEc9jpoW2vtRx9x3G/Y+qcK+UeClZY6mx3dC1EHqnLCBI49FXHXhTdDao4xdArsHc2/z165+I4FPzfNHJXTLkWy7nDyv6TDwi1Uuizn+sPwMR/Uge4JeCnSufD9TNVD8pzVoahazq5RGFIL+EKMS5EOL//dO+m73U9oAbDkhq8q9iczbXJrOpmuq6Vhis1G5rS+TZpJmlLxjI1QZAVIxfM92idaDTTEOM/z6RE8VxEzOZFguUyijSgbBupoKZmwWJ8/6P2A/hpU1q9khUrY9uvXpkMI+ypl6jqcGbebTqzupNKcSImKVDimZxWv8xSz9HREPIiB4+paLJ4dJkDH9S2404+XV1h4WPLLDizftpwYoaGrS+3blNG0fBY7w8IVSa/L/MsS0elm4mPMZVN5VxpXZfoRIL8sQDko9f+wg9buWG2J1jBXamrfi23BbsrEAjNRrPUJ84vSSaLb6yAQGmteVuzXH77+mkE0uNZ6365ISOrJxRVcwrOngemzdPwPCD/sKTI0guqkqy0m8OMkcHWFoYGwlS1x5Z2qM23kWcx6Y3zf6Er0jRASL2V4brAwCC7PUNZuJnyhJRakDKAB2HJXAZsiA1Crp84zUp6o0140y4wNAFC06xG0Sr/OU7qGQwtn+5J4jmDGg0dpulljFPITTximR+vcmEDliii3JK2AnjCTAW4ZxXg2I/slKA7TDsEh00eOkfpb+0tkJ2iwsY32ixwSLFt5PnKc5Jjuo5JSScTbn35ig+tUyx9aNkhMXg3ZNFBVn/CQKq+UJLpjwh+J/a6Q2Ts5IX+dT2fVcmt7izCUicnAloETfK6RNaCCqrg8ePFgAtX4uycK+2mCbYQOwed0+VCjK5Js1VNex+ahNXox87p4yDTbqYRSM1er61fYot1RbEHUuCUYafkwS/vBqvmmFIctIW/8wzpLJrezeOukT9kEIFlXv2pA2vvKDvI6dYUGLBIY4BoM/BpEhKFuN4ue9NRltRPghwBs68T3N7JNXjNoNX0sNwLZPOdMKJ4l2TTDdE0zPiqSGnPpbQ+lcETo+TnjOXyHRQQ43IvSvZtwc1eWJ2LPW40pAODV1D+4Q9FLvWJNl1e8C7a0Oon70C4R96DY2hmsIyP2fa8dDm1Dhr5VW36pdzMUJmsbmZa8wfJGTzJhSvgXH+lgv+V/YwSl0Zj0aOFdXzIYC00EizpFERbVmJ11wjxVwsa8REmc93EVXts8f5PattXBzXrBD6oMxOSJyGUsuZpkGGTcg61h+ZfnUemmph6a89iVs6ey5fL3KehqoiuAt1urrAO37RFOntgUfhPffbObWt7j454uTjnmudXvRCjdTIZ0O36AEASV9hzPmpRovTDmuyT4iyk/4tSq35lROQdFaI7W7AliH6XVcw7mJS9qfrow04I2qZu65H4OVEBTgCUm9nisPp083YDtZ4JVIELtwogO1EBbwwe+tI+m/Y/9S2GJoVVYAP69+FTRJriuc7pN7NqnUHdOtFVFGuVfesEFH3Vbv4IlCVlxVcboEwxgoSVMbpmF3gLXhiX6nkJ5YOc8CVC7fFam9YCQzgCjQUGPk/dkErxDB9Eu64dVqgOzHSEd8E9vacKVssGiIfTnncERV/ZXjN7qbMgZG9FvFL5e3JRgBgg3S53JocD7k4ALiUEvfUL4CRasAUsp76MiVEunrPNYiJJaQyGXGJnJEODknrdKl1c8PbFghJLsCPNS4dF3LKSJPxB7NlDkXt/zRvodRCmwL5qgbNyYjd/si5eb9HWTpRjO7g8jcac/j4IRUtOoLUsniJJaVXp/xeuUYswq/nO7GeNvT3rw91D0QQGJ9how3DrTSV3Xxn9je4O8gTMjJIyRbJiebVelPSyJDjyQRUWTCPEcCvd/ZMDmbMHGSsfT8sb/EkUYhMOWP16jh6hSmVUFFN+jQ4A4SwsD9NzL7C2ClvBd7eYqH9Lr3aXTDGfJZpvyrzXU+mitGcMYGPevIntU8mCd82Nb18IDXUGpLLkUFyYWJJaY51NVAEBgaT2buy38weKwQtypiJJbdI5jIGN20tR2hfDcqwE2EgEhUfD4472sxtHZAobokU79tJPDaGYe4mltLKK/xWsK3CoEB/YF7oTjc54nxY/nF9R6ejmdzcV7lueaFL9pAs57Q951J3HfA+FsUVFTmbFJb1DsmyuLFI19EufbqN1zVepdbEKnJwj4MvA5gHo5BfbS+hX+j5YbFCTWDFF1oWLDbo5WF2AiANvJR2TyGIAp44hYqNsWcnPojULyWXDxXjGcUfMNpP8njzRUDUDBuozocMJmmkNA8KCcHmvdnmGVCZWE1VOEcfYJ0j6QWWEyfJgsuOTRV8Cy6W7pjP0a1ENZkX+6faaDMC+P7Eam4juArHjgEsKut4dckcEFhWfrsVfq77y/Faum/l2tFqbVNkjvpe+R+crMd+3y8jz4/O+5F/glyuvsN6kMsioFKc+vGjmVHgLvPX+whWr+FLISim6Ns6NllvRxXelv3koh2jAeDZDbGZX4Cr29yySJwpQqYoPyBXniZqiYuPlDuxr5ZdZk9BdDPYW0ADZf7xzGVv7V0apamPJ+5JDyhWmLmm4YPhoCSC/BAFiv+rnUyOkryiSRAiema9ZBjSJY0EUQoz4C1596hAtJyKmcuBcKRg5SdWVGNQkpXrZ/TF0M0dHZ6n1zfPE6YcmRVN2PxSbrs6LluLP8KjbQmggU3sH62I/Fyfb/YlR4qjUzBLdFMR4VOA4jSnPqTqnxgjjMpFqZKWDDNUNeQAtsXftBjPtsZeOgeKn4/w79da7lW/Qp7kagLk9tUwQIPC+4zai7ShI+hykn1lec0FxwvdMLgMZENQi/d5mh1ZcUFGQylhhyL6wXICs9LwUpxe3QNUnc1wz403lcFm2mk+Mu/ywyr6QqCrXC7/LGgB5cIS6gaV3DQ5jyEPIi2tQWJwbRpJHvrhdiQFpx92R/D3LBzH/HccwhI+zGNEMKbB2luw5OI+sWJOXBI3sr1W7GZ0ft6dCqaPOIyHJ2VoXso9Ixf5T6iyd18nwQ+5idbvQ+J/4ff3c0G+H6S/lHdgKleXoKWhQXMjg5MAc5o1sOTZQ7bXTHYgX/vSTappsIk5C4yjStHW2WqMic5oiuBKIk2H1gKX2jwzVkRI+k6JbF5Rok2uaf/mCFBGr/+rKq90Ax9Vka4FqmPWB7MOZ6AULwENsZ3V8f6fif3o0lHlDl7BsMRt0d1HnuclLkCsenk+ZOwkiPMAzoq+WPz0+y2/4EdsiZPAnqwG/U9nhlSDsz5UmV1d+FbW/XiVh5rBDm0PcyC/gfBUzzCTu3ZdDN0i//EwslQw0ULyBXlvvQY9SXBi+6jYF/+VI5HeWytQUtjR+QEawnmRETuQGmN4scGFq3R3WfaJpg5uThWUKq/GH+NkEpvAUlPwc9M56neZV93b9T2qXkbssNHvVA/pyfCoHD3mKy8xvfH0EWi5vz6eDopj0KN0lGzaQIuKYQxT/l7BboGEwm/NBvhQ5AUifvQNinvo6UxE1pZ/1UKCLxYxHzKZBdYPDufO3K8Btp6MDtGXVJMa5mEP/0mXybliX/2IJp0VDIpDSVjhE1iL8b8GrMOO13V4dy//Lu2GSu3gzB1Ib+BQGx5MJd3k4KC4+91cgO8LNvU9dWVxPi31uMy1sxZcVPJ/dvwP9rOyZMCql9LwJmDrqSJEH8zSRyTCjLbMlK/bOcX5BqvaN7Hy+9IvPSXMmeo5BLcxjIyCfWvmQiIy+D/zDDu0l2ynhO/EvbS3gIfXW97UEkaNp3x+BiCBzgh0JIuKTgStrsNusYkWtYjtIoI6VYidwmT73Z95wEvL5lK9TKi2LuGr/lJbnXeiYJ1JZbzbfVhGkweyYoliRDGPxI57YJ9iyDGzjmxfCYJcAtuaUc+5Hpb78qF2MJHr5xjO5SIhvBNSZQNroIoFvycLVtMNh7G2xpp2YBS4SJE+HfrNsOP4SOWIS7BSdHViHv1XjHOkCrALWWe2oDtnMjjB8xzJXa8sTD9BjHL9YDOq6ZyM5W/sdn3x5KBSFWcHusi6iEnx4Va+1EdbKWbOL4dChRsKi+vFnMNGF31PlGH84QjZvkSq82sQkJsr9h4PJeqdWmSDhqKeRNH7Tt5OpylIghs8s9bUfkmyRQ6sk2liUpqvBmzlIWxc8O2jTuJEWlftO9yL35oASuw3knw/+wFLoedMGZ2JBtbOQLuBpySdTqfN3/AnfOCKJQ79guqdIe/U9O3MNFMt27I6X9ZuVaIJGu0pFAWJOf+KgCC8wB60/2B4hWTR3u5FRfTZ3XteD5paU/IcvpFswffxrK1L/ZHGC7FcuiFUZtP5FmJWHDL3wn9vNWf7ctxUpYW51yfh4sPhpE69vB8zGSw2kLZtGKHMFKnJWyDwNW7LJ3QgV8y3RugZvOf8W9qfa5Lgx+g8GBKtnhGusNVgpji1PwHWMEoKTjggCodAPLefyDg1qIjTuQ5MG3JCohyCxrd/xBZPpGKIB6oyi2qq3+mj27XSBoHJe0nEsqYcuOxhTP9Z+9FL2joZgy5Qs08Wg5HnRw7zc3B+oRn10Wh3OHUE/bsGGilVEU9OlJEZo1/kRk9v9ZoHnaqFKHvY9B5IJ8LTpzKPdLowkPNN6u4ck5hCXk2FXS20ugLcndH2xvVvSl6f7eQKz8NXRb2smq/aV39jFYk8zWfjNC/2uOZygfo968LrOFloXGga+B+ifSE/JxGm4PEa+WgrrfftBPiefe9T/DCYgx0/h0g7UZCBHyf0j9NeFyPH429/9wSlH3BrevSr45MkUut193YQwPfVHTHyh6UHG4CEJbEVaYxkRHHxbDcW5lbjE7Qc+UD+N9Nql3QuO3EKNWleysYoix+++YkmZDwklmteBWhgN+jI/WCZQYlpG4JFOhr4zckOss9yObS1bGJM9/8RC8zm6v9DHDpSeX65S3YmnNqIgfit0hxohMJr82sz2yundJE5a0COC033nAjDluZ7p2s95rF47u1G9/568Kknj3LrFJqNdCwjuLaJz+emCe85CwG0QnBiAnUhG2MVLFVr6I7QHmgO5jWDnXaH6zsNRIrWez2HTMk0Mo5Akx7ouDqTjt4txVWuDzYttMa2xcIWmzdMwemFhlVsdTTXUK6mVbz8pj+9EyMlReoZUZnjxsDuHePpw69T3y38AT9glIk+HG4njDnydd/gVtsipdJr00QYCvC+6NHcIPz5CJc3CfwaR/FwnMlsWqGT6db8v8zGg3KtIK2mdm/YCsUoDoQCQ3aecJBJDOY+/7VnBdEU4igAC9BMkJrb7y2WS4C2D9Gr1GR8mhFZjQ4DmsWz9kKtqCJfB/kb7il5neiyQhyO63tkcJ3z0AiljmhR5c6Wxzo1Av/KbhW6KGJIqWO+3I15hYMRmO1O45KQqVe7bZLTMLu1S7g9tw74iGJBhQxs5l7sM53XYaZQ+fYUS5Ex6pDSxz5cM2GIIfvhCivwRYz8Doj7gT3aiSLRGogocHiiyVWaz5C5vW3lRHOWshU/U0gcP4S8wa/d4ffRusuzua9UWKCD4ezJSyt6yvKEmAxiDlkIirON4ehnnnI1GYIKhIDqvgMUfvR7QPK9oQ4fpDcBZTCWrA2RVZbMA6DOmwsBsKviepkRdkigBwNoMWQw3PnLuf+0t7YuSIJGrh3y8PBoW1qd0D8hHyoLdHSkRCTCNTCHDfldxxwniWv8yROE/2LtMJnyAo7ZUy70zO8ICehP7wSktX0dOEhMHBn7aSYensKdiHmL0sb6wCSswnIpCjy8IK58ZWsvri5DHUOBjMx9R6aP3mw5FeZzfFlXCzAQUU86ceLtzbPwKTnZaypAkNy3Ozkt1GD5P3btg77ouOgcETITa1e4udg0rC+bYqpDiXEgAzVe6ErIFNOl9D/QzfciFbAjsxkMwvtTaL1nDiRd8QygUy+yPb5Y+RQVULXgB69+1ARePekLbQuuK7+jBCKj87xE+vi80nkBFQop8FtxwTdMP+zxIjYuh2URVgtsQHlRmtd3lCowSjt3o/5X9wXsTNu3grNkSlBwFrSIjFhCcG+tUle5Uxjf483/rN3lFeBHgwSmgXo834HhkSn3l6XpLXAHcpnMX+9FtnRyhHjr245CZZggCmgd1P4BjJ63V/paRNECKw7VUNMiYzMiJKPvNgwtqFDrrugyaGqPnkmda7+H/8ZtzLGGKwoonPwxySLFAXpDi/oBuixDkeBN5wDEjUlMbyciEzG7DAULWrUN7/EVrpIaRVgj0qieLhNGHAuLU8htECOlSfLOQwCSolVUanaCwfvX/7ND6SVOBsEYX6i2wIBy43q+kZnOuG/+pXlqQ0solFFqqXFPadQIu64BSr6/xswRL4E0ysclD1kifW4ME9kikWzwQxn+g00Ex4fMZFPMlf344GCE+lnj+D/6SX2rH5gD1yxNMruVbl3eXQePRlff6iVa2+njcZtqFxetxQD/2SK7WhnEZ8YwE32nysqSsrcnvEpsFObCdRNPsu5KZf85c+TRGXiXhbhyEMmIJufJ6oak0XvMbJrw0oS8H6MKnKUxwWxKa8bDjeseAggJRD6DpasyXyw+PfjsZ61af/X3oEpt7d9m1y8VpqEaGG16ryOTkLpUn91lcPjAYCnm236otZLl+AnYKv9UbgqMxRw22FsVx4Vur7Xkev5o+ZWVzTDt8ZkuJmI3ZR8xa4FlJke5DrF0fc7OXAIFAv+7+FWOiMaU2akXvmjpZsfHj21RCIHaJiZAPDLA0RsXqg60nuJtxxIjgpsQAxijMXYr6PfDpGl5F+08FCxdvCPe0LIB46vm+J/aJ2E0jAmmzj8usxJm4U/6xU0vr+V58MUeAWRvD7ILpRaM2CH3pednDOk3eMH0737gfceTxnzRsM50/tBZTj/8dQoUdAUzaXQuLCzaOwclIjz21JLsLzhHpQ29o3eT+FQWmXMRyn6TnA9ntpKlemvK6bIekJYXzTa37arxib/DugOEAJXQ9nD+ZtSmYhNIrnhCzJpEdSjWAaIJ8BgNPc2dbO/U+95bWm7DjCnDxIdezzrqybZxVuSCbkb4Ti4L2RsMhQ/gc4zTnR2vplE6U6bI+dsHZTC51gtm5ZfeVmnlRrKSlYROtythkCZZ8gki/S0dOd7bENVtmjsImDvx2plhk7cOMtBrNSUfHe+vpcVxFalauyGVMuZlQCsog1mf8B7hffoOCbVqahbIxtIEyfsgCeZyWalQjws6oeQJ7BtdZ2+ESl7xeDcXl2t31TmO4xOPTUAxv0M2zLfZeVHzc40jpJABu+aYgyXvX5y6m17k+ktgSSU++N1vsXkYiibd9S9sCM4o0E/M2NTjx9Wqv4by3WQ6hJYdqp+6D2g6toBa/dZyAIYHHn3Fef1i1wmSKitvfnWo34GORiikmkRQNMrsTuU72mLcHDU26V26X7QUB1KkdYtfN0/ka/Tvt1FHdXGuFK5ZIBAZ9gB9TOTEP7nFgbOv83nfIsqxR4/HXHIngRCUo/4mtjBSYMnW/NTPk9KuYQr3fWXg4RhhSaqx/VL1sIpSXR40g5l9/I2PAcpGCMpYANJF0gjbqdHyW1HMTah1IsVKOpUXaopULQ6nKJh7NSTjvzfJ38jdhOHL8rIr2Yl//JxRbpBFxQHPJ/X0ko21W5HGZDJlO4KLyXi8b5pD5u53GrvpoVk6iWh99A8L+kq/JV7bIfcNfdSW8P2GCgocPoX3FKRjoVC4oCXt8ggZ268ppnB4sn/ErfAKaARr5pEVU4GjBFWM876heL14tWAWhnKqs2AVRVNMJYiAbavGyRTUNezkrrlf06neVjWrjPsmCdnZ7YA45IaFF6wvoOczQ//zY5kHFvRlyPIMU1Xxq2/Fxi6f1iWzFxafuR6iUfLvlD46npwcEPTnZMpaGKQBbuPkVJt0nbjBNg2jsJcMQ7qCRWG95AKvvZrMEMCa97EvcoeK6ZWFSmLpG1kNIJbD8tdrsF21P2Unoq0AZLNBcattD45jDe4uGOBfAIAdU5IwqRFSUEjCcjuM5IcyF3XDoH+5tRRaPrNWf7i/VJB2FAdMYuvBkDwQQVcrITq3V/ahTyDekDPcvGkvMaN1GUnSkzTFKdtbDRWsK9V7d7MFVaYwvMnPpz4OUyAb3mYv1WLVT9Sg0NJ03KVuyvm82AnVVR07Ec4AFWrDxSmlUxGCriURUcIwrKFqXD+BgpxLdDn9Sq9JfQoWcyZNGs0ITflEFgEgBEIkuAqjywybWGSVBgz4QSeJ3a89oHCFvGs/LKQBVjPAFcer/QlDkLPdBOYG4qydzu11XW74qQKW619eG8t83UerWU8/zfH4EAl2noQCgfymmksx4Zpik+g8ZMJyOhSOwOeF6enEsqPYjXYx7Jr8ZwSTWU5n7Q3hnYQJdFC74eE5a/xQ5BPc9oNlK3Gpy4kHhBFB5zTywkhZaehr4Dww/cSLv99eAIkn+zmFgD3Rf7kMzD3hEvwrRm/A3sWiJjSvo+XxpcG5SsK+IKWD068uWNBlwpKDd2F+Lv26DjzBAjkGI4B8kYWf+amwBn6vR6HHpa2c8hn1nfrWNvIbcKgC6uuOOtVUgTm0SzSb/hlPTq1tgoVDWQ36+ktyf7rLRg+UxIN3eojUgInrLEfNvJSILuAKPkR0nrWyJBmLsRbWi5jVH7hxlslWU9ckIuDbD5MFlZkp7NxPoQGwg8opNW8NQicx5rqsm+X4mV6Li2RZK4JfiZWiQ6rKINFYFcbOwZt/3gn44rif1xdoqndhKaDYD+MPhNf2QgK006AekAD1OQF0CxZjul81JIwW/kHHO0C51du9OEKiuJTcJ8rc/I4qMTsTLNWT3YJFYE0KHgwDtVSQkEdvT+c6zJZJFNJDE5e3gjTUU2Fedn1oXhr3FUjfBypXzDqezYjM67034x8hk0ijjbkNI0Yelci9AfoEmlNxLwlt6d/9mAmszAcYPKRdpR3nxiC1DmNckmI5xWmrUarxSRaVFy65tbnD4vjLPMjlGlDgePwVtWKWQTLMLp4mCSZvkIZ0AqPfi5mgcq8W+EPA5CIu4nDAgfcOcQHI5EAkj1LSkVtHmLhZ5VCTi3XJY8rdHB5C/S+CLlwApwBH1D/NNFyogtedeatmwhWM2PkS6YBk8J7aVHNcu7ZuPf7mBzWdleGL6gAd03csMvbiGr1nmpQ3t07nSUOaQzCJ3MVgQggOaN2dcAWTN2L1SIOvVY1u/g33/mUkmOC1LTFG8rBIMoKiC6lG6c0Rywg0bwIm9a1uxHM2ve1Nni7kEYk7esJI71lfQ6WY8lC9l87c3nEiVbsx0145PUxNsjAblvtB1NuHmEKe+4vpN8saJehYmKFba7W0Ot6GPvW/kchz/+GOS93mSCG4d8A03igkVMWtBLn8ruyyEEtjCI26tKG+qrxS4JVLG3tYfiU2gN9TPBp7LbUyw860eBrBMnrsOiOszkLW5rxS25rDMEbRkZpunEMuUWFpeJ/Rf5ObLl/9tFVcGlbaNJq90k7e94fR9AJcwfyU+67XVrDkw7lcq1m/8YjO0DSQAEevBka/ucAFHBRBoF5pOS1p0mMUrx5Dq+a56mqQLY9SxNA5f2cy8N07WILAjTn/W36iualmWOvFhp8o6jl9aHHJL89m0FrIiE7/XS3IWddDin3dDEO/zjU8g97MouBMkKM8CN3pXB08WHL7I9URg0dsDjYl1QjhyIMGBjK/xJJNUU1kUPF3SxJ2+YpdA8nKVVx6w5cJg+DjCq8NqXqcwHX1/vFXOA7/8cvFp5UA+zUZ8WcZuk7rWKvW5XcszfF9YalPAC0xPMzmhbWF0rhd4NySjJCxoA3ERTcNbwnJ2ZLYTBeHLDeX2Vf4gwFhyH7ZSD5jGrcVZ+COf+Ld1vRC6eL8XB1uNHHkETYXIGDGUzlbJ3RxY6F7yq+lJvH56aixkAZA26rx+b0N0unhAQDk1KKHC0hHqLaoB/COkW3XVxdwXW7n03aungTq05DcaJhob1SIhszepwWMhrbE9/ZKAYf8RVt68FIt4WYuV6q7AkHjJT8yo6UhbqroFYnPsJbnB4tanMbdZ3XIGetDXrR7Y6fgB0pzpLuCr4NkLwY/TBD/lzB5lLso3lZGyUSKG2OxLljdzmkpkI6hTbuWMFgC6WV6sDuQ3hFjvpTisHJXXoljNK6PEMmzBaUW4sKYKOJDTP6QlRA+dyWWqCfMkO5EqBjhcNr3D5ac/TRe8SMNXuGwU/AFhZyUIYYOEO9k44jnwHL9dhZBLCG8Nz0zbFff3Ld/nYO7X7nUhaJGpGLqvnM42qmJJFAok+ofpxaO9Bdk2y2RNayVMPCw0tZgtAstm5GKjb62w68WdDYLQQy1a9+Teo8OD+H6c3Y7i7UgsAt8UvkvBgMr632BuyRlfsfNNlQW/ZBD16bSEAKGqnBbCzc9az1r+zyJkqa5YS0XeI9boO3vdLawvvgkx2ULmQyY/4wjWC7Ou5ftlAqkH1wQKgKEFqDKOcDTsFz5R4XFJu3I3f31HWLfrJcIgj9SG/zvyIDV0/NEbAnnxcE4u+hTfpo07NynjxNJ+Xp6tfxa1ZECACefgq+PEP/BYSwgNops+6ycbgvN7dE7r6MI0dabC8J0HzmBuVYg+83RZ36VlxDfXWA7rrF0e46/DDuHOs0anzZ769BW29kFUMayJTu7An41VWGvLu7JwxaEDEnQ9W4xfK8aXURMNouN5PvrUcavgeTYkTzOetdIF7x3KRJazZ66yBNOzT+t83bin3rvpdHVziud48o8+WxhDZSWC8n+4+ZE7Ezy/E2IxnagnxyJJBDoOgK9ThGNc9MoeTx0i4fqPyFzSqNjaVyx9/+V8o3hs5qC71N3QNZdZTLHhm/TDpjbOMk9yspGqqep5ll1+sGP8si6CyJJSjiTnBB9mCdTijM7+RRQWv3gTN8pXgnSUv7RinRZ1W/d415rTverKijGb4V+6r0H16IbgyCtC38Utb8F6Tm2xkUzU/twuSBKn5TH5gVSEBGVJ6oI8LhyteiMmbHjO5yV0kElhVDrJr1vHTz0cO8Ant7YtZn4Ir/1nzpVhDL45gKnOrJzhsRK1A7vPIiXNyIfqydX/GxDxsuZUogriilTw/NrOgRiBeWb4HZQ93T3WXhh+N7nKL07TN58V6SXrR58/Ez6K9vnDV8vwgE/lmm0xSq+w3czWDn895IlhFIjjscBYozViY122glhvGXhqDgsJXLfSaq/7WzMoWeuwY4IHeEnufcCukl6wcNEfa8zM/cIM1qROsq1vZYQtm3ll1d0jGxgsJbvK/gTlGHiHgG7nYiARzyDLE5JNhUHnc9C/0mftZVO5pGNuaqeqJM6+BY97kNbGef63KT/wxZT9C0f43+f7o2YkrKSPAL/WpXOWCH5eXaMeI3AuZ7liygtrgwvT6GdiGbxTwtN7GROyQtuZkgNVBXilFI2mqdbFXqG+0F16CZW/+URL/AUY4G6GHss9MGgnlRS7BWQ14DdOErz5WLhboF+r4StqkirZVjfo1ux/AFQEq79KkuE81hM0WaVTMoJioDKFYTlQIZ4E7AhyWW5loKBm6LTzW93lUd6HEBENGvp2C0lnsSL2Hen8Ipg9BB+Dbr5qvfv8AfmFo20q5iCSye2MGdhwDszrn+wRfJWfyI9tXgEAllaZjZUrfVR6K/YQZeBmeCkP8i4nb/wM6hMS0Q0m2kceArdp4ZQtdfNfgvpRKISJWbgIax04C1xJLMtODUyb3CandBy6phmviG8KnTtX9ydNU3fynv/rvMacFkfByy5V9ym3gpctoe+Pg3UTi6Ot2WPCMP4OhSFfslVHur1Kuj9VbYvUyyGUiMMMmAI4SWK/68XeUIgPRIjauexBuTbLU/EeSY2XeacD5T5R0aFwL//clylWVRoIFghcOPh4n32UlBrHFsNDY73PfgDiNkPnToIPund13scBLW0O4JKbcYs24uf98UkzBPH9MadDO3q4zQ7O0CynQf+O/uEIu/Db0KjtHhSHnWw+aPS7JGsEzNHejhQx/57N0jJ7ko8dLfFkfY7NMgBmgHdQCunCF4bnbg8DMtstT4FJlHV80epBZPVZNyzggIWedBQl11M5jZEjhRVqVPNEXwLsv2EwNXEv8BpCklWXcZ6Yg9tFdUcr+YkF8KOl9rb87BLBd/MNYkWWIb8C9kq33HnmOh7AyDHuwl55opeIQQ4BK63KiafEUK8DpuXRxtMiAs+e1l4sobyQvjGxrp/DBgyPt5kBandJhNGV25B+wQjww7B+7sJ0GreFJje91xsKn3QHOk0NsjUVOK1YMmdY1VzeH+EI5G71x2u3qdi1/F5a7Jf1n7iMJJ9dEvWB2iHgmeqy7Xgx/pNSo1yA3WCzBCAMPqqMTU7HV6xnZm68zEjfXqvUwEY0zZfTLTGrJXNu5F7sAXewMZ0quBMvMqU+wgzUIUUV6Wn2riDYKrK8U29w7pmA4cxMHQRQyMpdhQHqrEdmEjEUvIU5OdaWvKfh3pgH7Jw1vzqKUxhZZ/dryqMchhvgLU6adDA/yu+I0WBv+v3x/nrrlAnW6FnLaTW7dGcDbnZ+oKkX5ylu6WhbP8Gxpr4SpxUrD1bMObjAtil1Mt6JObeNyjyfhxY41HBA3wuZYgTgVho6q+46q9uJFvP6VWtcayhfpDyfTnu06zRWUECNuSQFNtr3n5xuHMyjIOkk+Yh4KZCym8aGD+fwNflVR04F2p6f3b8iAZ+NRqF7Cp1MDENhnIH3RHX/2EFEaS/XkTT3o067f0fqksFtMOg334ZLnpHIuihJM1GDMxsVUVk4x8TsQDdrOO/0u2GVP26Hp2bEGMWGGDWttYfni9Ilqxz/jF3R6U/sCQNNED0PIKTRaUNbRGIAFC8829aZeVYeIm9PjejCXHqY8GXlSegRo9W9OMIu79vSt34eB9LpgEZwTx17UWRPX5ldjtiwWH8+jzwCJKD6i9XHRaHkfgYV47E2uHFhpI4AwCtFYnhXp6S7KS78x4IWVhRSm003EB3fCojkMwxfjADC5hCoaXDlk5woeUzbO7K0RrLfJDP73rPj+dEvSLsCm1ceUByTxPWXaSNYby0xuoE315+I9ac3CRIK+tRJal+ULKmxl4Gt2RakspPA6PVIXb2yI3jVa9VRQRK+gE1I5uuDmsCWI7WC1JXMmeIUIHx+GpWekanvUYOJtz2w6i39u51yN5RrPt3WSs9STFY0uzJxe9RseNkD6rSWbjEGA5L1zUichZhBPn9SNlXEifnMy+wi6wxmYUjCUMg+KrNLtESbDXc6W05Ijxza+dsBBHTr++kvDjMLNgUXP1W0ZIdr2TcnW/KpWDxf0033XpUqZ9/1g6SCXafeL3bYujE8tD92qCA/nn9H3Pb427cz14YmaFRsm8Osdsu0vWPc5v3Ojpyt6qxO1H0h6ZucIJTnn2rCNQ6dfqzCaeTR6F+2zbhwV8x6ENdke6+RoCRY+qpFo+zMlG8FsXcZCRTZRjPVvhhv8G3vYGS5pl2uPFbnw5SoIhnRpmVvuatYkKO2Vxma3W6Z8E4la+PzWcuzQA44bAy6zYOcudQOjt5pgCvdBiGescle7dw8dRh4Mjif7HthSUymbfAp4Jema6i41gcQVtnQ9Sg0euivoCDgd6vCoByY6AGvivDauxmYoBaw/qBi9psfiBr8NlYfn0X3KYNA7UDzkgvsFj1BlaU3tOjOhEBcoYCH5T+gPvKUEr5FK3oAN6qNSjpT4TBG23IpafpD6UOz5DhNV3h/63ofsYXm2ZJ99Mq913tli4AptSORZk8BZC4eQ/ZzJHnmRjNHpKf1xeK0YIq7fIJGFMApRh+CNaKyj/4MQm1hahWasQY+iOfada7DJz8IpO9lvaRzgHawS69sNlOAjPfQEQS1I/2qAZv2QTG7jEN+afEqTrM+lnHHBFo7Nn75NF5o5/whqk4H3UrQ1SsqxezgkihYQNeKwLgwQKEn2bO97EZB2Wq8qz7LZtLSxu9abN70oTwJ02iwxO2MjaNGXXBZM0V74L4Lo1eW65VbLXKxMff3spbOrjlxAfl93rir4+o8RguoycZPMnQsiPb0wQbd+f6A3K3/RjgrKDqMZ1nQT1ZMxI1+R/XhAe0aZFffBOky3NN6UOBu7gImabz3iBF7RzOkkyP41iC6Ez578IQ7c8hZOPzdW5ptZBKdcuTcv14bA+tHAXesVZkrSGjCVverXKqZnfFm80F1ycpDiwW55tCDNTgaEGxZKlspvMaesIV5DzsP4nCIyEypg3HBrcPI+3AVxesM9JAUMzq/lg8EPJHHHXDawWxgZq68wzv+7F1WKiKy+qIPjKPDW6SXemHnMbcqhcakLbHE7hBrLofIYR9e93UCP3rtA8Bz24mf1ZPxEV9qNBWGi5EGIpQ/ke1l6A8BOBQPt3lBj61xl2Nd39R1e5gGefuvnOjhfpOkZGhZltXiaAZfbMD3fS01OPJ9Y6Z1Ja7SkR1jiPnJZTBiwzp/DXPJ7L6yB6vsB4vJQIoz3n5KA7d1IE6J+/A+WjCm2CYueiSvh9wqYvRoEh12D6zkwFVsvCkYWjIutRq6FD0nG3kfjvAz4gID4HOikt8uJRKN4nsfQCucYf5rRzu/I6eUcW+czJjm3iC25SjnONTaw2S6bX4Q4QX5xreRsKFMI9U/CsysO6kmkXpPgbWu9K6AcrasqjMQMfJ0cB1jpkj6vTYaWQ+zFlMP4OP3NuuhF/crS+6rVTqBOMbjeUp5r2BE6jEdmfh9byKDjjB7iCYAlRCjY5LyPhzYJNIdJvUmlCRLadVFPw++1JRgPQUklGsEK1Q/sNCAJdZS8vOwg418gvaGjBTEOXHAauuyjwnPgizV380W0Xk52RXd5sL0xrTOf8uS+szHLRFoCv4TI7HvL3sasc+kOApcMDImCGiVq+CoFN3g+dWxHdwd7LcyNSi/w6BUx5XGJDr5hp7/TOC2GSTFp6Sktoi900Gqkt0+e7HIupNrDzJK7BUk+p/9ULoP0uHbQv8HW3v/T3ns1g6JLdLs8tnUxpXDHLiy9sMWYc/fWttq+UTThXj38yVwq2GXxNclcb+v5vihKjaFRxBtdclll7/f8kv5W9xG73ituQGp+zlTN2Q2by0bGq/5IwTLQLBzMGbljS4xezi0BTUzUX++Rd66GWj16U9SlnjKQdGWFuOVNPP/9w8+kLZmL7+n1AmBr3vM+x1z3WNciAM4YQuNKS/G6gVwL9dmryzSxyXdP/syemzwKk0Oxk9AWKLFo6gBjiMN/5pGiEeRfQ84dCb1e+Z7RftuhhUNluN1HtmwtWUZxVY0eSduw8wwyCqkqSorQ+nnHrdBKDqOvZxAlzJukJO3IH8sxPWewR4KjS4z+ZT5IqI7hRxdCPtIPR7wKByv/EtSSfbQtjgW4tyLMXsl7gI6JyJphjw2r+uc6/prfbSu/OFBy9VvP+Wp6S0kbbPJ2LnPiFlvUYln2cSK2z4ZoOED1Q/e7/ZQ/oWCucZCO5iL1iiW7vNe2cL9DREXt2JSOj3DKyGPbNy23+Ed1C7GnuZ4qyBP5qJIFQ0wMEbRCBUkuejR7mpxLnl23B3GmEtWHEWH+HYM4TImxnjTCAaViUxgPcyKcRx8yHV0qnKqNFffRIrXlRc6gp4IfgBX2Gh3reWeqw4TrhHTW5imQkRLKkV1XB4BG/uQ6WoeikV/w9qWcvMsGgHjf9PxUQNeQt08o+uq8tnJDrNBz3J62DmC4JOhREK8XswV8nJ5wp9vhkdLTFpF7IhVoCGC2tF/Gp4PWwsnt+45WB5iGtdCb/fW5qfTju1CESu2JMjAt1hHmZ8CbZUg0Po8PeE99OafKvbtnqrKh8izmzHSM7lSJKLoFP1Ix45Ug1YKs1e4P36kCwmIsZ9lcC69ih2g0BlDzJld9TBByMz4H1UePdcExjh+x5Q2yivNySJp/x80DLRimFeGkqr7TVjctVVirMb+T1Uh/kwwbYVldHVB0CSDUWhMvoP/os6Ep2B5sCnZvIBvcUhOe8fNHBYZ8R4q3RBDgn5609BOvNdlHPJwv85segdoSFOm6OjWxytvvPFGgJb8BqRw6Fdwf4MUh/3E/vTgiJ0SGJc+OtkByrcghlF1jazcOJTwuvh0mSPcVP0/cHYYSiaqc+FyYLDDcKDUPjrOBwUgwqUtmmS+hlxU4/h6hk6Kg9JXlejQlbC6wysyZdQkFk55+5ctcmrd6bFtPNctqcV0Z+p//vwMGpWZB6lwOVUJzYjxrtO+iHcSA+dKpGhemsWO4TIGnpYEckxYvHu0aY6XcMkGSvRN/PrFauyWDGbglEFTnw5q0yY83fQXY2hwpr7+lRbUT6k563ahffYjPuLQ10jKdBNW84hf9qVOcpiteqOceJ3eD7ftegcGyztUT9yew15a7sgoUp96/WyUCg3Hz1KqonhgEGmsqVbQNGea+1eNUX+52cna0lrFW2X4pTjzRVRdAuZDqmSY600Rv5J0u1OnZa5kwQdkIZUfbS8FjlQHx0t7tTp1cSl+an5edlk0QWzEjoB/xBsqpQqA4GeUhB7k6WPKyAnhqNzgYZEihnQAzR7KWks3dldV7Z6MdPKFrLCsdeRtoUr6jXICvDtwEcekFKqBAfJ9ztZq4cZ1nqXNTs72HxhCRx87kzuAgIiNcLsa6hg08xvNeHPkjarAuBSiiwMeKlYODXAesECOLpA0JDcfH1MHoYWj/s7YlffQblZuYuoaRjQaGTu/Fh1jMlkeWW5oJSV80QiupEdE+n80om5wVj3r5vRUkzT8RFAJ0rvjb1zV9Yqzyu9XoMlRypoKteZNyW214jV32I0T7eAY72SvTBGRwND+B7SjPIH2r6dToZfT2wIaFJXZXph9AJ3rnhD/6jp8UlWuXT4bZ7tTX80u6PJXK1IIdICf/jQtob9ksngwTVRMYX9XtiAiDZczUmJYl/FnyCLN14cpRL6WTKUlAKSXEHjVwKMJG8tp2uQ2YHQ38auZ3tiR0bjqlWtm1I0tPBkublT0w+cWgXp+2EzbssOOCTK/3Gv3yPN7xf228OybmjQoOyudYlH85dFH1Klye5kwEX5IuVmWktEVxkZE/D8+MbhtHgPnc4xaXxc6BsYnsWHxbhCoTOxS8asC5oy6AOZja7V749u19XXKkpxLHSWPBXqO+ypSKoyAnaUltXBV9Sg5Dyrs6eNTgiKGbPrWAwb475oP1omBfUKHi1Otizc7nJ90BoUPMDBmCHzdvMNrT9sF+AneTbhCzRAN+f6/svtsBmDH3EXdZg9ellUKLtIT3z9zWaVKfJs5LAvQYCiB0T5nhubDmMPqC2Wws8V5bow2FVd4rbVJbgZiFvricmr+s7Ci3FOW4rMrtHxwmfXwDFNg3nKv2BhNPuBrYK1YrqHXO7KQ5bGCH8R5btF2g1h+6XL6+b7edZJWvcOacjs6zaJaHkKih0tCaUVfThsiHXMy37Ilk7K+HByDznZchbRwFiOLoChlUzLrF7zYc6Oi2IeIkSAofJ6wSwKA723aJT+nIFyJPJXIzctbB2mgrEX0WCY5bXeRVLaUpCoj4BKw+3I6VESOBv4f2lQd+TGZH5QQXIkXqbPHbBYb1+DQvjLnPJkowKbe55qG+BPSxMkNu/FuOagfl0COfvwLE1X8tqUBqWOWcS+KWDld9o1NCXJ8Wr8lpPgLSj338v/Bg6fkJ7ZUwOTrMmANwe4QkxQC0qWwYhQmJAgxPkKsJWpqpEptdEn6m0e7+ymQDebjqwZT8f1ItKT9fdYl/f9QlFJEDZ92fFG3pM2cWHnHtFnNf7WZlUa+VmD/QuQ4e1nIxC0jeb2XqV53EmIjJ9dZQWY3HekHM6jnxhqWD7ToruFx9yR6coG/IXdgpCdlUW5oAEEFqRP0s+oeWhGQv/jsBA9xV8HfadZJaxL48JEvXERh2y7ojOsgiJMU6jwUMdELkB9O10bx7YeAzym7nzdVvWwOD/IG1H8iYHx5k9mMMXH8LiYz/qqvs5z/Frk9BhGNx17VhGsFlyEHnrieze/Xw3jshqi0xmMk1arBMb9f97Ccj9vfLJgLSxk3l1S6XmYIMuIMcdqifYVKNBnpoEQQ6AmXVZVq6l/TwSTIwbPX4jTgjCLUnTkJkM3qR3ZYCQhjmPKgDu8zEyNaJ16VQgCarmGZrr8T//wo9deKnze0fHnU6KSyFCGAtiZ+incAmp2bGXyN/0haa+2Y0dcBYcq3oBrqbGitBvtG1WTepBqDziA7GT1V0LBfXova030eyBM1eWQX7SxlUIrg4hOK4Prtd2zqubyUzKKin2KDj0iXThozpmhdsm4n2H07FKJwovtDAD7/ZDc4N4/7yM3PTXrKwc/2YcAxYcP2IPi77q0J1xsg+eaBuYecBKLOs+jMsayswsl96ncGbo26AiXNRKYyOx5dUpZQq4gQGfwcAIS2nrJz4EDOetnoI9ttT4qHBrRU3nIL/oadfCoxNadw9EyAW6i1W7QkGVGUvcgn268+gBWW/xQ1tYqCoO2Y7QkB199hlxbyvn34wNDK1OwjNWzvCnN0wBlYAZ4zi9ogeCU9k2QW3MQWfc/1i1t/tjkgA+mVBJQin6Y8PLbuHiWFOLpesOHEg0as+3/b4LKDZRIqZLwbsSV+ftLTfoR/gmgmgJ0b9ro5gG+sQNdBVi91AcQFjCMCnTd8bX8ZBR4PlleAGbzK2R1ktY+YFcshK3Yn5yqN1tRpWdF+fcxfo1dindHTkWTVIQksUdK/kAerOodbqk9IT0OM3jprrRbgGSYUVXbpVADiYyoCcPhx/K47EapaOP7qQs76/HmJfE3bXFthvjLxvgKkLLk43tHb8rQ8zIEbgAPN419QQIbNO/gIMhVCl0cqv6lBg4HCIREuafPmcFHkjkdFq7hv31gKM5wB+zLPAHJaU4adiZ3rfpnfUEFmspPtKRFLE6AkdOLJDaQAES1ygD9nx2d/sdBWYEbfA7Dfty5nIlxEVRscejAt4z6l8grx3cKIEDdxbjZqirIv2/YMBEFcDhPKypr0tOlqzlRkOhV2dOY+1Xw88ALxu+9UaZWShfMg54gSTgty9Av+ylI17bw9GCcAdOD71iHUVAxEgnsegXsnZsSus52H+SRcpxXdtkVcuoSZYgz5HXtakzykpesSFI8N5381DGb2u12DatsE9D50dSbW110A2dslbqRyf33otwbF6rEJ0zgqWoW14/wS6QdaQ3SZmIs6naabcKtHlXNSHEcKNgitBSZpYj5mMH/E5WaT8g55Grw50cM/BNsZgEpvb32wP0Jc2vH3trxbOzeryRLzhIE+zyqj1KKu488J8GUeMjhhc2Ci7LEKsBH+lXTSATyuPKwXovRhUsZ2IMdF3pYAad2rxHumqM6D/0y92pESscEth/+mwU5Cz7riNzpd2KNZD90gonlECFzUh2cV7Ki/alCK1rPj56Tckr2YCoZb2SKKdwdVqBeW2s1w+SnSNEveifSU2z52NtrYlBgGLfJ1DWRLuwILCvLX6EEqR+kypDXnRs3FgN/slZo0Yrf4NPxXwhCoRzymSbOgFTJsRcsDQozOfJ+HgLCA7e9OiYdhIWxD7K4h8JRDdGk2em6xN1tWHmWJVxXA1cbCc7BluGT3yQDq0gXlajG7VS+GUdd+fUWnvfFbL1MsOh8awMt8EwE5sSsOtQVtYvEUERlm/PjHSvp0xg1lGjJtO96ig+vTcUbTy4EiG5F4ws03JZoMVgmn2di3GBGa1p/QqDSFE33wS5R8vLYSntNn8B19Via69r1R6LErfWGni/ylV/xHlIKdM0l6oWb7h9n1LFG+C3RFbB7MjGwc+2psq3DbURkECwcjiyLQet1EiHWEXvpyzXrYlaH4CpouGI8LdRPBXpFoG3CwlejoNa6+CZT110GlJ7iyUhwgutGDw5uoe7epE9oD1nALOGFrhoQM0BGIGcvtzU9+P0ujr8VmTcSjWO6EizwcDQpExLYX0K01Ia7pL0Rnpnq/o3Ano3a2fdpAIsJPtXeilhiLy4ICFE5/JpwAUZV4F8Lr0ZoJfnA3go9Xi54ik2X9N9x0b4VtTPqsKgYQvLUZuzA+gICzyLtdgdhNnDCVK/Qs/ITkhrda+mS8E65Knl0gnt0yrWPWAuTmEV+woim/uEIGfJ40n6Yww0cHWD0w0XWjj/oAU8J3weNwU9A9DPHKDrjRTVu0XcMjrBwq3TVxZtq4NHdnc9UUWZqTrWkjkJ2AjHvXrqOPZZ0WqCkKr3im4WItvN2HT80DYGeRI+Fm/4FUDSLwFWJWUF7nGEsfCJkx6zYl+0GUzaPDBiWSqc2seFqqDsl06mwbwO6MxnRyGYJz/FAlENV5ae3qegfdB32OdBmyauWI39rzJsnWyMuRv2vqJceJuqmtRTx3i1k1HwS0U2FvGa/hbPoa4La/774fGvlVkiKBuH4NKUYSiJ+y3UxFwDwlPIYBAXE7QhIR9ZQqwnIBh6Ia8SA/XsrT6kVQ8UkPHdOIwYJv7Rv9SbiKxevX7nrroQcYeb/sKBWC4zPHrFvzNCD7opdQI4AWB1Ru4wIC+s7lpNvH4Zx7e6NxYDcsiWQg1WWyGSZCMDxe3sHhelZufxCX8TvHd4lo6MS6u7VwX1r4za1T4tjFgI3A9PAYQWAzU5NPhasCq9SogiD5w1JfjDEtQvb0UaCrFQ65nZXVVdYh6nnwrUQjpsnODVlwMqBiONAjWSbTVBM1u0Dyb5EtHUvgXBSKGgncGc2W4Wzqv1tlk2FM+Iqj0oKBzSmrI0MHsPN+Q8G2DsL/86V1qtLrRgvp1ikWsuqbKOCXOAcW2a5TVD7TWRSl3oj2M7dJnQ3XDyFnKgV8fhJbK/q3/DE+3dOvGglyj1nDL2PONG/ouaxvg7ynTtLknFtBg0PIld3lMZeXc96EQyVZjKyEdtnwmQXs3EsrxZSFLtmj1gbQ60vEdYnObouS9AZ+GJ2O5FuWBMNpTgQXpiuidzH2VMv83ddDaR/0WlDU75R19ZMVBX4FxKMAAvRm2BC/D209Nm+qTZFVH53IehpxcbPGaZ07NjJb4E5hTU7gDThisp37pte424Gffc6RARvjFNxsfroGpozpvv9t+QlkLQ1DisRpS1VRNPIePPy7AlY0SoLgfHZIkpAMU5wl0Nglrca5XxqFFNeaBthYYeaHt3AMxP1kIiL0zIyCK3vHCusNJqLrp80k7k6CrsIdr8hGr47Zo7+bPp4/Mfy9/kUWrpybN02dFmueSjzaqDC9a86hR5OcE9rI/PJmtPQjCzS60XBPRBc8r8esYeLWROAmp9NbRXHDa7WGh47tQCw9vHplJbt3DBmKgs1HIVXt9mCB30COre7kjZKdxRYf8R+JV773tM0tMMzAFpAOoC0R3MMP/sc4ZDx5XYBa2fai67ajoaiwx75GfxsICmrNaMQYnZ417qYu+QTGLn6d/9PPXlry+X7i/l4iguM/G8koRj3U6gOuVFNmcrcXbd9LijRYgS47ErfstChU3JGyiX+RL7AJdvntV7MbVlzTMNwPY/gIrkLIoEQ6Mr+KQujncsSS9kdaMf7ao2tU0WVlbKWlgs6NQBxRT6p9yBmlPFMm5aQWua4AvBZj7XW5f4baTSMtoRC+nS9vIvX97zp8I8kI+SxHHWurH+d7rNIGyVZnC5RBAR/AsPS4cNHiVKoLsgyw/82gyV8CY6R4klMR2pYPr78iylCQvuk+aEl0ow4v1vegGX0pYV3Pzu8+1KzX3M+bA9zOIpdkdN0DkRM9ekoK9t1w4JN6bWr5d1W6SlRe+9Y4d2zHqtM3JwBbA8OVQtpldaa9deHU3ZN9zNgcOF/123mwZigIrGqIDMCGZQdERzriYXFJnxOqgoe01AOgn0DMX/8NKFQX9Tq3lApAy6kWOrq4bbfTeXOc4K01pFT7fVO85geqjmAO/XPsviFpxepxtq/BMJCEH5EpuLS6CXYWoIlxi9KJx+1K54QemKEebUS7HdcHLmMmSs+mgUMHyfWx7NwCTAYOzr0u3Ty1zV7aTpTKZYj22mcKhNLDrTUespFGXdD4e9xQc9vzEqsstJNwyjwI4Qzs9f0dt9522T3in4qqxN0V05D8qZwN+WUHU9jnk/pjv2yN7kiLfk76nxFWJLArCaC33HR90tinLheybLk3IKUPyk9F2xK4u3bP1QI1DoX6j0FrgGktn1Mwv6mR5CZEaD4T9RGzy2x3ytJ7rvXLVYPWWDDlsJuaHj/pBSeSV63AmkxmWczxv6Lcx19ken3ZxTD3S7Gc5BJGBcePxsO+1wzUQheQpl5xOQjvlnWUHrWj/Q4ZqYd89gB1gaCjdNt22KpUp31iu1RN3XR3f1WxhYiJDiC2cZbVF1ZTiIJgsfUea81gPA75rOoUTfkaoVhVcwPgnK+2xqe0ze+ZAl7KybSzorc/TDehjRQ1MM5Xc1jA3Ck4yPySlvgTWcLK7b8ei/+r6zPibPxnN9Ij5I3lM4tJ2CsLMVYewhbOGmBs5nQqgA5IlpUZw6yFKVCoQrYb+I0VaAt6mNwynNk1stmTYhj6kuLmCRSP8Hyp1tVwNtCySFxrdRvVjxtSkHOm4fj1k5hNKM7+14JLvBPl6uMIJOuiwxSlMAh0ycH/Cq+8gnVvlrFmiZIRCD5Jl6lc/O94ntcd1eNIrX2ADl6S+SpSEVGan20BPEzIFO3aZiw3qwbfD5j77SRLOB5tG1d/WQUjL5G+GJZcH1ahfZd/A22hEvC1Gq6CKbwCqLfKVn3VojGuvjl66UmyUlWM1qm47uj/TGl4V027B85LvE91kIip3KPJhh4QOHyb17HXt//s7vVi00EhOaQorXbWduEPi143d6yqNWbpTZ127hReHa8b4fTJhRn/2ZArvRx1ngEfGbPpuCiY+lY3lEBRn9cjZnOAh1j7ITVevxSX0zYjqj0eLnnJLq5xrrOJrQ/cLsX2S+y/+Vfkqoofx4DVrsRH367LO/wmTypQHHY9O/PhHw8bXTmc6l97pEMisn4LOo7R9/li5W7ukOiDX5EzRYSjlFok8dG0HYe1wSVv/AXw85iwJtfon0XxDczs1MatQbxa0Wv5LI7/DNT+I9w5p07SOtQJhRYy7+N3hAAtMbNGWFuX1CssLJGEH82o0BKZ0LcSsBJaLgEBIVjRKD98YEeBYQaimkbtEnccpgbvnG1DDrmSgayCsqQJ5/fJia7nm8hc3l78YzkIn2l8Vtbi8nz5fLS+R62rwj5fUo+EngBB3HOMuEcElwiYacbuOVnl3tztTKTsBS5ZNf/4J1fRTMSTUzXa/RkZPAL9Zts5rZqSyjtZ2pZOp+eo+MnjrNe/dpV0h36qwrs4SMQTlK7K/RAj7o9AUoi29tYNv4esD7H55/DHsI2yEwr523kIKs8Js5ye56hgZXP6x7D3OCOo9iKH6UZ3lMyYTLF7URWP7o7hHPJX6Ima3nNunwUUpWIJuwdOWn03GJ0Wasf3Nf6is1FUUputrA1zXNGO0EIyLLo6+gZxckEjrF1yfuynJvdiyDwB2qCSpsjd2k4ObVIfCcDqKICxaje5HZ+e0s5WKlzbdTPMVVZd9NQtNVBIf7+F7cPZq5ErJJVzH7tRxsM7f2mGeUSAoe2TTqv807Q3U5IfIakwxgnb3ocvFQSSAHe4fwi9O4d8kzsaVtLk/pz11HMoOi9Uz7slOArKlypr95YNUj7NEVflbdJvoWgM4eCkYUjZuvpsgkls05hNTQ0M6SAjhb0DDOz682hDtLf3qaJs6zQsM7aFLne/d0ytL+ZbOOvtZSAm91jSaU37bLSfF+Ea/IM7cONvi9GBB8wCPSW1JTJ4CqyBT7D5+tghda7pdbsjzu2oSiY2qSA7J7FQQgyqGeij/OmRyxvJhogGri0MZpIpVc/TpoU0mnAOCYetpYMWdXArVK1AR3Sgrs1V2JI7JCqGq/0eRABanWbXmynAN1aP90Kb4UQq5DUM03YfoYz4l3e2Hk8Gx3oBfaN45vRbmqiyJKk9B9cctLifNhGXdMaNKo7JBEcmyygZ94nUfdxAEDKsZiZHvBG0z52MCMmISH6YvX/jLhqas1uPGaiVDaWqWrmKYC8llbHgUPVEJYJQEWHHOzvp9MPIHv6iaj2V7CswrPgD8w6edfKoD6OA/k9MlTZvUZtst5KmcAXVF/Q+LhrIjiKChXY6J+4cUaAWQCuOGTc3ELlefFfjOnYbov3fUHWXQYTysgEj169y9D6zwZlQViw8FDMLj19yx6bS3cPGfaYVz6YKiJGatXflwttBINE3RFHb6U/cW5tqGfpHQM3Oa8qn9C/HKTfHeLanZKvMMfPY7CKk9SfgDuUXojHdixcs3FCjoMsYfmhOFlP4S7fmhdnB8UaTvMt5v2HDmcq31lSxE+PJzDI3f/J4Y6e/gnGnAf14JC+MITVrJpLFEnuDogmNYtqLCW5I8PFeGFVzkb3CjHHF1pzxfMO9BtWeaXboxem+MH6scKrpAc1BEgit9WDJIvlwurPXrxaL7Q+jkhcrNveprjq93nZRIKr9z23zkKXf26UeItL67+SWtnuVngxIcH5VJc38CrgzrkYoM2SF3pcgQDCIJ/X6Ys5MKEwuQtxw5d7L3hXMmUePK74DtlUOWGbAoyTxONG+mBI8Xq3QS8vW47FIlPAxp75Lc1VLw4DyGmzgi8/xorkdExwHzgpTfz4+TrPj1oiJX41GXjop3LndTHVEGeHhAqXRSgVDXlv6yIn5CCn6EHHSj5ez3yuxGrv9K1z2YrCQX0Ejst1J+WTBZCjVrDmhjUZfUywPr1pvAOdMvPvDAdR+2oIFtB+pk+exbHGAcjKJGjE6B4kzNOsETsUNnwxuaM2KjWVCObMTvf6QzLL/Xa7n9kV6EO2ier/ZCMoggBYuGtwKiGEYdsiFAULyoy27eah8QoBo0595c0iNxr9Fc4lq/omBSYYvclBhEsSgVWmc+SEk03v4QVld3Z74jj0VXvie/bHZ1/BLUV7LZU4S9Jz/jslu6rhDcRyXtKRwI/ZEH45By6OP8iY1kKpVEk3DZiE5nkZIdRjdRU6AXpqjAAqvc1E6beb93Fi4Jw9OwCjS/KFE4TxB/yAZN9f2sA4eYG82ZUwXXmT7XF/M8V4Cw3SHYkyYUMGbgGbOTpvgqEF7C4b8usuGGeSBNLd4DM52umwVMj92otKabWNMcE8pGmy7YhUehhDnLsSs1DxDDf7G0yJCHIMrFW8qQVFc3/TzCgFGX19oP2WMbF+hZsqicX5hEL5h/GP8Xtew+KFg6jo+/M8bmoAVwH8uo/tcyHS2Y4vi7Vuqt+HTl0aC/BCY1aV/ffh5OgU40b0Vrj6XSip8OdaqJIVT+2PjqL54taOcRH2sWueQWIDJPSwGRb6IPvm8txwUr36e4gIDZ2lG7ac2UHLnoOBlTjmu0G766IoSGbHxQIx+ouAV8nTb3q0TEAI3xmSFg9KkHqosPdVlQ9sBilXv6SEY5903IoZ1hb7HpRiNsQ/KlDUp34Be5bDVBX6/lPqL0HyoYvyyuvRMFT75tjKs0zjNipDMflRsQHF9gRKtqANO4opQ6N6xoYbgeoQ87Gho0sE1TtTG9FgJdbL7rMJza/SuQ33fJX/8m6VbrO/ogmy1ivnJYqrBm6LBFqk0hKrLdEpGxjO6SvNBXvOHnrqo/nATCt08KUueLYJfyCFLkK2qPCHL1QXjxv30UrGScerAr/F+ylhXtSuyT1xn4NXcggUjuEfJty8pGvZ1OSfmytUBgY2gmzH9SJIar9P8kcIUKUQKWsg9lmLr4+w3uKyZ1yKWqOVrNK1Y1ucteGV8JvAgegH1rFfPswe1+22+ubKL3Gg8jmoclMpgMEuyBsEtXEUILUJ0tATdB4TB6i+JRH2pwIYdbNC9nJWp8LTjpSFfWPXaJNIf0t4/m5LGOv6ypKb7pYS07OE4JcC0abrI7EbDJCxV3LqQRu+oaQWXdNA+zXy0x4A5xTxIuhRh4U/OmNwVgvmZBMhWl6wDf4CO45fGRfkAeLuwvYh+1RS5gRcCsykwQT4woM2gf6u3B2kDktR2zArWdUwFBOWhxp4PnLdKP/NpPVGGKoxButQThE8JwAl9VuFsiSE/a0W5YEJwKeBNMmnziypmh2MBMLg/E/z+xtKhn+uD2t2TcWV6Q3fv3qO2mTAdSOvW670lZqC4KHQC6RGui81JhNqs+w7cfjl6Fj1tTwONozDjjz2/JrT5W+v4iukbYgFQlvSBWj/XZDhrQUsBBAp6/sV9lhS5MjXPPq5x2E/C4P2TmRcPgxXJXpasW05gp5k/l5+72venFO72tC076otTMYcVcSxi66u3UolJGEGvNYu09dtOGt+BqhCpZr8yymC4KiyO1G0Xjrdth67//Koui0aqVv3hAQcLJK22SY2RPd8d61jYsWb146QveBiYkiTNaK8C+39wsUBYLszAB1g1mUAJq6NLa75GWtu1jFS4U5eYn8mkjZcp5I+4mEK4HexJqluHkGK9c6iiXAwNKNTa1YcVj6ODH0UEfWwtdrNo7un/CU1zOP1cFQH+7+AmsravXOpSuEBhNK+bPY8gfOB1PZuNv7SAiZS+YNNV0nJwrXNks7XP6o1npimrgk0JUWbRi6VF8KZi/m2+JE+DquyQoASsQ7KU6Y028Kk3xey5mrB9vjFsggPeHomhF5Stj2neeRc3UDbJRWr9TyrCqM6EIS5RW+1eyPdKuFePIrwzQAU6kORia6EJe7c4M9G+fIzRxsKK6iVVYJpXSVwV0pCzKEb4pATBarV9P+gDvH4w8nAJOy3JN+YaS5Ib2ZKTrZXkC8U3gcNeEIqXvSmf4ldybZj3sVvhrJJXZ5hkGXxcHwRJS82tKpJwVRqCj+CF/7dg4U1lrpKkkpapf5LZLndDVOZ0PotPYoY5L7Qfm6CK+61NO3kn9/lSsuHTT4wLHrRvRdlzqI+ip2KeYA7fYWAa3SCaI59OeGMGjjg7b8J8oPwYhRFh15GDZa2yvm3/VhoJYplYHi/jPcPujGEZqAcMu2JGLVCkd7X5eced1JxgN/XP25aqj1k11eLchuSCGMM4rAO8Xtm6ds5lYjw21zP/5LtJ7XmNWFEQMIVba5BwSR27LMjT2eDCeLeW5M5Tb281UcMoc/brFNoiJ+eBMc/PZrFplxKMxz/1oVyuzl64zAY/LKTbVyOVrOtZDeWJB+p9aEVQhwwqgL4gRBkE9vw44GoIxOjE6a5h3m+LlAjPenlzxASe16EG5uCfnG1yEDzRBIpYfqzqIYrGdbAmcYdwgZggjPzbnAq4gijVtjpZxpVA2mWqo/4qE5/u8OD+uvrL/Wu2sbhvt0e3U0mAd2ZGKLYf7VwD8irqDlZ36zoPWZOYEW6KCJ1gl0fbOwMZ+vxMF27dpkJt7SCb8X4DXOVmlZmdCctLAtxny5xEx+eJ69CPL7MuLaY4GDgYpO33EihZX/0vcL9vwMNHmmPuMqM8oIDrazcYW+ppDv2Ai+cH0gRV4SbvhoQG9qMy06sqnP0znNRgZ1C/RJboKnkvefHRTdxjLNGK87Z3IyosSi5oLiY2i+eH8c77voP7vpYPmVexWAeYGCiJckVt0FPjJJj9oOzvXCbfm8dGWZ6QiayccEdpbdTSE32RRwQPJxMALQgm1Bm/DQMkdjFRZ0w3Ipl/TrB67lpEfmpKhiwDKofYb5EZp4jB6arQ4CbxzJN2Z4ZCOLTEMK6LC+NllRt7JoYhL4ySeeTZJhbtzgfkeCcjNsFp+vaQQ5+FMvZFuuALJCs9EjswXO342SqGdtFhvcmM8dtdU+dov7R6yFYmdZuc4HueghWd9NL4aPR82ok1ncdDMoNq/HsNVByw237Bbo2ruXhY/097Y/RoH2TzkwG44DWwiAusdcKthBycGz6/NEG9oFYJk5YVA8HYHPflbaq3aanlXbLC+QUiwQEtFHMdOo1ygzvN1O1XVvoUbCAYcckVcPUPJ0XDa5o3uDGF55U4CjdXGCY9WmdkMXiXnYutEW6c275uALO7TBzo5VbGPL16oo6fkE48Gk924ZCFWbzQt0TKRooBEqHGXc/g2YRBuRTlV7jvgi4xDDrdijEDl6ZJtsGY7gqqgtC2oYTBIfYXdTRIZjleaMAWzofT83/Uw76KYuFqefXM4QBWghS1UHkJ5/KH5q5DrSDp6mtRRSBhyPvLeLlOAGCyA3v8mn5VvIKBnHLd3ngwic6A1nxddRvGH0IvT5hmS9S1p3WD6TM/2By20t/+B9oAL/ObMJimz3qRQjVzAdWspgPwhtWWb8cKo8Bx/CXR+e5MLmnH9ea2vC6Currz81wJ37+WlhNNlkLkO5PclpqXz87GWA3erJrV4tCFkpqWpWfFVEoZ/Swk30vVzdfNw76Zs4C87rweZsgoI0EeF5RqT5VWlxB//9dQNk8gIA17gMh2FSnkDB9hhGayDTaToxowGVhzThM+Q7lYCToxJ4NyIyvrokelm2gc5H6vrd2S2IJNRQG/gPJ9OkU9/YNk4wtFv+DGujPEi2UnbhEpBC4H03bX98U2wXHeUZEdCv/3fA5nOGAgmw942MB7xCuVbr4S/QZABJWLNAk8s9E5eBXXloU7J1BSiL4NpSpSjgWJnRvKZ+Z9p8+T3teKltuE4U6n+BENE3j1zFZQonBM+Lk/7lNJD56KmsMhCwEuu0hxeJ+Luf/tI0SF1MLQA2VadAL8MtW8IVdNGtFIaXXPa66YqVlWOfDFrDVZVt6TJs2kSyyFF6oYQ7SrKiZQSZxy/RJ6c5j7Gy5UoWrTpDfMBooM/FBbIghzB4N0NKbBvhWhW7VjJyVCR7JVKcWbiEtfRjcDJSkA4tJmHy/t3rK13jl0dTQfgBvgPzlTnViWiuhACZczsXlOvOEqXqPHhwrGOaqyPrL7NKnBc2ALMwB9IauKWeX6gfpEDWOXdlRpeYs9j+V5fmEx1r406a5r6WvOVfYOfyur8ZLtpoPxEWPYJPudrMhvqKM4qOgEQz54fQsQzsurG5pSS20EjifX9MmoDI+GZwJYKwibAWvaIy3QjAsuQPpnGze1Z9cD2kdFXYKsIXd5jhzKfkoJ9HykbVVx4LT0aqqYCIdWZR60CoKwh8KaLheDN0aXrodZu07hPchW8bc7tASg7TycyYioHIN4hvEZdGx92UEEJVIotPbwRX1RDoAiwcTkT1LThAJNHZq5OGUDT/8EVN869FEBqbX/dLiEpmyRpogM4EEno6qDgHpLnFvLwqNKukICsknds5MdrkuicNQ7gyiPGaJu06MWpeegA84ISDNvq/dxdI3lOxD76w8QJHzBWJpWZgAj3A+m2xNrotSMzsbpsCA0iK7N+0+9Bqk4GM7gZV4WPOBkYAGMsmFwX9qKfIZldO4SfZLJ+cHUzXsgUpk1PxwiBL/sVxfpZ8NPEh/NPcr9SNwYjyjeIL9qOdnPbNI5UmpbDBdPh7ySEG81EuxWm4huwfldaDcuY2AzzoXinSyktZSdKd3zS9y+SiYuVRYYSPSyP/bXMxwAa3REMbouD4z4jB6l0px6B/sVuJvy8uKDpwJmTtG1h2TY21aeOrtGvvPGi72pT+Y+MSrnyv/G27Zx8ipU7TGxKG3IZteTuGF9KILzKfwnKB3BdYLBexdUbcYcgHbVRLyOvTAwuQ+Bv7GwnSfOFI35IqsltEs7joUvQLwhF+OUeOLD+tHJ285pkqWFPnYwCq5qqWWTVtMUn/oZvrn+7tmIV4g2UiVu4wUWw28/Y49XoKV0gZcGtP9gNjXlvsytmc6x70YanNZ3kBR2h7FotUMnkCc/hP7b9zXO4BLLo8o3J5W6VOUg2/PlSVwSmHJH3dX8R2ZU8dovD0jJ9C4njmje8yp4IMq3tDUcIIJYshp/EDirlbEtKk/3gXMY4ZXlcy9KBuvAcexiWFbvfqjMastdLQKjU1BvqAay13nNheoFO5c5Iav9i2LEjewtIULwp8QCfXWAJUuYXaO0T8wdoAm0gfFxwUL8uhqcpeN9H0gCfop+FUPPE25jwyc5cA22Tj/MbEGVaJilCkfJr21HmirMuTnugBATE025h0TxgYI/IXmfv++FORpcYFAcSgHYpIKk12qkDLX4SH+jp57HwcSSUDSjj25LObF7QpdEDDB4a8Ghsvk8Q8n8LiQ2f1/tklQJytOMfsrA2j1N4uigwFt64K8vbjnRm9AkpHmCXhhgzxpdUTZ65MPTMbAbmwlacNRk2gYs3CbhJuyZDMjM/P+abjRGzewIoHyDtQRKFNCDan47zIYAIftUMHh6O5WuyoWDmSdSvhZmzzlGzoKAeMrwxPqDAgu3TvUyZC5t6AMYupAd8KKyYYo17D42ecMcKiFt/vJnwDzgNDyW7ExLM4ojKReTxf0p0MK6hctdyqMyeVNzQp95ptK6/NVlEZzDo2jU+vb/47p1bjL0gtzzVDnbBzD3QT7btZL99jrIsUsCTunFrCremrm7BeOx/mTPH+0gi+LCMeqFTgr7O/adshTeAqm6rdUpUE97Sb3/ZiEddizeOK1g2LDWrgLyH3HqWLp195HLvM0jnj1hUBOMpau30sOUHWoeVMdDG37bGsqamy9qtknspM73K61vKF9wu2WjMjkAixc091ZNIRpNI2tZAX25PJuBimakit34RnVhxP0rjj+2vwBGzrFoP4J+TO1r6ciVml9E3KL3YMFrM3ssoBju70MHljIIZSGbuhCjW5wrmH7tTRTl/xPesYkI6QS1CEF6wDLimZ/bmrAppUNLyyQ1g7P2ZQxiidEoYjKRSfoBX37XQyXhmGU8K87GbLNDtQ4siO4ufuf7vj+eV+aR3P7DHIMO6qSrQ+zvpBduDsPmSC43CrHdbhJSqly9576SxOFPeka7fKLtd5mznA96+gkhBGWINznlbTvRCaGCIrGHgnT3ozEPNrF6UsFrZ7qwwO4w1btnyr6myRE013XqWMom9BHyhkxcAmgvyHC7riPELUfPyEKk8T5MFyxEiQyYksKkAYWFTlGDJgQSgdLzsLni3/KITGWtueVT5sm5CBU2zr2URnCfeuOSPSOBMCeJpwiCKBpxL/mi17ya8CYQleBO6X/ZZP8fcX6nUbzrI7w2G3PLsi69ZaMCUJv/irxmpUTDeZ6xbJ/TiYZrWsvY7E7Si7RMMw0L0SwRgAVuUq2BNjd+ZfOLkH/eZkMxCqYU+5duecNbUSKwEi4lLDdQuHWnwtNzK2KmXCKpHKcRTS+qY6K8Hq/uI0I03qpgvQkzOhG/ujlujHkj76by/hAKtUTZAd1sOBIQ4xwYSNWUS/dymZ6NQBe1JS7QZy7JhV5fLdLcG3o9+DAxY5GUq8JosqKek8859MxIf0di8rPgacsMZXm8mg6ARsnxA8qdo3zn2OTrMiiwETThjA+P9Ft0cWReOukJwqmcMslPlg10X0IyfDwPqTFD9pU7nIyh2ehyeipPsqDKtTLUlMrvRCrbTUnn78Z4yJ4k30RgL5vuZoQboWiFzhpm2O47S8SlRhdrPBCh78B1/nzIMhoLF4Drmp/wqbycQ7FKOfRczJUSetrvIO5o6uxMhbbRZqWeRoZwI9TEf7ddmwIGzrJJi546ZvZyir/y2ABo4OW38yvBeIqTtqtNaL7r5vqtWIWV+SG7LXdkR7jKrGum0HDQTAAbNcc2OhArq3f2CCyaNxThJyhMDJzgwm+h/1T6FtlxHk3ylq8bqmI66HN60zjtewBD1vDUJRoP+WgfaL9EZ7q7udzA6y9CWVM1xUKGOIF+NPg7yJHe+jZfT2RaHtZWQlr7V8dIiOKEhjI/kQn6KsqPMW5WP91L3AwuVqPhWk5Uf7iSlrBUKtLBvC4ojddtqdpgbaOeSdpyCBg3WIj1lpQDwsgOcoDJl1UVWzgM8iqSG3c9fxZEI9BVyFuptV3S8n4E7eY5c3/6LSHzb0x+lGEyEc1de0K70QWI/x6Z0I1B+8dUVaaM96WdnIBIJodMfqvFDX8X7Ue0JMxYGcaq7ZGH9Wc9OK2vCJqbkWELur+kAvrej2dJOJXDhnelLg3EVIf498b9NEZJ5NuoyLtxPYqHT+QZbXHV79SFTML5NubgYlpAdtRveGAqnKs+vJo+jwaz8epcEwL0bwoJOS9YBWIstSh4klYhLQsasvOUNJxfFwkQY1oUp3GGAvwNrhWzyuGiv+GS0whUuzSL/di0t4RJn+0WV5j+WrTAnnT28btpw8xWkRce+Mwprdt2JmajlKP1ftXJcPBPfubpFnIi2mBsD9lP47GGAGVQD8JQimbTsXNGPQvKqMHtsXBuoltNRxDs5Qke6yslJfHgej7cpfug6+RCtdEQe7utshe2BSgpwZDmNI8CHuy1fEosIkhOkiUqhFH9l+NJUprYytwc/WAG/rcgHQjMDjWoW5zFPhKVN2+GSsNjIIbCgARKqANwLlR8WjGizQDAHGBwOX0QlBixVWwrJH5lpxHwJFBEec6PkQgCQ/ExMtIul7lTMkbt6YiKMLpj67rg3iQog46lp7jKpE4xtyenxnrMtSROj4C39ymfQfdHiblRDLtYPBmRerDPotWrdEYWmZUozeb5189gwWx3SqcgHSkNIpCXPy6aFdz1sGzCHik+6ruOC8JwFOJqDMVtRVsBHB19UDPB1aXPmUVjtRbGqpHc76KolXkYtPjR1pfJFDDJkEX+QwowFdJoQ780/3dJpEC8Fdu6y9269SEkjhF9PdZIihpUcuXUnzz9FpD4vPy7OsuMZfaBWkdLnJHlipFc4fcbxXJ+71RbZ3ZAQNuBNMbicVAk3Rt4I7Rlglbn/M9AGIbJqiWLOlQNVu0pNRtIe/6L7j6aCsz+YTi8ZXa/NuKXRXeyd+V+Wy3mcGK4hku6khmj59GVnswJsV2z0t22IIjQxOwHrfQcOPL+3ZKDgjleq8RKWqrOTea3TsUl1kX1ePpYnnGym0DH7vLktlCg47A9iipzX7LJtcU7Ku8RW9n3ONOXidotLzblzMquQQK6OTMRUiK3A7ogXTW1qr6ZcE71c8hVOLX9EP9gKQjFYs9YY/bjs+7kG7YGNK3syvT9mZcvxHpPXokTYVQjWNco/pQ+UxFrs87GGDk87D+FKtnX8f4wbRwyxdDOG77J82/pM/IJuLEFdWu2bxV/ilZ7usQe9bNa8mIqBLKCdaHRHnEE/ewowpuZdSDqQfphQqq8e38jrO40CNS+u93BCLFFOXX7W5e0OufGrNKFK1JTkMb5B+1DloRCo39r2ProzD8qY80XOudfaC/4hxE0Ty31cQGJdZoEfbxQZkmUw7lkCzjdkSwdAUey9pYbJXrlyQzikHE2c2hAD9i+pXRMmeVRzjddyfstA/Vddx7CV6SoWRFlRq4jXdQ7aaMmucrQPknudyPix9sM2/BkDT3QDTTurxpJe9lw/HpjntYX5NhkcwZMKa2L7dCxzHaK3fC0QTPok2jZzrCDywojbsZKXOO52K7ZgnIV/qsBujOWgLj2s8iXzIZEF7UeJpTGa1UTbxvS4MygtByOwjkZ2Vp0m3JO+KZjXTdjGP0aVSxphsXwZAtcgjWNUuzZN406jX9lLdEvIcH7Npvc6kqIiAQzpTxYTSvUjUUSYHAGcVkWAvgOIMA61ODouaokzplA1pXN0f9Rk5i9SSxj9L6b7/8gnX78C+oZdBbDq53IyeolDE+I68quzXpXclfmXyWjwiQBIK5WIZ95aKyZ2XpVDmMpaY/bAKEnBAM1Absxe2FmZ9lb8IuD7WBBassqC9HGob6qo1rzmzUfvayTmf6r3V+j24TuSWI5K51kYzEEvr2ad+bhmG2T4/dQSbV+wT6PANXZzkUuzRLToEbdvgbJAciCDZIOWq6y+JQlwP+482ale0Xxca6GlPb/re6nh5y9PJGA9NokvZ0k3+6DBYaHcjDdgZl6JRjjnH2UhfUdw/bk7hP6UVmrEyYQP67X74O07a290vGzZroGfHHHKdaQ0yWSxnEJ0yxlo/oREET/ZCBt31U/fpbJsoBV4J1IficJIcftSTDvf+6dh9yL0WOpXoWT0gASCafhXSLxUiXAQDJd7cptWSKnUDWeLpwFLFdCvt9248CMqHzEhaCTeCryFX9COqJKzzyZANhI67+szj0v+aOW5QetumizZbM0WrllPhOHnFpYDJIWZjrqJBaPS5P6u6sgAyuwcV0FgZQmzbv65wej1dBVNg2GTkrtZsjZ+/gV5ii0CoHg0H+GB9F97TOqCRFE78CZ8w95FFtEDoptdzbEXPFpzL26zLJUeSnOAIy3z2rirWfuu4YHlEtAi/1EZC6b48mMO9XWNdmMSU55lylKtCaTB+8YQOqN4KqlfrQAObEOHOGgytrD7nXu7qu6MqdbBjq9fuB7jaVGKEHmVim1p2lquiGfB/pgncBgwFOMe/ABUcySq3B/V3slAMjL3u1v/Jj9J8suk3xLZD3asG8U6okB7az/DFg7vg+ZvdPXRBA2OvswVOzAjMC+dmyFhyUyhqJ1Q3nE+kyMJyYLp1xwkJN648bHTM4d9ZMVoNQscGjEs6j3Z2euNopByVq3VeAHcOe017r1Vv4qzReHPWQubJEyj0XsQqM1SQR3q34pyQODn56l0Iw7UYtK/HOSROEyYB7KSgvBTxh8+FtQYlOXquSJRvbaCOT1lpYkyZTdGnjOV3/VjzWqzMTGM5S5kP82dTXPFrnlStm9DOIEqeixS7hU9lEbQr27/ycJw/R77Gjzry6hv+hxgwLeE0F3k66i9txseME5mSav94O6Vp0rfqfwivHXp7tmWxqQwcmyc0JjOmKq/lyLc5A9MXdKCx04MVoMgGN8hUUK4NcV+fOtO2NIp/mzo0Luyu2T2nkOkx2KF+3zGdSIg1jxUJjzyUSyJ03103l8s8pS3+jAH32ttbWxrCdcG7CGx3yyKsyCBCwL9ktIU9iMsHAM2lonHGBUSsWfTK4LpIMVZgdgC+XS9pBfmsOyXOeEBcrFR9DzWi9JrT5NQRrfD7aJj+e22QqPZ/A6rMQg8WS8GqomsZ6KWHUODxas3x6t3cWhDeabUrq4eXpZB3wdeP8PAregcx1dgkXWTai321Oi7s6+cT8jQNj8xF2aPU4X1XcAAEeK+MrtiRtj0HTifnIdcJoQ/l+kx9ywGdFooFqqhf1CVAZv1LqK/jj9qB9tmUOHcsMUJzatQ58taoouT8MxgBPOhYHteCFM/IHvrqTQFKTnnHZel4W+06IeV3DV7lLm1bE6m2hmIpEVMHEZM7pkQtl1jo7mPeuU9DI5JiPnKZPY6AuGQhkNCMHuec4/hiLOtQUNJYiWfqBJzgpsoCH68p0zxyqskAYugE7Z1TwNNOadJtCJEHfKOnU8lHu0LHl2pgCzJ18pm9fudjyIQp9ATo/tK4lX1J4Uj1Rpxrr0JWzcaX3CkmH9lW33l0KCNhfAnuDkbJxSMubkisJIZD2cnlLAOrZ1bXDjmSP/l/PEWBOuw5r6TKcihVSDuVsebC82WRn8e9zzFZ90tyWXcm4BCGcy0COOEcKvpr4qlkbSVy59G3RZSicfBDnWr7E8FW+3UwbEsMIVq5LI9bT5fMZE7CrwXq3RAsGgT1rJQlip2ebHQ1m92RU7oHEPNVd5KGoDI+v1Mo/lDXA7824PPfNIcJfuwO91fk8SinaRfktJi5bZ+GmsSwTXdzzlu5LMCcJMv7H9NXfPx/GU+7zvIOryrtuRLjqYXriu42zzT+sMf+BWOUr/XVxmllyipmgDc4EWTiypxrjclKi/TSUMoluycsg1Tc1MV0JCgUSBOeS4iCCSwSlv/Fhkfd/G4qhN4s4AmUNuNbSaH1JOrBhk+/5pstjH/ScovIXjXtV8H0CMpn/p+Z0mzbSPn/UMqxkWeEeOuxQfRC+HKOgocsv0wRpQJpu3SLjHdoP/zPQNL04wvkP1xycoR6zqoKKCuito1MZpRbVCoShQD6CfkKgNySsnxnFpPd2GPFFUgnpxLFgvPvAEG90uXm9D8GcPeKTYf1i4VeljZq0KHiV6L5qGDaOh6ReBGxXK3Qy9nkyFew3bLuOlniQ+KKzwrv7XHVOrsQ2+Q8sMs3VBaM0C0mVFwuGiAaRSclF9lk+3JbVU8rKm6w+LKCe6fWtZ3HEVaA9GmpJxxaCxI/pEkKV+Zuyt4eJ5Z6LeyINUmhA6fApTb4ZuJAWx+m70QJKt1ZINb7Iv4yTA5FISz8/oZh1/BrR3JzavzcVibF6zAj8UK5SlmlGSxI0iCiThA9ax5hmeb6B8GNvZc65Yzo8FkOhlNmWYA4hPnoMrSfd+O6nU+SFNdcqcm3bCKnPxEE3/71PZJm4ajmDNeeTv3gPJwsGaxuPeGvzSglocCTP89QC1EpNrTfKxozuUfb+gFaKEmGyQS8IjEQZLy4IOjndR5J8/c8e5RFhj4sgzl1J+9Njw4f2OXm+hYADxYEad7u2csgQb3BOEqvRIWINhtDmDfToCSlxjne5gmvEv3KlB/7mbFiik+PkJWL7FhWFYLe54xB/zCjFmat7oBCcRSvk2j9gk0u3ISWWFuHwbvK9HpkXg+qXHaBMLm7Viw15+P8vKkY5/QlK6glDlDeI2lA6YTvqGKEipF0IccH8PRDAWyuJTV/nlpC5DV4//6ILaLzbtXariwtDCxFMDldA1+FstQsFUIGUb/oaCIEq5c2NV09UaJTPYZ+CoXCiOfP+RJeUMAGL8an65tv2tigDEHRviCURueGA4M+O4xBIKVB2T3G0iSBK3FEh2DL6700t0cpeXgvlYN2C2eshjWmoCFZityrGMJ6/AbjPLdU0UW03bPSv9h2YPkyKudYN7qHhEhXtDXzz9/C2IijhavYswfYpJXMvruElwGtM77Q9kFBsjG7baTd/wn0QZVnXRdf821K/zbYglLN132Qgvb0L+w8bmecGlM/4BWOKke2JTP1FIOerBSuqEoUzpqFFXhKiFWUifYRMgykWDZMreCeNIrqXIB/RuZX6onlHEgSek49zpsfPeuyXPw+Oc1gfBuATkl5zIXYzGmebvmveNCZ/Ob8Tf2XSROAe+l81OOct+M2uI7feOcpAQqk9Df7wOhyt1+lc5z3mCjyKEPHWiGH0xC/4wLL5i8qjDPAHmk4vNHhRvKteIkJ81pmLfM0eYKKV0fOXWvhtTF42lu8gZxrvkPuatKZGNfvufj3RBcoPvfxzK4F/CjeGQ05COG+nzfZKgg6+5EaFUr0yUmB1UiZ484UA2rW4M9TRNIYDM+F6jLkM51b6Z0ktsHotHDJ/9PbVxPtdanrJ3lNGlxIAKtLEpBq4oJO2rbJtaYdRdQppBuvSGDPjQ0Z2gC6Zl78BBGSLbxk8+PerzDxfpfnUXjWHZvJGjU5/+VT/6scSzFBKOaetcvwG+qC3y3FRPpgeidhSLtCRWUhOReT+psyYADjMMDOsF1YAx07qArcwtf5MvlvyZzneh9r0dIak4uHFiDuMz6rGEyIfFTrk+w4KEeBxYFBNljheJpgVoUaqYi8UizBE/nvq0eHDRH5RIVAfew4JLg4tGbUsLftGyzXgt8oU33dNv6yDFHztxa4EXTKm4J5oZmh4WhzNZS1DAHHhVc/500ka1Pftv5nmlsiJOHoUdG4796mHp/AAf+q+Vn0nFhBsz8cDkXla0nw1RGA5xtuTCyPPbWmAh+zRroUxgsX18CSfOrVf8NbTEQfvJIX9+9m2XrAQLh3dpYrK1caLvALLRmnAw6hrFEuEw9N3CFkByqOkXMrDHA7mqNa+wJXianfumYXS1fxjsl9BhHPWIOomNN+5rtAGamldt5VMVLpVAAkBxi5+YHntNABjpt+wk/rEA32nwwbHUjoRLKGUhVkpMV9rchaXgTO7v3JQNfP2OeoA1wRv+Ls5EoxTCX9/Cd9JYwFfA6ubUE9VfTyYqA0yZliPZhjEL3yI5YwMwOVAtiOtEIYpCa1ZIEcMxM99tg/4+qCy/Dq9vtqQLCTgjngZihHTjWPY9GiCZ4KML+wR7D891IZm0cybCcLlr9249jLpnU/vR8ZJJUU58IfgsJBKiDdnvCv/k0MOAiRvLdMHRe6pKR9zBQaAexKxPK6pAhZk6u9fkY0V6JRSJud5mP0fsHlhFvYrTJ/81I6xJ9ZH8GCfg/SHI5NSikpJ178S+gU6PVZ3V5iyjRYCoKiYkbmu6PWYqLjcPvuN8GGhg6k/vfsTnfLD2rdvwPi2ciBYFGhFcy49wL1esdv891RRIDsTiDOnrHl0g1u1famnGnp19CbtUp559KIoxwZgQLfT73Yp2QB9aOh2j285DwQQX16nWSB7DeYtK3Nqvvt9zNYRmZHFHwQt0Xzp5Qr3c8krDLkmLjIMvbmbDZXEmzH3ft0abf6TBKTqG/Q9I5gh49g7rUzkz3PVAEgsy4JlmVL9JN64mKyBwPPfHut6YtEnlpHHolNgkIkWmLcqYkUYarCVqPaxNVaZNItSbVqHmHNu3ZRqPdqNcR6CQXTTX2UVB3dK7kM5zdf3jPPqDJCUZj9aN98w/HpF7cOjkY1brgowUqdj1grnhMdNg415Fdx4EvnTbNf+CXVkL2G+EZNzbMviAUPzIv/zaqSXDo1QRGJniigySVwmDbCbOvkaaVt86J/RNzeE9J1U0jOFEDvqL3Bc1oxh6tcdfopKBZhAui37eQbvG4eKYI7fzezopbeNLkO75FAyUmjh2LGICEZftc/daRPtHWnMsfGwxn36BeOnUblexE/WKgRrO9iazcQoZkd7BSlM5Mv05SHzY/p8J3YSpfW4PdOZ1EMw12mLUiSYu1u6yf3MwOdzvVqUtSlB0PTV4QxGNhofKiDjPSWXHMNsrENsO7R8yb+J1GJVFCg4z0ER7TdGHrBmNy8W+NsW+/L472AFXlAkPfD+zWcEndNghO41/Gk9jqjJnORlFK48YHbM4+qRZIieiYNiV9Am8fj7vn/jFWvhKrOgUsxhoDLU4bhjgLjGSedcTG4uMCsNZ1geR9T6YCh/ff7y2EDP42OQEC2bKtN8Dt4iVzb+a2kP42BANEMOWHeNa49BPpNA3PSJAQPc0sDgMdRESg8na788h0xCqETyM2xsiN/BxZYfevUADjP3EBgrD+uWYnPwwZwErLFJaOpAheajhc3bIGUwTKfs+Xqfqy92n8jRruNKKAKfak98CdyH+bGoZdnm9WqOf1zitjfYMuGLmubRGJmF7WitxgMXMVQxj1mXf4dCBgIRLN493WomGs4ZxePrIXgrnqie+41EUA5wWsOaI3f3LNgxYKWWQ+XrprGoShKj3zn3Q/xztn4wfFwzhi5YiJSJU7N71uHzj2tAILGpZGAlFcsjjRTQNepZE5epmRuE9DTjtn0GNpFM7m1HSqQ1yUnbkqREuoVWtGD4VPwYpFNFb5suxU68EWC1Ac2ueH5lBT2erJZEemwOM/6qBB3/EryCCHRakLyJJgF5XQRJtDpyu154pN/eEkiuBbuIvV1Uxibx7OICETOXPLX0WdHAvbH/D9GOVLItsbzinC3tfnldmbC++g6Uvd2uhth2yLFca55/IQXj7Lz4LXZmOajpi+93EN6a5oIofZEDPi3TI5hK27/s0vVFJs2gwJ0hiCuwWMqsx+hY3V7LwKMQWMVTO4vTwEqYrCoHE0n+1R+gww5SxnIxPRwAqJ1+xEwhicq3saMDqZkmh9Ei75rkeEvRozWZDjqDpNrKm0TRMIakuvRtNxTb2U3k3NI2yrEd4dRYZyXgJ1G0OIIZbGriqv7JA0ivM4Z1B7sZvJHx9o1MJn+NVQN7BJs9/c712k6Cpvj0YqtoRlZqOU0K/n/BsVn/V4oQKx9UHNeuSX8qUl6G/oQ4XgsVci2/RFYYsWOpc43wIcNlrnAHIXb+sPbU+tBAPVYfthOHqE6bW6RHK8sDE8jFt1FCF5pEnzH9Q4aR2W+Yfd1ufIkRHTETNY6LTKJC/uMG5p4TMkZ5kDtvrd9D9Kh3SDbldxBM/knsy4aOdszmvcWPDpXgSzcBRb7tOZyFXzAI2A++MqDQfuBVQa+kgxrupAJfbn6tYMHAwdURhtVMydqJ/3kNAvMYXi4L85VHRhC0lZq9DzWw92Z9P4ND2YYo0tnmpMQgc/M8Y1a9AGWXDgK6Pi2fV1avD1C7FDTShIZROx/aEl6HsVs9rYdhisqQgbKidG7ezhP5QWO+89NnpitLIVfX8RPZjFZdsFNZQ8Cb9ngjYl8j5Ln1qJKA9J07S518XOhnr5d2WmjdAs3ZHVBQSGHbpvLqjgDMgTeNb3Ui9M0OUc3omu1rxO/YtWK89A+SAU6dTgXbv/bf2DwIJ5KxDhHijG+/esek18t1jL2vSib5JfoEb3hhABX52hzx0OqC1WIPeW0updAzLAs5sspnWq8aVZ0u2lczDHdxWy6gxP+7bNrcdkJIbJxwHGAu0BoTJvo0HPZvPBP/2kyCDQizQxdHV/H0BY6zgE+dETVWVb5q21znm8JRngu35gNMBLOSIDZ1OrXsyt4Q2UEjPQBFONmyk3+kgb/GZ8CMBgW7kd0ohUcgSjqoEuM9NnPH4jm5xUBDK9vdmcwsM381+Z+8jlRECqENhaApurWT9yLM+YZFv/NfMkOrh1of+XQ05FZ3Wsdxx8UHHPeEI384GyO+n69YNI7puaIptwsSayQ1qKA1nDPSPO04VcWapA4l7taf9LCMC+ORN/yjTajYdmAA2fpotfF4GgAADq01veM5y5mIrbPWOWB7zLxl02uHYPhzAT9DevvYQU6tLpzqJOXIc2m8yL8osscLfe1BfZLYMD55IwJLixKsJo+uxWS+IV1scK5RVnLgwDeban2NsR6QI5oG/p4ZbgsNABa2f+rTJLSpNotgXyTd5aUVQk9kEeEIy7WJX1Qx8HQRjsrlzI9B9wbkQW0kWOjurUDdQpME45aK7tsDzRXEzdCBcL0n4GcwW2IPjawUwu3cJRyYmRhwsJbzJMfSf/YBJm7M35VcTqsZKD1eAs2Gbv7l0wm6K8qK1l9cor5jl8bugD3MDWdwV5O7JqbRI8OBXCZXqCjyoUaRokdw9XQ9ow25YomPTd2HH9iCum0iEu3tnYH4aCaaWZgk6cpwyCec2pOm+CaOtPdZTF8x9sjrhdenLxVtCObUHTOho3ufM87BgxrvjZN1gKzTjKn7dgCBHZ4jr1t2F4ch/9XHS8SmK7hRYkombDW5ItsjfCjRGAkuhQ110HalQRj3h6H4rTM/UEsgRdaqTCARPWaDNQGmiNkYtBam7BmJ3uu4EgfTmG+I4fNZv9Kq22T6ZXXKzzJYjAD/zj9Rcq4c38nnqqAWz8crtx2qjTFKr3pgqNjABzjKlLMNa8FhLjPH6CpXvX7F0jIqPAFV9PXgJhzHkgHF64jtUDrc7Z2xGAlNmBdLjAQgHiTYxnfWzThcuBPYATz75Y9/80IqgtMCQto4VhyDj1Oi2xXcYKNKpwtjj26p5gE+JDiSoWVtIDy+/WebosFJPT/nJx2gRWHTvXMrvNAXg80CHWJ0Cm4Sn2hAc5BtnO+HZgp+KzcN9nTkYzB3gYq2N+XAERzxab5xYuGtJmz33DnuAzp7ljHmbNi/EGs98HBslk50ZSaGwDsItChKi6gskWDy6DcYx3+R3kQTnu9r+bgcUhhwUBkE8Wbir1t1jZHT/RQGGEqDVoCg4hJvz5rBgZDNemSKfdz7298x+Nj9mvF72+fpgBoRLlhnkYCmtTFaPC/s9eWNUm6nuC3PU3O0cuuHR+BFnLjJVFIROGw9Zd8bjL+cl34uBZbyJYA1eeJItGbkuwtqcBMpjS48Qw4vDOd3PLvWIFAQYi6KXLe2R2e80k+qCw8vXTdlEYNINgjfMI7EmUs7EEVXfDpLse1kIdSCsd1EZQWtNo4FJlZeL+/PchGiMbx7cQ+wibNcmTfvhMg61I2ozjvh1ocbQYkYrqqVUgD9Z4B/i7eOHYnvVlFjIOIbRyXuaamxGJCmtKlEPkXMXyKQo53d9QTOLUNEBVIz6QqO+VDbu7pk7DTRQZDjAkvlysp92i7TTaPZjqYTbcG4z3o7EkSSuFn8VbEawCkdCLfN5WccI0LI7mceuqfZo+LKU9IPW3viIDEJavqaxJCnE6fCQZUPOduDHiX/JafcmQjRm48x6PCiVwr1tDm2+n6JNCHRZFhsQKHZPVZEF2JKlX3MSkAwaUtNHjUorMOTNXSadxVgu6tYlxcBc1eMybKruimKz5dw51zrubo9TwR4audYXXI5IDUlf+Uw4NHAShx85FIgs9QZRRLPob664SlONn9CUzWrKQy0KrKqLgo4ersFX/qSYoyXPyYdk5V5fq4m/ag1Z3z/iPHWyAnV8pTRE3JF1fbLOwhZ4WglJzIkmYVPEX0NjgZR4xN4uCBGw7b6X9HwGUzC8DjUp7NWuxI9eI5tnYNbbx+rjZC292lUdL3r+hJSQlEdJ3Ne8J67xtgLg1/QVoe/IPsfekcKNdJSyjd68tCBo1gJI/h6BNkjUkEzfblTMaFRlIr1S4HvTL3gZhek1tWc6sUNctm0UheZ/mhjuUeJi1d1olHbCKSI8taj/4zg/1KQxlaOwe5l24BLTb555KthNY87/JmfeB8qUL2V23UT2riKgzdqgTxXBwRvmir0/JO8wxqdrXQY39SMo87Qe8npcJiSVDCsNDZtA+ird+nswBqsObU4g2UGfb9hdckYDCSn1jHb+PA4yoO50FpMra6mo9IZLamp/YIQSebpfZvp14NgGc3R2ucMLtqhq6T2ufX+oEuW57chwct9IQu1wh9tjdP9w+6VVBAw2ooGNtPAzGrVJtN/TraB6+dcUlsJAOJrS8oDGJIDi0z/Hdsa1oHJpHIpFaKRiyotqqwyTjExDtt3WXvZ0KKj58BYhaRUpTynY9abOlmPU/ema5Kzna311rX5GtgT0yx4F1Q4vvK9q/xp7fB/JvO79cqYul2rykO3Tg4CpnbEyJeDobw/GRUc5GG+p3Cu5/zwwTipKkizndIVNaKPFBAOTndgi13upzJ3JNmH+g78llJmnVba2VsnFsjHcw9cbNBeR+vU+yZXEIovTu/A1tlefyubFgHdBIBCZRpDk+OmFKRFYB4hUIC0dWl8k/SPDGJS3KaOJm3bwtalrEf49EmJHyeAy20CqiFNUKGhZQmJeybt4H9/YNWPbERcSAI7dRJsExlS7lmW8nS0poR5wiUjmoWCmszmrSH1v49B7d/jAnQ4qxKpLHpzHpJ8i5VF3vSC5JCCyUK46I2WCN55Y1Gs/rSL1t5g2+mwcj8QXJNEc5qu2ynhnvroTYBqiddTX80qGX+D4UJyj8oXBgTdZjbhPHSCLJ+GsJIIaRSfC3mc6mmI2P0fb23+ZlivZk6yQB2sHhy4eKhSY3v1h9/LKN58Upma/NDDVH8PuOMSf4XXzEnpvLAFWgDL9GxfI1vOFAloY3alJrAVFuOTBDPyr2buv8EZgZ8V1f4YnFb7Uz6Ty0gso1ohVKqKAsb/jPUjD836lGPFkbyDf5jpq7pYykkd7AwccW9HmOt7qyXCJDOlZgvvomQ7BB/ebfAqUKgk4q0XO07dm7AP1O/WHkQev7QqyVMSii7dSfOnCmM7S2PMTGwG9B2ARIutvPQPpECpCqihGWc+ZQoj2pAaRxSL18Sxl9L0hMOV9ZwW2Un3WeZ9RFdUyOdlZYHSBSECZPmTk+1xt7306KmmD3ni87CQ+5yqaRs6rfFYiuG4lOmS5PV1d6rriBrp4PIpi11UY7oc1kazTzA8EwMatot554rzjiOsBPUx2HB8+p2CpsrCXFo53y/bnTgNdSXisWcwP7TOT/Pdhc2f8K1jg6rCtpPNyGpMNwpK2JctvZm3VkYka+5rjTdHjwlb/5rncpxqVw0qAfpBdy49Di05H21huYZuv+S3D/pyPNRGmhbciJvv6d4uLZ7/rSSt9YihhB6TVKoJZFbtxM7wlf3p0lLrNrDxjSfYmZzy07tW4hub1ewy5c3b8urtTPwt6gvAXAcMKVHRY+QUDKad409BbO4WP35y8EuN+x8Qan5N9K/L1vh2ny5Jm17K3jKLCFQdTOkUHHoIyC9xkfXJCKTDJ4wjIP4i6L0KGY5b+ZWVeuhHeS60pHq9YMkRotDNK1T1+U5yvmZwzkwgGODFf3j4wvhg2c/TDKxhWPX6bju7QlT/4LH6phx79VrstDr4BZgVkTw1diJl9+MTEcL2guSPq+7vcwdKA9ShTtTKT1fNNtVffF8G4WioRZCDAyLQr7lzUlWukf/sL0aKPFx3CMhyT33gTfFpb7DikwaOO0qJQz9B35nDubW/U1NvlqqqWKh/akR/AqRe0WKV0AOxXZ+aawU7IocmV1bRFFBWNArF6q7CA+WZO1HJrimF6Xtt2pQH84TNjuLh0DE6EANkRIODbx7K4KI3J2xzA3G5plkRNXk5qfzWuMtlJcPzGDPgUhFqQtYp6nO68X08yRLA6D8c3biLYCpar3MKm2tROdg0zYIeOLR7rSlS71pcr1UJshMg25w3S8RwhPEtqHTX+xJfq778lZwnhZb7x8fWkCn3uP9JJ7tLbI3WkeQvaEx3D6ySRbuSy1yeBJ2VFNkE0Z+U5APPZ/rtxIy0T3JdVYmr4TighCQQceuZWLw090QQBYCeppwwfyE1lqFd3wsj8L09pYH+dCH/TfE87Ln8xqwhRgsWaefzjHbBooOeb2aodyY5xLQaKvz+R14ZFone6yJFRyvNsHYpUYxiVCXZ+jeewH85tQDRlJ59e8sGBQ7Cb1MrAayK+t425X5rSs+duhI0Q0g2thXRNIbbM2wKDR9dwybGZbiYbUnUE0fskZ8jI6efDJVXZwryoW5oCFgBGNjc78Z4YdcWSZCLEnQWrxS2BhglnXfqk8BnxGtd8/RN7itmwDq8myYCzJn+Vvzquv8ZuVvcjzaK5IUeN5bJUVZ3MxkFjrkG0Dlxl8bw+qCG5RGLNftH0K71R8L0pzhq6lCN0Z08XdCJf5+s1EE0bXsGRZDibTcQxH9Ok9KwsCMrW/6Gu+KPX6WDBzHQz+b5pxieCn/zfKh0oSf4WbJK0+4eJ+ZryLIgNG+xut23e3WiSxsKl/FC4jf7R0eYX56Nhkx3KFejS34cfa3Dhy9QJ1zMserV0x4ZqPL9ApqyS+MF5oVXQxvdLa3NpMd4fmeQPUHs/G/UNCMq6K/eeQtzk2wyYu9Z5v4U0K68vWVFZ+PM/zUGHhNWLh5CbH4L28zTlrvy1ubsj0TBCFeiEzt9yMI8iKhnNaF3dUUOylss8keJmnlvaBRdb73uloMk1J/ZmHQcMV31HMUOi1xQ7Cs6RxmS1EtltnvFbriDEEEk9bWuxG2NPttlpOj1PlKwc4E182zvOgOw259z+KcDcs7QgQh+hvRw5K0YeBqlwDb+kyKnkVKJ8drcF5XY0BxAYJLYet3Dy3qgyM34PkKmpBYo66zZYTIiWkTcHQiJbHQcKKrPz7I+slG2gi0RKt8dRcl4KjPJFp1CZiTuvZoLMA9mWOjzscTrrkhsKK/HA/x8uRnMLq2TQ2ZSPVTuVEwnCPPjbi2PNZmklF4uWxfvtzqcCqT6GrwlqyyUlhqvR3ytrhKCeoyxJfiEFqs+5lc7LeAkvUVU5LIBsBBfCDN4WUO6kIJ4FJ0MGGoNFqyT95HOpvev6HHFJqfO5E9/qiww9gI0avC2WFQAKoN+62Jb/7nZ+RhG5y+XoA9bFYG0lMIaZE6W2leB4GeOaBhkPW1RHtjbt3cXUqi5HUj3Ahi6lWbjRutYk9HCGH43fLD7TeulNpApaPmeaZ+CdcixGNvUBzPOBqPsJNkqwvesH9tXliUY8E4VmAFqD1TYDiH/ZKy3EYkRFrsZ3MUT7QutQ5EDyABYAEz4Ludl+ukl16XvD1ad/6uFPNAWK81K9RhylXhRToKvlNgFc97Xu6t+7Np4ijVKwuOIgbcbo3A/1Bub1w7KM/oSdhMY6iv49YhsYP3TDkv+GM5U7g/f88L2sVzsdazrIqc55KBB1P4GG6TBWXqBYXuXGCXhDQbbI3sIrRm3Iz0cms0Y4yPqehMJ7guC84XY0aht1q3hvALCdroVH7LmfYdwW98+zWskrSEE1WAswzTV840OBQddXZpMWuysKTBZwqdeBwAX7jGbIiZ8xHgV34gL9MulDT+1HjFTMdhwob9jCbFQw+IFfZY5OsBHGQGfgn8VR761kiLj2XSe0TDl3WwOIX7vmb3ZKfxT2ko0bRlQCEEtcnLtVYQWglkuwCiF0wwGfc3yyYDMpfnoBJfWHSYijtGryQUAou19NpI6puwbF7Y2dtW+I/EIwDjOzIe52zu/gLMJU6/7lJoIcJ4UfCk7Hq0OaPngbxvV1U2uR/2xNNQrwoCTlfDu4sTpzxRBGeQnRaqliPy75z20XJhBTXeD7uMkKAZOFKDhzfxfbKGgC6zU51tVIQbYY090uw78yO5torXMWw96Pks/v1ZX54Kr2W4wc5oemYBgHZi0AFMeD8fXNcAIG2i7g996ZRs2XeHwwiGxdLOkLbVjLHC3dZ+IxHNvX9lLEDnA3YeEsElXbT3Pa2xljnewOEPpB5LZW+4Q0yLijgeW3akBwovq6fq4KEdO2rJ/QfxvtimYWYGXQFOedifXotMIzr/xZ4vjzK1QCLE7O5cVAjjwNopBV3F7mw86U2ppPsUPEaTa/oLPuMXZd0D71z5BWGbmRDqppabKfeI+jz8fSBAI/7Jd99xIublpZuTqXIzjHzLSv8QCiCf8xXs6DugZsZMI5zgwR2RAOQyo3S8gpUIXq8XZJQoLwsfiM/x4d5aqr/XFD5ic3juLdp6TK1wtJ7UPWq+qBvqsr5rkvNhU8fwJUWhNUY7hUh2+gYjmeCvZMAZ+Yd+48Mhmsn9hF1l5UpznXmk9iRE60S9m62MD3lwOJvrGVAc5gpkofNInSy+/cOrB4jLpHoe+ezHtb29uFNvDeUBsYdEStGh3YbqkYKHyl8Pkdmka6+o5dZJ//hsb9MASKoD0ea6r2YiK0l66RZI9fBr3SpxWMeYBDcvQQ1WreMFeIfOuTCace2UzUFEozopRF8NlcmykOFwGorRTxw6J3Ox6TCBqto82tY4f/dsT9QzUv36mn6q1t2uh7AOWQxtX8O2Q3SikFtQ0lbMz83eHk/pAQ1/dxdpHbabpVHG+qHUitojuD33sQTDgGzxPJGctJ/qqx4aM/O0HyWFR/HMGt5T+T6dBUL0CuVXEoE4eoLl7o6U0YBBO7TlPKxjYvJuHBrZLXdL3MKJImVtCxX/rYN8sL+r19K7IomRQT0Z+XJFeCTZOO0TyiJF5bTL9WUX1IQfanQKsKIxbG/OLblCln1UQ8glUk8gdFqkxYwHvvdCVhEivEW3Xt7nwakusYYF7chlE35QmIZac8av3UytuyJYX9AEJdFYcofmvzQ/NpNTDk0jGK4NDVzhRENzT4lzsALe61rO7Q5gnAts+BUb1O2NAy8R5y/1hepNnfPrJRz3zAc73HlW7WLK/GYgy3FPlt9+BYhwyrPrFQiKm1U7oAaD5Z+Mv8FJGhSMKQ+Jk94tyFyRF1acc25GyeqCXwn8+jZn49ki/EWOxSeBGgeuCrN2PA/VhCpSdc3/9Vr7I0orSyAto4AOcgSsvHlo0pd9cE9xSJmb0t+19yZvWSfGNuAVcHGD4WmLuvkRs/b4tNmqNVmuHaRKCXgKfiIYsN4lv0Q6sehdbhLQ8s74I6NmXgQpGm/mfeTarEY61v3ZiVm3DBWNYQjrrpnRPcZ0NizUSjAKouicgQGlJu3bKnPiKgVpzEWSNk85oalNrDez9PpWMTdnRE0R+fH6qOhw03bopNFdahWXdZ76bFmyFVYiLbQCyphr6Cb/rL3kx++lisdOvySPU9oaS29j7CkYASNBpCiJLK3gLrm5ZiGzXzOzNZ5k3YOnAlmsEsfpSfGjdgAIfqETXC8wEJTulWNvU0puQ/EjEp2OfWTg3MXU+UbXXkp3/Dm7WfFIWfsCrH83FfsNa1fxQjRiweEqw8u4LlRXJcHMxi0v/DFKholOdFy2pl/Wffp6FwgMddyMWkrp84SW2hcfvUUtZN97Jx01/89wKRF+DHU7QF6lrdzFNm2c1ZUipG3oWHd2eHDM8gkC3UgorecbOe3oaODr97JZoYab901d7DVx9GSPyQ/qeRaIPTVZMzoLzRqie7olf4E0yhUrT8visFiLsd/oSL5+gdYu1yJkEK5YB3ykRwj1HlAU9W0ppEjVf/duifTFTbzSSQW8DA1hyP/De72/7D2Mvt+7nKl3f4egSbrTvbtJf85wW+zhDrgsbaBbotBuLF+t2vONSdDcN+cyADnKkTKYcRmIUBMLO/kBaPNidL6mN/0gbQi9lqvF186aY8pI6mb5q5/N9JbwEO8bUWZsiPGynH/QS7Y2pDr8LuY7/Jes/Gp1nEq1vtrweFIKRcqVerLclxOdAr0qnn3fFOI2/i64K55+uezpU6paf+GLA88YWmINJxAy1+B/qoxGnonZyix+/eyoGf2Nh/jI1HXoMBu0fWv1CzJfVp3I2m/S7E0GP2YtqwGe2lhm2FpTeIucYyTN5XdgVdEZPTg95KE3PLNZjVAetWfjFFrCZ16s2HOB1IA3JEXIPiUChAst5rE6wSZ11uaWYWGsAtmJnLhndjesvUQEtBlbdBqE8IZX0wXs10rv0HpZhRxExLGd6Q4DoZWxHxvQsUADpI0Ux2ceKA+5XOiuHY1cO7YV6vGv3xrD0sTCf0hxjhFwUtgMjmZeHQayvQdaFBYm/o/VhIpXrGhEzLm7X+Hrp5kNcEMECN+Mt19sSDxySDLA5UjGdJZsr8NUYxilHNEFOMjm42vHHFbD5s3Ih+2IYW5EMiG70SW+XM2eeSOHX1jQYtwuTsq18BUtF+OnSMhRGPH6aeBqEbzjXejecb/AyKO7Il9PbRndcACeQUAoiKCmyw4o8H7dktc24Y/tldqKfs5vc1icE+QYUoDt3G4reRHz0FL4CfA2o6FRnzNnHSmLoCZTpQW7/hW/MrrzuvlG+FDGinkJYZZf4bucPmsPzQKrh99gzSE+2/xKjLsZDwp3TcsdaGpyhnUlds5Df+e0W1/j0qIEEUGDtkBM3Wo58QWGpsvUJ+kdUlwIU7Oka7+kYsANGsIvrDUp62uEl52VOGKsGs/VJHGWhVCt4xuSdSxs8yV8sZj+9QWasBFTKI8wbIDf1o07+awCG7IT3mN1h4yGAzHYBPoWZPqVcFF/yBbEBDuQuojEtUi1SZ7m8OpmKKIifb1U2jrzqiSKlkjFq0B69Mz+5W1flTl1VcDiO20xRHQKgYpHnMBmt25eLDPtoeJX5g9VYBr1daKonP5lLqkIWuq2+mE5/HtQJgoiLDP4b1Bu2Lm5XTgup7T1SJk2FtmhH/fMGEtXaxwDZy0G3qSHojTQ705FUGCT49ssnEeHXl08HYuPezrR7ET2+DX03eFxIyBZ5f3l/3w9Ls6xi+bNIwwDEmpMLGEREghoLuMitBNv7IkC2BRtezDrjJxBcUmqGecCOYsHgyptgN9RBPHxc0crPeER4TiMkl5QBCnA4zq0Lz4ABgyZ6YL8usLw4ahDdlOro19rcV2AHWR5r0+jEry7xyiMOOOe3wYTt42gkSgeL6OeafrXnpSbM0ohFkT8yE4/NwbxMKmcoNRlQklR+JhIqAdBi8tpCAZM9TQkFLHM/m5zM5oDrHQRjgzOlqIWCj+wOd3apeHFdRAtNFK5lWiRsXT0+f6c9Ti4a1LyS7zjXJQKKy3WbBLx5oDsTFfsg5gxicnHOh9MbKVCyTqo2GSyogkWVDaP9GRi/zsD/EVjHN0dnl0VLgL7jA887Ih7Dk3eSuy4yCpaQl6E8tMCL9dWLklmeFtHJ4aZm5sitoBIMzOb2YYFMY2faydV7YVYSnUXJ2SMtYi7jAnIO0PY7YZtIVF2iTgUUrgr38psmaMpv/x0XN7BiN+iJGaosKCPJ+4lD0uVHQN0j6R3jZZWy+Ti1SCmjhyRjkIWQ8EH7KHcqMOW4QpcJ4EJPrdBmH5zxWS/nrmNkeqsiSw+FH+sHlSj81DdQAVCCHHJmi27XmXgsvp8WFBAv0Zhkjbw/7eQ7mGoVeolX/lIgufOBQhSzGPSIzwmgjJFe3AFkMoVoouY23fN2BSo+z2ix8iGFmR+CiVVHnumIEDN3mUeJtrgxX1jGK0yeDNXjAxHuJjPb3oZU0fMJcc3uGlVOJ9NyXjiZhJa+wFozNzzyEJBK4OpDC1WECO8skqChaSIVY04uMZVfvPmDpz687AQnD2SLy1u1YYegLH6jF0P/o4D8J/if3YvJhvMxiSyqdj8L0FcE8Dx6/bZ1WH5Ovg/ha8KwIu0Ds5tI7dlG2cpGRrGuWrHnlkvdh8F+yNEaq+fW1vp8VB4HDcjcyIZGbfZ+HIYnsZzXzKAWNstNGXuSq4kY9RTIhVFLWQ2pzAzECh1ODXTb5YV7pUMz4zM+LMGMz/CQ/UElU9WvspFav2tfcPZmbKMYWxuoMT0hS6W6FX2dGK4/GgNIz72TUsEQROc5Z3H70ufar16z0OdJvGbtbJl0RpiRN6SUFzcbFGjSWTol/Hguh3bK+Vxm6wn3M6qnTDuCQFuHd5wxyrSeqLrxReLi15bGSmfT1teTsFXPFTipyOSGhWyeFJX/xuaZaMO6PZb7j60Zm0bMAd6dlkrZfR+Mkvpm18pn1HrTausbyyob9G/ZzDerVvcFLp5uX7JnzxsuN7Ps+yFtaPZouWMzrP1yk83jRSYVKff4KWL3wdP0rU+BrbXqKTCjF4ylDxef9dLPiwzdrN/MfEGo7tRu4CX61/DlfUlBhm0vbWYfeFTWQ1ZcLkAa6Rk4AhMYDMviXAO2xOEZAaLpv6tyh5r9e88/Fy2CKSfsult4Ms5iLtMGq92/CmOtQcRiRJ6IAvcw9TsUDy4UoDCR7ZBPCnqI5YoI8skdtZtxLYJbEl3PPkJSVPrzb2dAS5WVZ0Kjm1wX/4N7ueERfoXYFlfckpVbvHC0CDa076xsgtoJM662AaWX+qcSFLUI7pIo2n3u2j3QbgI0qvje9bweBR5T6vznaAsVaCtqEa2IcGu0mUcBkPStmJB8RZUF5dQaiiSmgH+dnmYg0IawFF0/eyMCOitVMC3HeKLc/nc0TkO2vSh98SlLUYu2JxQQ99Oew8P/UpP7FwYpxRPDx7LjtjCd+HzN00YXIKq1odYMtIw5coCZXamxZrYG/sqoZDcFa/13IJq8lJcjVDNb/matxUV6CIQdSR/wmPybaF4WW1w8x+xrTG1obZvWgdbhovDr25E7eQsuaJCbcAXNu57McBNy0D5vDQFAGv4sN2lA4d4RfEmqT/pYKJmdYYVOkbOxUtfQuz2NrhE1hnPpRBt0accE3Raqfe4+36v/gL2hVAJ0iMdYc5Eznlq2yTrGJB9/VNEu75eqc2Re0TkXjzihjM1yMnuAiy3kyAf2wliIfsN1qEIPEfajMRjIyah6UQ16gG3CVEsq5L39o1fwjoFSzmS1UUZjQKL8o4IQ0rQT0unXyIzTiqdC+ekjtQ7x83WIDLXU9zeJrHIDvbXYXoj+HjrDjVWSJLSsCJ46SWUyOO61DyAOcbQJV1sEXzQqeVej4ny22Wg+AFLoX7AE6upEMcKNzbYcS7K81xETIhX+iAkIFaCtFd0DhVdxdGAh4rXAXGnwHn4fVIgV0EQu+K+ifi4LwaxDCEiCgWWkRQS3MWYBkS9yhG6o77Hert9vIY4+RElICJtFA0P7PPiBWz97TTmaTS+RL++MCdCgHyZwr+Xjsvg8BfwvV9jagxBsaVkrNlhoe3+xffa2eONXKEI+paRExTcQylhQs1jnozNT+jTv70PG5HLE4pYuUc5uyhKJuqa3MlJEqXV6/oFZy5fQY0oIIMvIdvfGmLT5WIv1E+RTdT3l9srmrvO5mrgzzZ1EXu8sxqTZ3dYRdE4akZDwDgOoHGDdAAeRrACg8xINHo3fM3a4X7gwy1N2WWt9wnitWq6YEJFvEKJ3xIGczL7wMsu9FkhjI8fkoIqwmOmEyo0LhuS+DzRxx13qsGxTqWRhHEl5JhHxI219M+FTWZv5uNUPc6hcXoNamOPM8cFZ2k7sl7EKSpbgPXlLvdmZ662NENaZ/2n6VGRUGd8C+U6Blqb5BXvkjtP3fxpZpNDsjZ3JCs1S2ZLM8xOu7mTZCqgleLELTwa6Qa6ACdxBBwnfbRMwoIr3vlIleeOECvrE3nIc35iIKpY49VGeIUrgSm+Wlo9vOCJsLAwqHiAosn16DL0LAEZzK9DCE7E6fECjV/JV8/j4utbsVXH2SK0YJdGNqMZfAErYOEnMeAB7p+ilNe/Tw2p8v1N9Z5dfkh8YV21/cZKLDiEiP2hiUgoZG66M/i5t4lq935g1861kFap+ULilSEKZBifyie6FAmzTADFhxxtSroFJusGZDLejPbax5d3TYrSLHDKzq8q6xsDxSxFkBr8L+VZTLjD5hSN507fEYaYeQOC+4dMv7JuzaG6QmSkmhvHbfAQ0YMs6C+lLbdyV/Om6Z1I9hgNuaH6nBWpJdViSmhEnwb5Td/qWv+i46nBY4AZv1AR5uHMXm80Ql4Vz4oeBCWc4NpMHjh88uFp6axR9D1hHy5YbYtqgLh254sDtuEGh3zXRqQ5M4IB6Uia0QYAoP0nyBCk6kAjXfWeSphxoriHV7dBDuEKZ5JlNXyV3oKaoZ+QUPlwQoS0bHLwFJ4rg7ODZfF5hxrVoD061EpZfDzgsyqPiEvnNUuuHP83fSJyYxetZOfzb0rzYvETo+fh6g+5EGZf3JFuQJ94Mg9AxE8b7eV0dT7f0sqgpSz3EMNwwIU8HwBSQuMakKd88hol4PCP1lbuYJ4pafGfDLxow9gx9Ib0zY1kgzskudioVbqJnNM9Bn02ENobyyoGxcTZ6ua82AqItQJqw59btUJz/1ZjTxondMCjWMylF0DeukBa84QNBCKfIEiokN7CNf955kP9t2Mg9xpODJusVA/FTKTY8HO907HmuD5Ug4Q2mh6oCI1jjQUEk9n2fHyfG4g3B4TGdD7PPgMFKLZCOsgqaeZE55Z1T+bBClphzGFnxHkTUSeCJvFHj2mfXph3uC0vf919K/bqpIsNxgk+c4qHBhqx7+RFUs8SCc9lxIPScuWfc7/bqKk4LQpXX/yRU0W1c89Tg3Youyc2cZQ/TAuMg1hLpEAzIaFfyDgBUzvwBL7qwErY8B/9K/FLrpIa31U+N7EZ8NSrM47CVdh/NTwFIohFkoNKD4TULFPt2EPmTr9u4FnplgvlFvF3w6lvBft8Mq8z0guJYs99BoVLMNM1+wg43M+ZXA/esG0M0oJYKMMi+Q9eQEncUF4SRVbgoviqsKP87nptFQEQRCV9/RxFhtagsDtb0OgnHpq8ahoMdwXAXml+HkUaocvNJb0S7V1LRJtia3jW7ijeKyJRQiOU9g1vz4ItBSubztsjQq1onqHsCBJWJgSCfKp/hgvKviWMUEkca/Duv+mC8ZDMsXxmVF+FK1HcTN6bcukXVZ0oPmyIIv7kxGV52tjDK/NJ1I8nZIXL+7t+WHKmE/pizjK3+uPT9F6iik4jnEyGfO3SYUDGtmmRFoDmpm10aosArk+ndbqfxUcrmFRys0zsYXOp2XNhH88wqTpABvOccODjz4i2ZCV29XIIVaiD2nBsMSajTCgdEMHqduUycPWll89AnQHZYHiDUdNiOu3YWE+7me7kv/JfxeXW12HW6T8m3lQ8mnrCfmFh+8eqIvEyIWoJP5gzT37EcXzAOWswVNozM5pIqPfXzJf1MC7niErNJgqJiydsXHipp18y2Dc5XYWo13wGXcHDge2wV5+483t082NHioV3MGhcX8KmIP+VH1CU78CaRjKzUF72KX/YrD0ElLTmPtpFJiEsM2Eppxe+oOwMvYgln1sPzvNtZ7VNwvuYag8e5GbdUbOMjsEs89Wgk7El+Qo/KPu1fUNZNb0uLqVKIm85UxRGivlPYNNzp6du3jX/PV3+JO4fzPgDGm/e8wqoUSF/rBDmWnodFzjYZQeJekhLSrpmxlXF+/3Qs1BElQvUeB7UdvnHVr/PG7XNuUKvTIVMRb2S9wBrHXSohY3RaTGgfRdWQ6mxEYB3SBSNVu1cbweWdbBJJYrcCRMAwuQSCxG7UjYR4D8KdP0HgdRDJhwN+t8xADc7LwqJOqag1NyuiEPc1+lQChJsPDmMZYlvvHnzaGCAlsLn0iTeMWZdl3rtL3EMqze2cBWqMF2uALfpXopLboLJRzrD0oCPTGWdjJOeYCryUCav3MHchyKaN123NhqyJmZcP0ftmharO6AWOUpt87AsL9YP69Z4HiyCcUhGkUHob4E3faxGO2Q+Wswxy3F1WOkbdo6lCSmHfFXBBG9XuhzflfIeKJo/lQi4j8vplUcSYQyproeY7LnEtjrw/s3Ln9jU5gseFyO9bgAzcNi7hnfXBzIB/7tiDCG84h0hU9T1XwYKKw2LR0D9Wy+1UhIBrsN12Y1y3KCY4h1+Rg+7m2qYbsZwJe3XpPDHLDoB+/A9xFXTrcU36i4DY78cfEZ2fbhUIAx0SypvBmqgSEuF5vuQLK/EOVW/e4eoxBwiYLTfWn3RLno+xpWK1Ms22mLeOwukXW3KMZV1e5uHXJEdyOm+W52vixlREg6XIp8jzb0JTqSE0Pkm5vC8TB0+0uVtl0Rt45QWImQLygZto1fW2B3CHCB1UtlwSqVtGH+5z4lcwqjp6jlvjBMgxswqlzLsBizCimlpMdLVM9KjGviEajuVtQJ8w+Lxw8AKfEDNTNWIoS/qEIKFUBm6IlnCMFEHE9uVHbD6cL9Nk4hRQQ9YDMfBN9IqBWVbpiTVXkJJnChbGtgFDY0HKVroFk1hVXiOe9WOOrTLUJWHUdBPbT9LS8FgA1qbPO4SldmodCQUdm10yXOwT5dJmmzCsvQ7srxJuIvQkZxgxMrLpgtWPLHCqCld842gUAxTSRzo8BkCS5ECCeMq2OcViLjf7mHg8NflJnlgtc8RJiSuPYSgv4jZM4FYJ3znRWobD8jTGJtAjh31Tdq+M1V7mlR1wKpQTeMQSVgzb2jjOgXh2Wbb0j+4lEzKYcng9r5QcGa90V6IuXJzE/8aD+EaLA0sPPnfZUQGlvpRhljtZxz3Pp6DfiTcYLmXwex3iSBpBIjxWm9uamMfXNjsH9GkQVu7imEMZDBY+01el3pH4tEK13On7UVugT9HeKPHyb+74dDuuRg8eCIVXUIcN+426JkOtwP7+k1eRroRUrMsx1iiW3DkwqoeTzTNQYZArUQPbR6QlDsK/3UEYPbgOCILvqNZanMGoVe8Oq109TbV6lPJ9kgsT2+FbAHL8qwMsqU5zbv0Wzv5itpVtd9bZ8DAqyAsWNUrMY9l+VWHQI4QlZTLp8wIubWZW+GmoE25bDETDGBjFX15jAtgsDaJFtH5o052XpmNqyRw39beZi/I5tQyMO/ZzlwSrzEwuvIzKax4YrYgSVr9FKVtEOWJePVa3Sw3WERew5MKzHWZoXlYMp+Xh0E1Aq+nTNWholsKLDL5IXECRn03Av8ZGImbGmvLKSMyv4vaQvoW62XXErnF741YShnk292TsE7a+ZsrsomQ8ZTmWe1lU30S5m0foGu25knvKW9/70SAC+g80OsPWo3e8X9/3/sG5EiwGahjTU2S/Lvo66lKnS+ugYaJ787saWGDOUuOUw0JpBHxa3PuL1XZpE7p1w2yhCpyeNRPNeayY0a7FoZkv3GNei/hni5nlvzZIcM1Sz9cm7uhj3UNsG8cjz2uSRgGmZcO6YVLHiVPgs1iyZrbdo4SdpddM1n1ThunvnKD0DkUOIm/UaFFl1drtBF3mSbhkbp6I8aaBy4iL8GGLWU/V7qq61SGz7juJ9zXH4ZW8rJAPJQ8G1AFyv8Rf7GwkRcd5YkWerVgZJE/odaI9mL1P4DhOiE2NsCF7zD2kc0J9qSxk+VdTyGfan+53rrLWO9lAJokqOFjlJDsrU9DNkTNSwuBLgIws1J4XaTft+b1GHxEMHAagv6TyHFvz9vJer78ntKoOCgJV9J/BXqvE+yQFN32t5ihu+/HjHWXmdF3qsZyV3F5fgvy3vAFyx0DERm1SeM1SIi8QDlau3/FTdtCB3uzTEsCD/uYotGaSWjSwhwc+0OHZb1/lP9oDP+Yt52yNBlq34ygWiV8XokKcmMg0GyL5wrQtyzh0mBfcRwk1H9ec9bkw44gLqfmQcZckNDMYSFvwsfRa+eRXItw+EGz32xCiPoaRFigXpb17e2eQJIhcGGmeGBXmSv/+7jcld0yCj/ehudLZXziHU38y138c2Zr5LAGaC5UsxTYAZU6mICk0pNDJwIGF8JHE5Y2+Vs2/wZfdmCuI5v85u+AF3T0DL84jxRcY4hTeNMY43j/ydErNFrdOwxE5qCk1SQ/vEnwmKlmKbY8toO9vesMWM5Bc8OZaRVvc/b7taFI2Sg/oPBPHTroXjwuFfXTpI7LhS/hvGqxnf5p9BFBjG2AVYsRLJdr+XmZVhxrrcDtsoFmums7aZMkYEgd0yi/HlkU8tLdy3SiiOZ+SWlIiZHRjw0dkjzu+9zBhh8qQL3tkbNhDOH7bzf/swmyvo12RPLhIlZm0cHox4Y7r8/XToaxgA5zcYb8nHIeyY0R8cWnVuwdLrIA+FbtWhXtx7xp4nO0A02x2/99O0N5lRaEE/1zKUGu+40bagNQ6qTtK7m6Ma8/4L2p2YcJU7vraR/LB7b7K0e2hlE76jycSudKDHwO9MGQA2PZMQrOFTJqTWjNW4tlS32TjH0f5LtrWVdMwbspIJUc9u91WoZFW2VLm1fUBfqmK6xKcVIi4aq2sqVHo8HJpP+5q0g6sfgBEjdrxGQLAMnmM0xdWwkUSnrNtq1m9lSjZwnxDF3F5ZOMrCTIOOQbNuCKvkPg8BNSc5s8i1ZrsuX4sJCnCicUre5Q4j+UgRIKNKTXhAXD8shXoVLcNPmUnW5C3rPB+rbujTBq80fuGNWVdITZKlI94sDF3LMkLh0Oy8tDOi6ixmmDRnodQpTnm684cweuFGVG617Ln8V/aM/xFtfPLgApdfHbLJmOpTBZsg7GxknNpmHhcPCSG4skgn+leKe905W4+R27QQCIaRRT2s3l7IszyazZ9M4mtWeytzQjrQPkVtIgXEQl6vP/4NQgL2ce0eXAicMT6AyMJPdB2w3LY26wxFXgtYubiJO5HOiJO8KEXoldQYcyzz6tv3IyGDTeabz7/c5ti6hTk7h8eVuJOx4WIpvSqJh6q28ThLSD9aesddsGLOd4CpExTXZKozWjk/Jev2zBteHPgK0F7x7eJK1UMqoDBZWdWBXu8B6mtpYg49WMhMmdI74jG76j5E/S/Qbd58mqu3yJQ6QAI+R1d3nGb6tr7EE63tbnlAAYutR/bfyzddhYImtQdFybiLUEkOSYeGM9b7IsdxgnaTj/P5ljszyJkWcouP684gh7yZBPCRPQPzMxCL90S9sBcfNZDk4gzRbWfIQTNe+gW3DKmNvpgkzG7MIe5PQC+7m25FAUjwHFAGyeUWgxVN4caF0TtkOvaGnoAx6YI0M/mK3kgE0vzQThcjBP8BkAnnWISLg3KT9KEC4hAZLxwFhzRvCMYDFHj4fnwdlXXWrYuWQZ24y4b4l+D0ovLavRNu076BNDbMS8d8tztsWz0l4OyOx7dzkz2P0waOdEZU9TNyzUBAMMXhuB1iWg+cA2cjEe9AI3XYGnU1uGBuONZ+fJ3T8QZUWqkS4Wkj9qWgNQzLkicE+B3hOLj6eUQ2t1MQLfM/lik009B/SMg16RSRMzJ2s5ppbdd1wBYRINB8Q39rPOUXn/BFXkb4GZtKePPHSEvsI1brFyCcyktzkXqEXBcxv91BW7vC+sf1EiSLlZF4JvSXyC5VUtbKjASoM+3EjeIXHs8xICs//wnsv2IfXrw543nDO7MyeyeELzruz3xmhKvEEvPqAlvCi9zB15vXawwHwdMV+VGsTowFM6PzAOoB88Yzu/NhdjMHcvR2ak6N3bH7tDoUUlAv3/lRucVFOSrwulHZEvv4PQ9wUGfzBi/7EjfGeY6K1C/PYGrunlftiJHfz2XANGfIw/U1RjwPxp4szxVzGWtlqkJNNwFRMOJB8CUru7Q7wmnVmAqya3y6mDaDtxAZj64XKzvo2E9uiaUpPYMFSEsohm88de24VTQI2ZkU2LiHETCTatKQZTmTlmUfjDdeXF6bNm7AM6ghNSTOcsMV9eZZxJ7K+AVWRRUG8G8dTL9dwHB49zWuVjGHLmpRznCl6+vkSQrdKN+bJ32uBCtqQcEXATsiweDGh4DJ4QWzXe79DVcvRCp8fgQXMbJJa/+WuW12pnm5AR0l6kbfmwgorGMqkw1ydZnqXSR4iRRWB1isvMnJ+eRPWAlWZd6rYzyPPKeiw+7oBeXM5QAXYlip8n17rf0zwpfQr6e1025099RaTHX7RB24h3cpTQuD2SNEMdWKh9bGT2e0s7iu8dDJ1yAy8+g/p8yL7G4H+jHD1MSjW3txdMC7SffYC4stO+VIx/rrBDKlahOSmoKQX9+trBSghZ1MpettZ4KZ9WA+eMEOUz60C/c08onZeUujHSUVrKaVFgAORMpGvBUtqH33huGhQk+o/oj4zBbVFum2Mh+hpfPvv+Ee71RTK11qIjWlbKyltEZ26xf6PKy7qpIVrSJD1riG/VuwkTcJv8usDcWaI8G2Y6dlmzPqACOYSC+51enwgN0V+dfx3GxvMpJQWqEs0B4PMyzIZDL2JRl43Q+jj2L5X29fJ0zk+pDvtniZC35FEcwVvS/u2W4uyinjQ22cjfmtZgqw0uExBGMViEZKuCJXMN8mgNoadqBfPUBO1XdV5D3kr9P57YX5p+Zf7d0fJYv9n2X6vpnc5+fQoNbjVZEDDMJJMaWaSCPwAHMPdDUECGVmkr8X+KuRr6F0irvp+kZGckJHhIJrN1hDU0J3gUL2tH5BXfbMveJWGIx21UaeSYcSkZGzYMzjg36xbg3bSMar+02hZA0l5HERsXYFHb+JfuLrGUYNswO7caTeJmoRHPj2DpcmY6ZF8iqWdDt+uprhCJFX1Mov2zJI3LeyvPDCqkp4facgBu7hdW2aAnDJLwKVpk+wB7fFiYYDku5O9aLMsmUlvSb2+dTvoCRhEho+0HCEZWOiXWJr8F4HerRL9DP+ql5gXHunJLLGeDf+DrQ9NvFIfPYNJyuPqRdo/OAPKjTvzOMtWE/PJjuPtibdyEc+fY/qoMoITwP8DZ2XdWjKcfHTEkeHBJN1TbtVp/IzKgeSAs+E3rH8m1L51Wb0MtlDQRii6a8og1+P4vaFuva8EpmJYG/D2SAIiPlFNxe+92RYmdFviaSnW4cQRpZ+s08z6hx4Jt/XNMWjndBBYLKSi1mdpUrAk8dWGTqffX9oNV6mnAqfWVmVh7z6VisJ5vWdgESGT25bSNnZxP/KubWzKNlUmi25NOM7djvK3kDDvbo6txrQyGqzFpFJSP7nKP45IofegISWZM6YjVuFcQI+hhx1oi1ytkie9yYjdCwOD8nDjKMkkJjOV+YiZNaIkG+waDkCPCzCIM3P6X77EmRwJxkJVl6kv15CNcBYA8cI28+LHCcAG6CUTDVYbPMHBUb8pHGBKro8qY2c8AOVDDwZe/P0z9osAsZNAeI3VLXbobnyzKP0fK2LWTBQ1Ylo+2+NICx5bUiVN/LQoV1GpdPV8s+qRk/1kfZz5YmleEzeLG477GEDo9Rr/Svfb9o9P3PYv52WusK9As1xPekFkarY/yaNZT+C9iWIjx85y3fBnkLzqHcOilgYJg2QredBTVw5JGeM2UtO9KPdt3lft3O5S/j/lReUyekK8lADEOWSn85cxNGFrA43IECTSJZewcn38tAwBRJ2PYc/qWQ5cl1xSj35xniHBqz3ZaXibpF+LZLs4B8phW7k51SyZgHTqTsQUu7sd0Ws2W60o/m3uMWMPm01FG/d7gpz0QqgoI+YynbPk937DzK3BGClf1yg7vCOXXD3eW2oG0PeeBvcaT5KW6pplb4w1xO7HzogMoldCMOH7V+xWneltidIOLHXsU2g+Q51xP6LtTNJsO75skdMb4WaTg4AW5faVbMwNB0E+bRH0e7DJycNU1ISlSvi4HMPfk/HewG/ilPhm7P2FF7zERG1VklYvU4xQpKwXfwjeclhbc6bA2vbEHnYWNI1BELBX4FN7ufzBvxKSaq9Mfx4Us6PKkYhDBVnlrWGsLf//lbMCDiLomi6aAeTaLeDoFvz7dAK5GthHdWdDxtLRTGdSw3MWdH7qBX08Po4rKNsqrAGYgigmStEVOXzGjS+y/WaT4/MTff/XtEZL0+FSpX3TzgBx+K/0VLcpNlVsMxU+QJdKF9kWYslQv1gqmQncKQ85N+3vKdZYy5iAY1bJyzhcJz1692RE8FRoIcR48RjY3TTSlskV5c20QjIZ+29hnX5ZVXX43gVHUitZBf86EE5A2UAF8AV/PMvMVI8cH5caIRI/Tohxya/ay/PyXd+NJqpKIIadi+wX0+HNLXp/LVMwIrjMM0E9pFuFXI61NL2ECObNKRg+KMaxVjnC/0NwoILqcTiEv6Lmd1qAfXkv+bJ51m2ASr60/tHctofeVFBOsTqQy56hX+EH5X0aHlfheitzZ88QSWzVp5SKVYwJFR5xUy6nRNG6GTkqN+mUMML3Ncp/iW/eFffVx3+ZW9YbO8dojAFyFip7QCHIoh/i7knDwNr4ULCzeabQ+IjSzOkTemj5wJSyy+r9KFNpQZLh9o/5jxaG07YOX/j2+A8c9a36fGyBl3ctWErZkBCA8PAX6UMoHaSQS270s0JwLhvmjeAzKysG/jyzOdD07IweLdrejFMGnHyhgPxyqmXUODqVuJ1HSbkRN4LcfLNRSLIeQfTUPVRw8gji3efW6yRk3TB0TPNvY6zZd3s0wNuGXfJnPHAS1pZ8B94jEYyilZOCbWffp/+hruL2rr+XIBPkeSYHsLnH+9bkc0kH8POzMJWtVrpvY1Lt8sbH6bW51Le1GcLFFIn9gdOPygdXmyau8ApLTPDd7DnUAw8iDDMV0ESQrStd16v375DfMGXKerKs9cfLSxFsuHyp52310m4H3WI+WoP1Y/1E8hl4bgGW3LRlgamRm2cLPGSvBzqO6+NuUalBYe4w+ETisjHI+7gxdpwoheIRw0Ic8OppiJakOp3eNwKv01Vv4uLn28T49Sldz/qZFUWOXZwW3xnf9knGqgpZaEGs6emBt4qllfGauGnGKYRwUVTkqBSU0OlQkSUZGjinWNWOFKoQ9OFG0ZSHY3oZWfcXTbhTpMAjCsIMO2pJlmH//rmtWF9Yg9SDKpT+wBAnk9fuo8o0z8REdQGkI8smF92VVPQVOolXIPZpG5s/sZVxts/vjw/BukAK+fLfFbigdx5BNJngm8Pm+E8ssfCuK+y4tLh5MDtgqarGN/knIPACNbjt3V7hd7DALlF6MLkmJGytfdr+Kwxurz3GmXrjkdUonyERm3c6DCHFDR1U9TRFo4eP2tZS58Ag7jv8oQuxeCMudDAtjeslX1qv6gOYlm1eO33RjVh/29U6zuHLxu1TMizwoV55F1vwwkUuvNzhNmvld28TciNDQaB9MgB0KEOiqrc1Dva9jrvqHlYqSykdDjrhXHwJrX/Q8RLcyjukRMoHhmcFoCce2KmzJP3VNZ5eaiBODr1EuxY1iP2pogLq7jfvX6BqLnh/qzRpl7lqUx1uhuLp8m9R/H2vZvzGOHonDFBC6w6TXmPW/uqpBsA7wQPkYnJMCp2pGcTO5X9c61WA20PrGFM3NB+ExBjLIuJrbfTjEMktsvEvSZiFQnmMyzPErhettOwZG6WwtDphS9L8alBGl2OPqBERphgsMUUbVTLo1WRLjfw8QVzzTgrm2BcU4AvqXJq78VYPvCsjbAOEbaGLpdnu77wW0HP7znhlkI5S23k2B01A7yWxmmz7KW09KgW23CwgXhQro9fqakozAGg9j7EFrKDy2T1W4f8u5lF8fFP83b0XpF7YbW0y5zA4hSTWVXp+EGL/q39Jqo95li0GAoKNHP9GoGdkRq30/WH2FQXxE7pRuPAY80PZOAS+up6BmdcB88AhaH6AsAd54GxSg0gtOHI3ZT0dcMUFUbhFCI/byn2qWuHEOtu9+EiTawV5ge3kB2VnQoXve0jXtL4eIzavmrWdTe5k8rbVzBjpkgKj374Y2RcCfKR5brIrbdMlwdi61S2VMKG+66v4yqV6M9pXADjb5rq7sG7B30pOG671pWvrxh9jAo/fTaowvip8K07VceeVd4bxFj2YvLeyKZGhwlFUalOwLAuGlnzWEBZHq/emevicsKI1IRmKspyEB2sM+SC9H9Uyfo751nYsoGlzHBDAcS/M244B+un3CT8C52OwNtywBdFfpXQI8L2zXS9R3bM2UixbLI/flxVTEbSAL4XXeBMHEybwcRSVD3uSK0dKXe4nxSAPDc/SB6NnNiafycIgioRb/TZ6hsBQkyJNRzWFSaVmDT6mSxh4uVvZ8z+W86frGekq5umgTixBtrvPEyz+6V2OwVXogGpKaemn4T77eKgCy0oIEJl6aQXIjqvz/aQJHXvFIqtP8Yks588xnsqjLCxrQvHaNhBC5uzV/IKhDSm4TUQSo42V1Pv7TlmEzXjruaUoyqGsMp2SMzVyWmjLy+eK1HGxfbNnRM43hnoA05xLRqFSioOBJpGbcWKS1MvrSJ8mB8YgRuQCupEpMkVyge76Sc/8Zmak5Ku8Lq/8tHIBOnpS2hzWJfklh62j/6eozjEgxQxU2RorfDElzHXFFgcnxDmm9rg43+mqQrXgQY/kdZjOAI2sraji65mopr953zeUgwzFhvDlgB+ifl7MxChJeWNQ7V8hCfj0QW0TMb53Jg/BaAkrbznqpBoYg2OeKqjzuk0wVdgnaMklUXBL76jdYQT+kL9TFPe7rLBSnkkE5yYhkUl5JhAJEHPBrccFdyXqcVqTC+h5EOqR+tBKIRY+sbQxCwCFEQ4GkvtxIyAX3X60UTN8+3SK1wHX5K/Wz92rXlDVahoeFtuULzK3YDcM74o9b7RQTWH8o9mZGr0m07Gv1NXHstcdN8PACDqqjngwM0tYHN1O7Rx0qne6rVYEAkl/iUv4bg6Ps8XWjptUh7dJ1WXlq9V2uv7IqM6nWFYyMFUD3g3mx3FJiCZIbt4WcK1IZw9nWvBG6gsGvs8Hqk09lKe15cGyFuGJv5BQCa0GgAfam00K7NuiLtGpxkZL3qYCGhppzJTLGmniVvJ31raB2/8unLkH2hToMsSinqtN7HPYKst+0lna7eMjjCcUm4n5slghJ6wzOykyOT16u+JCajt2x5RN7AJ530PX7AnOQiVllD/LCZufJ2yHr8DGJk31702l1u3vOMK+uaeRuXOEh3+qVwo/ZBOzx9g9FyMeXyaTbcvTnyEKD66I+gyioLGuKkA606+/dhguqYq7O1XzBCn3RiCMFZRBhR7Xc8ed3FpIMlksMvs764+Cd4lZ3QFopRD67F3aMRPf4j4z1qR1yBiOwAcVr91PShI76XWw0MO6Kfvzr6t8+nOqMxPSL4mCUJyUqSkK/keZ5eD3cS5ixspIbRsGYDjed7+sARTlLZnR9/NRTrffhGfBIDDu+MVpFc0HgEmnUYowbBa1cV2IBER/3/zqZFlwC5KJj2a1hEg+6J72jIbddvLoC7Mt4FwvnX8bEafARBX3Qjy1np6LQhZz91yuVZXFCL0OMtUzFrVSHNhaSDrsDghHVUIFfAv67Hio9grRQ3bqIdcqK0D/XzdqgzP9jnlqT+Pi6zjjop6LkS1XByehunX6OQyL8I1QpeD2NW853Q9i+R4SemiCJdJCyATh2KTwt25cm/qBiWiHZMeBM8Huegs7ZNgmjCpyeJmFMoJ1Jc393mIcStLHtmU2TZagapZRHV3C3dQK//BcLi+fmYEjQS8VDzXqiFUKn43Ad4Z3TSrc/HdiNgK3C7OMQmBPBwlvotW5TFlfmeABfj3ByhxYzkJIBM0Gbtt8KG343CtqWwB6utus1tc0qi4BnTQV8FDlDPw7WWEw5Pobx7H6GSSeuM/VxZEBvXXB6KP73Af40rInwQm1+4oxWFxFh1zC7ttfHAbib4qpmuyBNCXobwhFgKLjDET+SBDnjQZedxxC29TctA+QLUK59yznZZvPq0T4uMA6HpAsOm58ZrOb+HocbVjA/MrPkrWNK12fNTxFvCIfhZ+T9xIOoV/xX7c2twEXS6uk6NyOyME1+EplMPM5eyFEcmhd2/ZWSma4Sxj0+vSvNQ2w3wuVTjABA2N+IhS3Jr7lQJPN1Ri99ykTitM5cQDGwaJc8bR0BXR0itXSfmVBQCADP43RBbe9JQiyAowiWCNyQHs6vg8612bGpIXnLJea7IHhhgamRU+mFZ8lDjFedd6QtZ3jod42FqtvMRdKN4us1SrBSJ3NVRYS8BjOOcrQralaJQDQsIVKHDXmVhXu1rsnCD3f1jLHvnG2r6su17pv+LhztVTuFtebuC3HWblwDWtVHfW1kC4g9WcmzNCTvaXrj7tHtnXElWFSZPFtmXQvmyw2uX+MCOC6QjQeUL+BhJwTZC+lvyhHu43elBEujAzQM11t/ocIk02Ud9ZLf+JbnFnkB+PJrPY1bXXedCP2vvmjJsXmkiPC5uXeImZ42M2m0mlqk0K63H9hEwf9E9kk/tezHhu1cdLSRbL/A9S/c1ZnJnf8I5/wDzL+ylHFWchxMeY+e73qGpfXiI42u3VX+9tzwEDpL83tlw7gFV9lm6KiAlVZyFQXWIL2M7SWyTDH+xk/8ZDaOOmB/CikT4nar7XF4N4N4FZ5XfJamQtUSo6c1z2IjAwCkoZSUnZMLDldZwUTY1Suy2Y2tFBhfakYv0FuYLC/bgduNwZJNaHbt59ULmedAdU6jK64pq6T6esjBCyG3bndaQdzm+l9cUG9ZjG6upDaUHC0XfGLgnRU7Yo6HWJ3Q7P8m1dPCxd3EHCV1tJfvfABJY7s9+dxpZyr2+VoprL+cQyDAcinDbELO39xVZMuzhDyPJWeSshncKrUP45XnyQhfoBrC92LX9Pz5BNXfA0ysvUBFdf9g0KHoq8dIPw5jNIN/iqgsLVxElo5veBn/g1ooVX5sBy5R8WBeSdIklx5PEfhpoVkY5QHf0fMJXRdKl11cu3dpaHTcn+V3AHprfT9aEptKMsoKGYfRw59SbO0xiXYUgzy2e4884vzEqJMO04RY0Guyot6Thr4yLLBF2WOlNqzGrXtR6be2mOHpGw+WBBi2uP1dogCP7kJ7hQIUrfy6luLoQJZQX7yqfnQW3M+CtcoL91V+ZOnmlwPuk/41taaqOjoyIBE2hlfmAZNsumkqedLH2igSlnKBWxXRNtwW6BCqAsnyG5tnTGth4HJ8R8wFdhAL3ZkszqWbFtCAG2Q2/DRE5ggNE8FpohyF8rGrAUCxc+ZP2d8hGEAJa7C91eG+3NQrAi8wx5l8TmdD3knjh+xqC2CTDc3CF905r8UZRAn4RDebaUuvgjEofvuT5R0EIrmx6WSZYJ9YfvCEylr140iMR/6QJVao4gL88YHIjVy3Czqro+zZ3ZeTzkNAHRIcwWREalrvgmK9oXQDLJcmJ+E2Shx36oGPoNGBe2xH/Uj9uGsjc8Gq3Mf9XBVclT4x5C0Ganlnt35vZmezj8aKE+yk3UA/lGHmBnekaKHUFUfEt4DKJ3EjX1T4TYcT1/ozNHIdXi3nvcobeCsmXQYUUsyBfyk9scxg5Om2UNCRs5/uwc6iswXQBnKqZUVZZhv3BrWL9paD4Tog+nFdengEueiW5IVY2d6nexb/fgeShqM14gNXkKYRNrafF2blWWgDovAMMIup3g37/29Ibjeiron6o6rhnuBwNVCEHJO1t9toAMzqFnUS6tk4YpNPbyGfYhYigEbp/W05dkx6zqxMR5l4Bc4dBKCWBIE+k4lwRkdENw4YzQ7R+PYfrFMMfXa91u+NKjRXQJeMlriB7MLjZLadBY75fD7xSNfUrSScIKp32905QgkI63VOh2P88lWdJdqPVKx1SFeGwQmjKqVkpnysHSp8v0JHCBmsi3wCENCK7wuaV3wF6ie/KRXi1dgT0d58KrYHTYCayEzLBo7eEHpnXB04wcN/zRgVVBI2XRhZK3ynPP94pDspjNKUtkEKKUSANqrTz5cDRpYResruTQWcah1Hu83dxsEPnsjMfSYv37e6XREPh9HJRFIZU0+Tkn+By1UyKgIxSP1Xgoh8TGLhjE+uX4qgHkJkAJZAg60YE3H1s70rZyMLdPusGmo6huCVkKJeWaG8Kov7p8H1IB9G50efo5MwO2FhqBo4S/U5KlpVJl6E995VLIDjGMn2EJfOYOpyaBkI3ftmsgJE4KH5x6+apCSfpT8zS6h9XjmZupHcDAeXCqlBU0Z4Y5yuYD1ZGLVNQuAI/vX2RUf0mKYHx2ZihEBMwEyp1AOj6Q13R08PouD2zRexdbMuKtfP9mkksEYTy5LdM+J+UMucTasV+ZjCHSMzWrKtiLk2M1nE4+VtcVLpjnhQNq/QiNK2xARDtYhnBS71LS8PvjHFqxtiJUmYoGmXYUHHCXWtQ9MZUtDAFT638DLh08uNDnl4LTfin9e3pa/BaoDt69qTfIjI3qCrWETXYwcZXXrCRxYVTVlw+rA+MqYONIg1spMC2K3OxYtqRWky8VLCnrq2lZFbIs6/d4OrU9XPrWe5k+K2MlAn9t2DZUcmIqcvz+Yu6yOh1vHOBKd8qL6zw8lmkmPU3YVGUwLtWPKcGRO1oU/gJrmWvH10/W9pOOQGp3nwCdAUsM4tUFM1c5thiUL5RryU4dJtyywMlPlmYzYbV5HsO5k6LssV5KDTKu2ITefRsOHJPvg3aSbG/nFSq12WCW693LdTrYefHsajlbnfNhsli2xxs4xs+ZSOc5QrXLcrWIKktZJ89GLEPY7WDF4Tyq3mm4EZ9dUJCX/OwZ8Eb7dOgJzBWpRYNRyEJXFRbR32WakE58Y+M9k/yuGwoWg3Ce3tngAba9z2gs6P4A/pDEvk7l+xKEzmSthvg5ooKEyXcZ9smf78HPokoD4o+jxowSRQUgJrCdPuV305oMDnjH1JWSXpPF8lipJLa+86l+Ms61uETJB+InqslkPyCGfXJGn4YGD6oTAbnoFCQtXmNtqIX2ThXMmUTslhIQXTOhQCuHfX2JEzLzKcKYAaWNi18V6ZThDYafI6Md1FRm5A/yN2F+jNj+sDR+tzN9iOJKzLY2EtogKkGyLZCnqx5/e87PH9md5eoXlOjPDWxSdKfp1afNv/aGvLdaY+c/xSogCCcMJAUbCpmuXhLVEDEdH7SLkgr4FpexGDEjPOJ1yNHA9NgWa/keDZlXRiBHXX7AGANP9Ooxz6P6ZFAcA89oWtcVj8oqNSKNLiickVVUWU9faAGzPk5wevkTEVKnTaIjUOqN0b6My1MplSyH7cuTMxvXNSHXa2uZLWQGvAqN06XOTAG5OWVf0GdksdvCSgyToRL1LJPbkhjSga9AkhE3MW5mvmNyT8K4UC5dDWGX6KlEtNrfRO1+KWUCG7x4aul8k9zpSS6JKq+YErwioiNHIVdLQZ1TwqH4NBFwg3T0zYJOTbgcH3KqPbT4Tv+l2GATk61AMKdON3MDB2fgX45XChrUWLJ/Yh+mnNURi12p83+ExqmP8fBEYbcgWfxgJZ+4KAMxpu19oj8sl2pdEhWCGjZqAwdHEubxl6RQZP/qQ+XdTA7Ejw0Mwyae9Iftnm3d7e5pnViDJKyrNFAY43GoCPNtsi2+UwThH2riHbMuiw9y5GAhYkwC15CUMG2bhNZQID5E6h1lRuOCGV1Y624SN6St8QAg/4X6oEs3hqFlpwC96L4vF9hQgbCw7HiGJCJB8NY8VEd1EZEUZc/PiH2hZHCJ+4OeEa9TXVC+uTtTO26kV3POmMft/8kIjushFjhhoZA+4L7EMdAXY4PQET/gD1WMMhfTRM0IF6FY4/+/koDKzGgEWsL8yz0a7/dEKewGoXQOeqJH+/5+AT6h0gXwDXUAz2/sMrTdAlx5eO8Q3prEQuJScZ5GxxUmzovBv3aoyF/4oAZsoL6CL45OwfbZFO4H6Zr1LbAoqhwn5JMJCgRcneABoneaqTunEYL2sfh2ZBB7yxTd/gFUUn0xcA2zXMOuE34KKyUSbRyR9aRezsfUYnTLbuKQ0bYJUCVVTBuNOZbdwmnS9GoFZquJGH3hqtzKhpsHdPesa2oXEOUFCeblpTXnZ3iK19eS5EnRRRKojxiX5I2KNI8oLybGsGC0SLHSsd01Su+8VzFxI9vO/pE+WdMmFNfwnX7n+Xu05jcGS9PVoKTd0ZeupExvalSa2lQpEyug2R8KW6nybDPesxbK8AqeqSKgGjrnnZigA7lqR20/ppfGabse1U7qjL752PCoe4fcFVqM9EOTnUXaunVp1z6pKT+lLdq1AAIX7diXcNrwvzNrMX2Ub/HyKKIAuBMYCB3u4z31joWJ2dEcXnSUDWXrwQgK84IsfYvsjc8G38pR8cgUcoReGKCCG7mpv8dX1Tyz8iZHf2C9u7Rg7BzjS6dXHtIwoudYdjibD+Y2zxSqhTDKtT82j00kV7gpTd9OptqRk60xM+0wn48AUS/xtTB5FuvVFgzum0/9E5T1AdWaiplqhQYVIA7ESnoIPisV04/Arce4CUu40rpD8ZBU2NCb1f8tDEJvKU7EabIWCxueJUmVrYcTqGQd952Fq0nDGvk2NM9e0onCABhsEgFYfwFyEyxHICAN0rEay+RyljvzcT5XiZppzDZuELnjHTwcO9dSJ2fEY/0CyDt57hPyHMd77WAUoYDH1E+ETlPcTdMhzPF/CNCxAWvs4Ex9WpaURQCOr8TvSuUW0zOlcjra8aVZj17ORwblSm5vEbEglEGPckFNd8Bw/Z3wRQvyslkPiKGrsTsF8uo9G6J3tRTKRU/X373AXB44SmKO2gHgEB/sHY5dR+YTZgW4v+BVJ8R0WIKDdkic76AMcUVUnLn6K10M2yRhlhli2TUuVSkiNbKAPSzd2wohXkkgMcp4yxCjTgf/x7gIwzrptLQ+eDu8CNGJJVxFFg/kTcz61wyc3JXA0BsnFHClLHlO3p4SzIt5lMATcO9xd2RlyEtAIiZDgqkQU/Y0+ku+mgmk81HJXqZj6XyyAzcfAL+Ow29qYT6BTosf/ERq99R3Phc4fFK0K2IcghYuZqiXs7TDfE7zZlp8oRZIWjsHR4CBlIEkRBroLEkAwJaKSPAhTfJ/niaK6vJ4rDYrIwA6d0oFzBbgo/5q/1krL+KVe6GBbmu6z1D++qtgHI+CxwBtesLJSF7d+bzDosrYWWF61nT29Pzlvq3u2e9TZYO1ubq5siKntleb7hRtSbAG2yO5OwRyPub7uKRhNY2hd37hI41mcaXooFJXkNoR3gA8dpKMI60LvEBHY6jtJAHJDS6CH8uAickEBR83xnjNoq+NdXYo6eciJFLSqXG1XdTCVOj+mwy02roALcCzkcng+mLfWjcj95uVinCpEAgQMyWjw7SmPyufvMBRGm9vF0SjM3Dis6W08JEaZ3F4IbVidovmnmpVd4nbOce2g5BRhzBwgXifMdfWrScfiVeZyr5jLLFYdlwRip4n9FaH6KZswVqgruM1XS5wuGYSUgcW5H/okFrXxdtDvClVC7dzp4s5Vs9+xPSWPvqqSXU/5MxQN0Q1EDxaWxOO/N8DqgXECQF3DLFM4f/S0z21Hj8qSFp4jqCydfCtbWOzFL6wiwLV7ZdYlo/jfYu/Wd//F8/R63hyJz8LGx4VwP2+le+7x/A9ED98kxJlmt7Uu46+f3L/Eqk6fJucQH5tpuv3TcNotVZdt9+dk4HaE6566IsanQXcbXIoShpt8LwxPZEA8Tc6ls8Gu/ODwYY3iQuHrtVoyJFfjB9TyK1dThTwQCP1ApjYfZ1ufKnWjqAaxTrYLZXSKkuu9XJK8yXt/BG/mOOx8thmRsdIBCELelJatbJ2gdJ5bBa8of2ubIcW1vqIyH8QDpA0X1790ICDB4rcCZnLI33Zi7RzrELYQQc1TIotcLTjO7aooXI6BRgHFXCGI+c6jDeZMKFRNTofJXT5QBu0QEKBs53pt6Lr9Vn9KGNFCoheSuIbs+M4ijvchaRWYq5/+6saDEdd8aNnMGvzhZwg0SqdAg9h9bFz1eutSwHz8Ka1nWVkjPMQ9/nz6EGVYc0LpXNBdAa6iZ6YbNPoE4bVjFMxzs7qrri/7rdL5nu1UFQbIg/3hPQgskPZHdTbskZyq48iwA38cDB7vZZT/dmN2bD8dYUNAThlGCseDDVeY8yFhcwbP+CnbilM1xBW+F2Md3L/2+1+buSElN65KdWV47hIDmJ8LgB92hX9KC18Zg9rQUxU308JSRfRZ8jBGSNb1GoEvYRGvcDuhT/Hb7y0XeIhf9V84hFEOyA2lFf+euenhxZDOlWyjafaz3XyAFoNijoLtROeodQ4z1DOytd5IbgFRmHKMd5qC8qiQ0lwWwc1eyzDaMCfX41kkQvdwSUahZkXgIkRuJ6EktjYuYPr1HBNwnJgF/CD33F1GLy8zx8ya0M7r3vmM++ujs1ED12l3BXG+6fp1WHxPmb2jLkOcWOgDZG8TIDoRUESH2xrFT4VJKmGHJpwhB5+TRDzIRa2dygPMV0xvaEIO7i0lVIU5ubbZlAbJ1wWCclsOAgVfe/9+haHvVLgLjtc6fe0V16BKME7ZHve6J/s/rmvg+8U3UtvfmTFa4LJo1+zOHRCqP/MWIlExj4jtHHMNAipKOZ2cvMJeWKAftZhaJ1NHjJlXnSP7uEaZuj8VOJ2oeC1etAcb3V0ySyf1PMZwA8u4dub5/APdTr0ykB2xb0WSuHCU6HMG/dzRFMinJjzwO5tUmqcznslRq3RCnW4y+Vp4rftCQWSXnioT+zZk1/v+s8XZ7lLeK2wLVz8FLUKRvozOSkqLQ4JlHLIoehPpZrjXH/RV2lnUUKQdVoeG/3QjhhYbULMtbn4LNWOt0TskOraHb91kf7//WcpQIOT74geTHa1LCnzDq7F2j3nhRVbray64L1BqeCaH0Ycfy9ZfuoU7PsH5CerFBREHygKDkSsaqeJRZHIMAPqpz2ATi3nzB6DROIzE+TwnfOlc5/WxBHf6HJmRcJaEyLFDsl0GsEXcTLQeROUk5rEygpOD7nYbNARGLDANlsdNXxKRNoM3B2zfM3ESKI/cR2VvytJS425SachhG8Xb0+twhAjhZ6Y3ra2OPfMyQkG/VDWI0B3Fy2Azt7Fyv8bIjFGHRwFh4kDCHUgh0YQ7OUKiejHcdzu4wokemgI6jvi73NakMY/43mopLKwu5QYHQs1Em3txMUVQUNMsenxuUT37KCP3WveCqrlJbs9GITxnlZo9VvewkuD75wcB33aCiESeAZIlfdkmhxSx0mAmbia1ytmsvppmF3RTQVBrNM1RkaA//gnjlshkmrrKasyzNPek1hamneu0uXbeeRke70PTtaJTVxZLimuNAPEf6NH1plcT1Li7Mo+DWS5vb9dNj3D3lQ8qGshvviuG7eKccVf7q4An4WB76kTdAghG6ReVS/XSbp12p3R+TXW0rH/i7mhYIP4+HWjpTfMIM1//NLfkfzkHTk/bsXwqMXNm+XyrBXqa+5ygRnJPx5eyZMjLA5wh8JP9o7akjLoCuYrWhuzygfHK3wDWjqYypaJ8LfZBlLS8MXJ6FK+uHtZ21n5Qazn8QE6OkpGoPY25MMCmZPdjZeRm3DxsJSEe79xG78nl117j1mpVPCOk20oA0ZGrWmw3FfwSurdMGWM1pnrtzelekE4ds25XzfQgae3liNi6veS6p4D4VqVigoE8+8C3PFkK+3HHkg1u/4h7P819BHGgSlm9wjZUcV8XMRkzAGS7sXOoGdYeFwb4Pb/u6C9jkMYlBe8+ccfWwoMUNmN4Gw/9RZQFbNNWNblZhDwDYLpA+CRAJY/yeQMN3nioCr++b03vabB4iBMI6TOr48XW9j5PKNFvSEkvraKtgIonzMAt8B6u7U4VUlAN3E19ZgvK626bGCYispyvJ4oxrgb7e48uXD53Hoe6G3hB/uU0ssiKjngNhwyV2sw8xI+8o9bUxiLwa5DuQehdQpziAwm0XD1qDZwjWZm6lXiygRQge2ED3v7tj7STMdzfDfJjKSuBBo0PNfOl1lHmw1LCYNBCQuE5PKHMs4yTmb8A1VyRV0lKl6GcOPeZNMsTb1P/fIhBMcGPGXICU/6I+T3UXr9qEh4NwbDUNt/vVo2LOtQ7n1sJDjB3yX341GnRcRNCDv70NLlWkQSydSN5rvS7QRZr6ffTznoPPtP4xYfR6rs1l5CMvDtiqvGum09apcNpSV4P8JbjeHq4LIBtmurXzzm0dAn3QozGFER6ap/wR663N4OlFoY+uOEyVDMvIumqK4WbxRkzDQfFYQHgiZTyc22tWJv1C7MXUyNmtNKvskffrBQdHFGx09QzQlnF5vcmlDUiWf8PV2UlsiiHlfhkoghn4znDosEbKIcTngt9WN2xjPUd6Sl9Xmn+oR33RzN7CXe7pTL3aX6MmSDIhuu3fxbRwjVJg5YeWdo6BNhFenC5t5xEUtYI+sGjuitqPc//HjKXR4VyiW6dRl3I+WN18oDwRk0zqhYCQHfHtTJuN3nGFfy/F8e5fbHfV1LwyQfBJM8tlyd+PSO6vq6JOkQNIpkvgdhurKZisD+NH0S4C8XIZqd7wI6He6EI0cMwE7oK8M5oee7DKWvxywlQdW/aac4kk7zMnJwj7mxH2pJRtXRznE/X05+SEQiMaHHTIgqu/vYP+p3SQGCBm0tu6xr1GAHWwbwM7CNksEEyoj0NAv6TOncD7a65Jal+7lSYgZ5I4woEjkA1hJEjzk4GMOiwC0Jmux9dRBSMuAW5RJ4P+mmi8f/69IYyAHY4I24Gx8IoFuiE5yetptgmg/X09cmHNfYHFeGJTNVXug2TCsTXXe3qT7PzQd/bqlriXf5NBCHRz70/30HRpFz8TT3U/sDheMHirPoSGlqCsSiRSx8SOXEo/m+bhk/LF7wnPHyEdbimmW9lHjTVjpTS4KD+wdi39tAapWT3KdwnYf9X32F+0+vpwUXdUTgsWiJATqmLyi4pB6azdHUicNbvtmMB/mJmQPKnCHyXGlWhhfqgR4w8juERfwFV4i+csihwKOnseH2UezFgy86hZp7TM+yLvuNw4Fxr+2FvhWidxMrSoPDHm8x1rk5A8WtXVFIvrp3qXdQjMtIp1ze039NfS+8TTMphOiSj0UvJnju3Jp8K0lu/AJn2MMUH2NSrrBtTmefgvvlB7i0FK5cg24R7tzwpGnChRU6ZBfP6e8IfJfQC0eGwcrZmc6UOKLbGnsJnJnvzKEZ0BP8YOC/GHclcHUIVtBH7v+bEMD9QNSelKZq/bfFYW2XY1bFzAOZsa480d5G7JNCu/1DD956UA3uvvr+k4oFd0uGLRHSxnIsVKqpkHi6SDDqi3tuCvTVPV1TJYQu3tTULGAXuH8RcR07UfAwWqbVwRDSEMb0Cil860Dhi/gA6iK4LgBfkgkY7/4nfeeVTNJpivEY/3lRSxbLaj/f6N5QJ11rdICcyRA9cZ58tabQ14q2FWD0kkDv5pi2ROuje8W4AkkaHPx+/9IHNKlUCAqEjvpU5vrxOxT03ftjG+pDlWAeLLNNvSDHwc4LG7BDucb/X6O3ojuqKsg/vOxcjP2LoJn6RnaloApRuszt4goa7T4lwRT0zUVcsir8K0L0OVCbUyb4zgcXSyj51HVAXMiGF3Y0UBwMccqxsfm/1kJCKvMCWJrYJl1qgYTiTxxN+Gi/5kxJ/+foNub4mnVZhE64lf/JsvlEXhH3jn61RZSFKvNVEl2R2v8dKo/siF1oEdKYPHXFo0o0zfjVR6S3BWvYwzbNgGrHOG9mUx3sVsZT1tZTpc/Tz7BlRDj3NBxrBC0Xr9QWs/legP7W5lCsQ3uR/l2xtHvDRQIKDh1yqtqomrj+MyLxY9BIsaC/JDHkIOF4E8bG/0kO+M6jTPuCxiju7iwvtosYH3uZYaXs+e09zNzm9pGbxEoI1wwfFBwrwGg/fZL4FbA5UJEefq1wBDvfAFHgsmZlgjLWaaiTtcyDUHzVM5OACnoCpILmnWZldZAmac5QImu7lVo+JXcavGRWOMgaOXZKDRE7NMR8P5INXPUMB8X7+ucFWpgLuZ/fkWQS5nXgYXh20o7Gn2C+/fPuBa9Vij7KLXP1CDCQQc8Rcr2NT5ERtq8ZyW3zTThprnUXbX2JS51npdNgfmnPPebncQCgwSrAJYD3BhoGcTsDDk5McpldHWBteFN2XmjACeRIVjcUBEt3n4vyXc+13X/MEo2Xw3au6NKKTxvfom2Mz6q3Wd6V2ZVM9ULsdcogwpPTPPrSzYazM4w5AysqEHwKMcw9NRyc9pQNDNlChIeD1lbyNJiH4jbJi6BOyEAVOwQu0fIfQoz9PHlKnzlyHe1LCev+s1eqOnjKEKYGKYSsjCsW230NhOjNA+mRRqehY9kG9efnq9OXNcet/LAjyYOL80L3f2ucCW/l8kQz0afPd9awMeGve7K8WVYz9bObHdUOIalApx4PW83G71X38T1wkjxFatU7FRCZHknV6DFJWUsxBdSplBjYyTAU5/T+MrL1GMNoug7ACv6gapim00lMzdFCCZwUU7vQbv6dgaNzPDOTrUTFv3ifd1BEY+XOyFeAf+FMma3voT700fk8LcCqVH6nN0PcBHd/6k78bRGEteixzz4SOnwZq4YP8zY/9hf++lUCvfrxGj4Xo5MMADoBBTEG0ClQE3j2bLNRIpxQK7wsIMA1uacGFGW9LpE7E57J5p0ngzaLr5Y53RIYn//t5aDJlt2zh90LI9CIibfEIejKpwco8uufR21phLNtX0Dtg8fhNAyl2l8QExjFr32em2WNwoEPyr33ZSs9ANcj+VmkqvSbLOMEXIc6SF5unR08q1pzfehqGJVEyXhKeAfVul0JO5VkcpbeoCtyR+fUDpIke08u/JLJF8+LIcmNIq3A8KmEjP1aNhV5tHl/skn0JyuarKAJTSZLkUxZV3BaxItcT/9RkhwkPA5vgkkfdZ5iGNwWE5nbGUgCabdXDz1PVeHHVmnLQqofbX3bC4LMc0dVlruM3nK+1EuBrentE5FqFuuVf84RbJe3BJWo4mDEpGeGUlXd3M2/RchhBqCk8fHlFc/RHtCTcuJDw+u7KWmOEajlUpdYmLMtbCetycCV09gV/1gX9QwkHakRBQFYCofuCFBcabrr7STwBV23YoP/nkNoKTBYaQLDZUOS64I2h80AXI1qFzwr2KUJTrzwJu7Ml5YON8ZfZdHBVAvnZLqAgMjvJKD08D5BicjVajk8SxTQOySKbi7XVBLIRV0PpsnHoD7doqLdDeYiicHmg9jRaUwMPS6a2Psf3Hk7XHnztwY+8B+Ho9oVpkhRtqtkV1DW5vN8VsnG8CbaIeJjKZyGDjVSrEKeu+PYI6Zlio5oXBasNdVgL8ojX+UNgLLfd//f6PmrjpO0GKy5P5f5xItDxY+Kl8TwEfsBxtKwLm+YmOQeD9Ln41esN5DHNsbhp6jTUDthuAhH7vtQk/Jcx6mrnl9hzIN1ToK6hQW1x+pSVNV6zrGd9Dcq3K6MLaavywDvDOBzgCsRkGwK75zM4xj4gsqwBvWyO7EJDz2TG39HLXEUaeK+ilaBieEdBmZpkMMwSnX9DdGQm0In2KHX/USeSlX6aRH5NppBrC6dj1LnFkjxfC/X7up3Ma4e5Log1nTHEY74btnuJouI+dYxE+KKI1q2jeRkJXOFJVpl7qoMCmOACOGPJL/1UGZG/nX0CaBRaHrKzXXutTzuKl9akxwOLS19vPlbdExlCu+xic0h+DeXP7iA/0DZGLGLr9G9RnNdEkCSluJAGY6iEOQV1dEcK5eo6Isz3Fyg9b3a4TO4T2trb9LHsHmx2Tl5mo5cwbJpv7+VtiP3DjJGRJC66tMyF5whDoxUU6OHPxbxSw2SsmVtJ6t+eAkl3f3BYs4ZcC1TCpCRSOCMsUOdm3ADaPimvY0NRxRgvl3GMQs7KoviPQVdP8HZpU/BFdpy+K7nzS7ThlzKWRr7loPlZVPj5NfcBEC6P9quxj3J88QbebA8qmMZeARVXeBte/KMu+TABY4983QvVF8tDGEnigz0rL+s2JLQRr9gquzZ35IZqjAG/al/ea8DUqDykzOSYGFvuKf1bJv4XTNmVxG12WojFDGdL8cb4M+taz0WEIIkM6pa5y6H0fTk/NIS1PxaFXcYFk+2/kJmlQN7Zyri8EkTaBviyj0gsc0lqoMKyRjDzFmOskW07gpzNPtzu9QhZwVRqNUBQbRr/DIo5zQ8ncaoMaWDKH9+UtmAd/OWoTh1lhdOTXPJXRamGIXbEzbZDC7ZP8W0Rncxr0mIuood7dHWiwgY6MytjV2BAH3+LoxEJ8nDDGjpRB5xW3z7CDod1ZyEJ7CGQa32U7A3NlWa2dUtlbiKcssnPzy/c2dKdbEtZlSDeu4B8HH09tP+aNaubIJEExWiwOeyoszuXuboLzIknf5Ie+Y+5DR/6ykBZfX/OjkL6GKG2SIy5b+89HwvH/Og6iH8EuQ+YxreJ7Av6vroSNPlX3sBeEnQQuywDvCs1iRe232Mq+Qk2kWY7aUNx/z2LZ3AddHV9on/0IYNN/0FmieDQ8tFBIf4WEtXcqGmmgcXASAGLkMUs6cNrOE2cW29f758OUzbu/naRffCHglbRJekiDDpMO2UJrnUXhqOUBpmiS6UconFK73bCqKBbfQURAIrxgEboxJyrC1b1sWQGinrM4VJXDHqNc5AAPLxpoli6LYbcPLVMsI0pp2gFUCZYjgLXML5DW2i0IRfjJNauUOM4or6xBwXQvyk82gl2hMw7Q5jxS7JPVDu9zTtonwwC4bCa7Te/jr8nBKLx3saNxptOwkP1Lc6YBqUgYxPS9v08i+iDh5+EIEUZDuo27d+i9KJerYzO5PP3ewQXddNe6u3H9WEIhutBhEEJ+fjdBzAmi0IebFsYWoLqEX5G0SScQEsVmyBqL+8pybdt+V7aTRff2MI3SiRtZt5C2wEvym+nGt68Zl4ZXe/14VQTMuocPFiOrQfmuSURVVh8pZU5pR8S6uJI6LIbcOxtrq1RAyFi2owsSsDmuzvqQkOUSQHueGkBG5GlF3/UADIK/i63VDt5w/H5i3BqUp9Xjylzff4OGLgBEUOCjdXBXF5XpxmEL1wfc6aVWwzjGDZAp1017zWBJuK1rngh+D4tV5pOC8lFj6NxKIZEqfiRNbZ3izLNx5Fd6VugxrKG8VfyBNJau7M0bjgU3I1VJt+YVJggWj2NI8ULHA4fDvg/MjUs41EiogW6t3UeudNQiD8nyDrgbYYamtAyKlAtj8ignfrnecnKAD8Cx8tN92CQDJaL4RI9Q5xBGy2G0a/vd5VuOqa71dM+7npHU6s1afdEdwphb8+TcUw4Ja9BH0HuosPGpy069aGl1N3bXrh5z4Qx8Mj3nmycZfI6PQ6PmzpcYE32zNRrRUNKMe9FeQGH6WGXkhmO37r5n4NT9FYffrRX4/LgAD2tiUDrnZemgvK+4YspyXM8IlJScTImsW9k/PAECSM+TH+mg8SeKtYsFosnF9lj8gxM03gfW2YvxUQALwQzDT7vyxJ6mMs9kJ159H4bjAgDOyTAV8BEYJ+jZrYoT9uwsOuG7sh153UIYkMPxxCoqss40sj5wjDeKN883TLpPKtZTd7hFboWkBFYQpG+qymAHgxVZt79TDdbHuZ9Fh+CNb2w5aWdz46KP6byxcH7nd3QxxFhv44Jkyr2pOrACazPeq9Ns96iYDLETTB/Cuo+HpKBREMx3IRU4ug52KWlyn2B6dhmWowfcd/m2+6XWcTs+5RDNxIs19hZqHUz5EQgUJVzSLdXVvHj8kZCBETT+++KHfVv245uhgLNPPVswcwvMrZ1nLWh8s018xFReUxhCjT4ySb6JxFTfhuyahrV4WAR6Flqjy+zUGNB0Ttkc4ggjcVnUHWd+PaT2bUbKFKd5A/EyLTN4rXsv7j2YTrWMA9K2NYZv2i+vo2RVN5DKCK6mC6BXhh5MhMHrEbCTvLQFwGmZnEaITpWhCHNnzqy68Wx/q11w/iiNYnIrQEeHuG9Vyf2LEhRQxjcgrRz7rByfJsXEUUF2mfbo7Wqy+HaW7uKBN6oOWHHhQBlUAA/RIdpaBrbaRtHL2v3FqMlq3zC9ZRgpg09gUgxFfIt2+WCMBtt3GG53PxqUBkmnSdfKkq7s5kqCu+qR2pciSQRGWGKpTjt74u8G6W+vzwDiM+49ld+jjSy7nG3CmwrH/vOylpW12BXGtaddR6sy1Z1PbNA0Gzb6P5pQ8pKkQ10RDQNY+AgyTqrzpQ5vXq9Likt5H0dNXjwhTRs6oL30fz4eyGApgxr49E8Us0ELK+MQqDcZFgpRPKyOWQVAB7Y6BQ2iAHqn3QVoyQz4RfurGlo2aoDD2LsToSlMKLLixCe11ZZChXekqRRZfELLCVYiJdXRfUidtI5PthDnPLsrdm3RYGKvwFzSPzZgMeQB+TLJzRGx5wtPB3VP2SX70ZWT7GrqqFf02aE9I6sDuF/xAu4ooODuOXreev9nAXrW6ubydE8BOisY6+FvFMn0j2a1EnyYpbTe5nnAIr+oDVr5ajD6XsfCwluoV1JwSYk1J69M5r+mC5zr/HQgddF0zpgFu6GALR45YbF6UDi09hXrthvIHqkDtHl85766LBDFeUquF3nJa9x7/NkkvkgoJkOSOKxmQwMtKEYqeSxF+wltVcrT2QWw/4tdPS8XidSmXkUuzobYGN1eVndHlTA9EeaLguc2XdOq40c1Uuy62TCYyEPneFk3e/8cevvmLz6VCgR0vHG95Q+CLF3tjO3woRiRT43hY3n7v3G8WZcjqxTvaZF8vtksX9jG8wRbeJoa1Pic9KDd+vGsuI4W0UaHp6Pt/+TdbT7J5Bzcp4hc6DVt2xfPzP5KEebgh1QZW61O8JR4qQsSLzA89gCsaSdtsb5ls02nYqPSwexJcyAJ8OKSev3b7oSey/BQFrMsJJTdAEP4yURBg/FxXG8IElCIziN3NB4XB/N91oJ7Pjh2cQYsBmMqyX9JdrNtp74Ay1xVk9eTigYVmt8VRkIxG1fP+d/TRxEOk0z6lmXqHXd7tWTigikCK0fS1RmPLr1Mur4aTTlIjCXlCk7A+cLuO65FdZGAqZRaDZw6EfUoT4l4VCZU9KWlseDux6anVjA0V/GPhFS8fP3RpiPJ7fMcp+FdV7aLlZhM67/Oa9MitODulasvSck+KCfy/V2LCJndOoMc3noPS6OwLKZCL9c+taS08ex/sO/OY9e7pR7/xmvn6Aj8CjjMdzOozIMu53ZFN3SQa9G/QP+9G7jy9wGv45BpzoIFa0yjDQlE26vW9qOtcAuMgstDajbZiPTmTfHqc7s1MVBUDDf2iDpSSWFIZprcBNNJGptOBMxkk8kS6yw1r6qFBGP5a6dT2188VzP9v+I1Dqu9V96/Kpi0x5xKiw38+iJp7y2zjhm6GlI/YtTYt+9C5RjGb7ojSMs1oGq6C0wAQIRl7mcwLTX5nt78D+CkK3TsWIMe7a1myPfiLumVByj2NXndoWxS8hBtjkw9gr4+dpKjm4MWGEaHMqs8fuo/JHAK2sL/6hTBrZJj3CjvBd9Ajqaftt3LU2uLF45gpGHjoSxscGsLs9mekg0O2CJLF00OJCa+3Ao+JNW9hwJj1kd0ap/+FRBRlWnrLwv3e1KIZ8K1ZJvS6graU0R5qAJnIxLN8KzBsdoamkkwNolG1IvAAu3UeBKyioIdVzUoTzLrzbr3p1MtXPLBO4SK2W6EVFtrCR4e8hcjZtKjKNKwwGifwSoxYQiRPZvtKKYepSMgTcsb/ZOoUvF8MBm7c6swjR9pbqKwbRKN70sXrghB+gngUk+APWaJdncgVJtg5xxGpoQsTgpu0tQFG6YIdEc3GlwaoZIOTbzfpppppawcFWTWjxMCveWU3HAdk207PAU0NeW7GKJd0sQI5cUVT7JeHuDW7IQgwiuolU6ftFRmcblzzfjZroa/nfs9S2hH2iSGuhXFK6wOLFH8agrxcZP3LCrK3gyVj6kothcxylhfHpUzDMG4Rort3JK533bXIDQWAsmcIQkDiOO4tqfUBw6N+BLp92Vu6Sw2e9gFCHBV0ARO426QG0McXV0vvgiHJ3tYU1B+juAP/Ck9n8ZTGks/eSUOeLi/3TweBx7IbS+S7ssZr8scy+tAY8ivuelojFS73MW3vdPcCGDp6gmvTGvuW+RgW8a3X7Qzy5gknyl+Ca/ol479Q1p8TMP8oj5EJhy+ynNiMcXzcMtktZQLjXkGHOTVUyA8FqL8icSz0eyOBDO9GBQzSgPkIs9QoYsWgEiwJL2wJ5dR1d0hiVJH7VPA+1Wv5SwA2vCg3xc2BKZwTzeC7tHkFy2GwZna4KsYj7ycMZgr96iYliXJVEXGAfeIB9o0ss1r5Vt2N3aBbC34qHwKtknkm6QlPS/F0X1TP06L3ZfbfFiE3wTdLoFU4S+UdVpSf8ZC6LO/Xb3z8X3Hfh1onxmNRNiKEyDNGtCfB3Khjafv3hIWNIwutSCCaDUcrtsRQ/Kr9etScZhjrCtfB9CsbP2eVxRtDCVmrmFZI8IuJ/2BJ3rkrA+tA8RIrH/FVKWCXmNN2JWBFFADziq/rKbqfx1Yy+vgaFMUhkmx1iPwrGvo0nx0NISyjfqfLv7+e4tvrdvOwJCnH/0QJXGiW2+oVu8xbUMT7UjfiMcx0i70WpN1WPo4QS6THBZfMKauPD+Ke6D8NHN2zhBJjGK7Ygw2JNwalLAdxii5EnoL764YRUfQ5GYxMXFX5tbjlcXWza6m2DwyYIvlgmZ9HxQ3cc35KVhO87DOFui95YJHLDfTRzO5uyZsLD09ZtBiuG7sTsb+oWQARmcqcOn5mHnG+GdGZVAlKjI5/7cYEoFHSSqBvwoVdtSHNurTgyyOqwEpST30E2hEhoXlqZmhBtOqqZujJOL1OnsO4yKeVlCwTcON3+bKs/fvnxvTXCa2hKTte3Gs88ej4Kv93FMN02I+OlpG1TZaXVE9Yk7bk8+4JhYLUKUf72GvS+JVv5bLPYXeZ9t84vHDXOW+TffBH+L5C27aHhWs1X/+D6ytFOgZqcVkgY0fTSBu66KWQnCDAUT2ip/9la4n2SigUga4CT+5ek/LJEBwh0FL9VuZyvl3oAsSSU0bNmqDkEoe6Scg5ETNSh0yirhhIMDLWGLUhT1fggUskXJA5pCh4dwuB+NauwnUig5hKN/PXMslETDuI1TKwWChKRJuFPfj4sUQzxe+SFNlGsS8qysv+OI5Tk0uzx+Jg7LQVn1Z3ag6GinsrOT6U1rMDXR+PFoeLuuAC4b0yeWYffdVuv/ZhcSTZKrC/KgFURbNcio7vNGYbhY0QApPeU6i7ABwF7JfEPRnDr1MAPg/MWWu0sxwo9PFcBDM2c6gpNzDCU6iWFvTk/3eB7Pu2/t1ahnztJNl0T8G4kmwzC0h0gq0PCb/xxZpKHWL+F3Lv2eHVmBFRZvhQNDYDzpI2V5KpVY5Sa7o4Wlx1CQD/X9Lv5R5clPEi5vM8kUWtLDH/IDBwMoPzk6Y4Nql6ixUFeKyvoYi9Fw1E1AMQRVhANp2f+8/uQ4XX5sUHtFiEYDiXbbNtrytA7t3rkLiTJgZtDVX6K1TquqjGeI4NKqQGME9ERsQLbkdmoGpMS7uM5fuvAnVpjt+CoBo/1CyOO2UzjAHxr231HXL+j0VrOJac5hgsp0HEB4CQCgOzTOLCCDhst76OjnxExnj5JKi+Zk8KsbWyx2/r7nge8sIkVntGRWfrhxSo16x7c3c1dK6/LG/7vi6pzKvukmaQdhC1SXXAaivmDwNml/O9oQRbeUFoFtpR7aXsoAeyei3ObzZONb4y3NZljH1jKz4b4PrNtZEYbrW3mspm2AaYmY8Wpbue/M+CIMz/FJci7t92A67Fc5KLWaPoAng1sCDTGkIfg/ddWqGvpd1ZNxlUS2NEeQrb53wbQOFt9s7+6cDq2K7VXvJe10ACzzBUWd7Hk8MreZoU7xX6cWHdp5/Jce5GvgXYilH23ouUHVNW2hsMdeSsv8yXsZFjxAJEBRUvDvGsBW5q1hUGAkruFhiqdie7+vSjN1/wKYmx2Ty6LwSq3BSzLQdo5XhVKS2ZgInMGWz5g0RLE+pmoroK64A3i5/JADm6dX88cqqToJJR+E1qg3TpKgsi2nZGBnmYjX7V1E++Etu7GLIZLPkSw1GfsEjj6PEc52S4qVXnK4xMdSKdxFKLM0n40RO5TsRUJAGyKXetlHoKoSx4lugmquJXKRbQmvWXHGLg0xc51q5OCZVRyyQiDXoxvO+6wqs+eCxGY4gVhVVRmflqrmv365dWxrscHB7JLcRRJ89hWIkIcLYUDLpUKv2GyxzUUMxFNxGXnGe9S5EfTmK0rejxktXvUQwqLU6JocZMMx85HslsOPRm+CvJDHDqBLMoN2g2YaxE4WrMduUvgaTW7sdUg3Iz5Tov5uNOPagU/IXTNwHXhLkb/CLv/T1FJ1naPwjC/7HIOz19KYjyAHXgdgPm83355iz87Sb8p7U5w6HRy5k54Q7mG1VV6q/i7H3IVcK27Nz5GiR6Zj0S4E2p1Ni3kbnpvZ78LPgc2PzO8RxsI1n2/6JztuufHi1FaKiUMoF1TG0f2nRT7wlqNvuwqBsVmoAqKZWHKjiSZa7Jit4tEayCz7i9SP0XEsojvvxKWGI0+zYHuRwwr2vXzXmik3XVfwszpuA93CzCk4wpBtdMbJGhWidmgxHTqB0haqiKXWfk65D5etHOImWRK9lm+ZytU199RiIUAM+v4ryDsVFOyOZf3fhcZJWG9wsh5iB5YstXd0hX204eQhxZP6RaHSnQLZrbchVVhiPXY43AuRK0NuCi5QOZujhso0XRgupdcrqpw8Gbtk8FbXJZmnxGQjDZ3Ek2kriQini2XnNmlUrFmqV+MsjvMaLU7sL1VhcF7UL6ryRevylXBNOfzBxUtXqmohfZZdciw1bc/T2W7eZrstJDNf1EDT31OZ/MgIPaHtgI/M4juMr7sev9xIKjRoFv6TYCzRWeWX/KDJ4EmSD8/TbBCXE1axgFMs9my3Gz+bU1R17s4A3tXPdR3qp7EAPLcb6pHZF7kvE0rknHk/OY188pp4lXYAH0oombXR00MJEc/Z0KQq96BJ43Dh4ecuWV+Coth3Fki2YWSDboCdn6Tk4kAxEbSsohq0ZNefAIEZ6COqo9B+DbQfMgnz6Hk/6NlEH7AgHIfvIQXTQ9MPYWHc17gIcJrdBKGTbBPwQrdjIsMP7Er0uik7LVWlXfba8QEw/jeAnfCfRCgvz67PVpS4aDNfvOxmyo0l35KrWvOYzibQirmTbaRrPHeNPXvV+rGy57zMV7+f7ME7Ff3r3xctx10pF/57xqW/NvtkFFa4MJWfzH7+0/JX92pZ5Dww1zfLB9oitGkCuONUZZxOywhdykq9T1X8uIEpsFRfpek1GXYIUADofZhb3oy7GRfrRNNwA3Wd2U5dR9DJvlNy4POgC04V34HItAQtgmbujSUluaRI6wPgMveVd/up7jvHWW6rfn6MLafGmZrw/SHFmRUgOuYTfGOwtC3Wa604pNraG2nqkk0KRT/EPtuchDtv83iDbn2rAbzsZVTkca0E5nUwmZlF1Xt+35Y321arBj06f7QW+1h3lKb+Ckibc11JUqfEiagHHhUKqd4xMSsuxcwJxSSjm3lvuXce9XieJXz8QIvd0tLif9q56TFrCZdrhQAF1d81FmKlix0iP5EtQpra/2E4rdAXJ5PNGSzfNbIdTB1HK9DjEG5idZ7xrXIXvRpGmsIBtHeS4UfVqHYjmMwO9PwbWiRa+e6G0atPde3rbUtbJINRenCeYP9BZQncSpEBf8zO6K2vtLu+6FHJ8aePmk4n/MZn/0SYcVbqZo6P3kHdswROhpcx64vWRrdIq3otT/5wqdsR9srMApdE5TZmJjpRNj0FSRr4u+c11Nodih3KQXxyr8OU55Av3SdL3ktxa3CznDkpjHKeSF+sMLXWllItyoOsnMaV8FnvBRNQ+R9u8jLu/vzMcnr4FkZ0IHXD8OUlhGYhvYQanMhWOAdp60LD0u97F++p4TXbMAxyoxrw1t04+ioC0AE7oor7CfrOFyZYV+9YpPnRSvRVNDtBPHW50/Dou86upRGvV545+Zs849aeaJdaUUP4pw14tXBFsuhnzI8fGHZNlkIxaHWBRIWIHjt5zT1t5yuyApQuigYNz0uoz3z1wVQvv1KJXWTYX9k9mCYWMuXdoOS3U6RaHM+zW//4wIaOXWtYnVcivbhpf2PwsIvVfF4b1T3tln+1NBvxQr2ABpmlgcdbLUc6KAR4VGo5aWeQ0958b3SxzthPptoHQJbedmtwI+MvFFzV/lCQgFpsprSGEW49XD8i3fBvR1crrKIpZBb65eVCt2H+LgfLlWbFYs7y9Rbe3J4Q9eybtRC3vLrwwWOAUdN6WHpPW7rbtwB0d88RMAwxjYTS2DYPu+3OMMESs3U70rPFJ/02zWfRoHiTP36gACSSBygU6fDKkN9mEMBymE3JUf4zNxN4VDggm2eTaQllI7TEuQe+gabwKrLgNM/UTlCAe5QKhO2YLhDSGAeII5OCBedn+QRB4BA8MWAo/1RW1Q8TgXw+SCx1uq33GHQ30iUKHpC31Fquhf+/HxH18DUTJry6QBhwSc+ZoNuOsuETc3vX/XKq/rMrHoXyl13q1EJaVTrc2eGdkctLOsNvzZqTG3xHAHKIy6ttoAPyluIBWhHsYkIskrS0Yn53QQLxK53wKBITXcAdc2VcVK2QyoDljmDbH3ec710hBD8fQ0w4VtwajxtyOKll47g4zKtRDjgqR4WqfPK7iaCVRNPVm7gGFlaeNXNY5JMksxOFLVgowVbe9rehiD8XGFzS+9h+TtmLT+K9WgAit+oecw/ln6EhfqLEIuvDvSpTPcUuDW5CFDG/D/CX3sbfzy3fDM/zGs+bnDEYlEigf/+2FxZaypu2ik8SAD6CBs8WzorAs6uxXf++B5f+aEqvxfCG3LUIJi6gxHJpMwOovYCiIxsffQlhLMolxeHh2PR5wkn3rlPzUKo/rBXk93pjds53eqZNTI3ljt7DoL3MqkrgVfFLRrtSAdsA/D+h9RaJSd42mfocwPo0YAewQEfqbGAwDMN70PYN2xqbMqKnQtcXs+AOVK1C/DyBf+qTve7ntyqiQqGjER7NoWhqEmoa/gXyL7QRUEqAuOwxcP+kAEWO+sPLKusuErY5912QD9dEgRRcjgkxj6dkJNYkscLJuDkV4xsz4ByWA+7Eax+83jbqg+HwP7PsVwnrrjgKDkRDbELQFGRovns8CxneQfl54Ufe0qDa9vgq7YmCelBaa6d7cC5hzA9BcArJXe46+gOlTLqlKLFs7jWxHq5k4/0X90LtGDawviasvnit4IpZhD9eNqeGAa1mLoJOu4vpQjrySCXCIsdsPDxuz38PrTNVQBHLVCToOT0RuDav6X3IceOTeyWynfeAikJbMKvQhXYvMqM6sasqGoXIaTBcIowMfb185lG+K2x4YUMUZ+oU1+LfbLp5KQSqL0ub3UsQM12QWVemNbILYXAcOad7xu0jrKH/wBhg64GPXcIx4naNU2VNAMdLlqLjve4hENMTttA0eZvz+6G54LGXn8VF74QmaViftsY5JJZREpTF6Xo2EhLUsH8s3gngWM/m3Yw7ZCXXMGkIdjO6LLWO/GSjXPKEHLrcrfxhn6K48LL6O7Bhyi43ubISfIzdac7TbfOj/MNkAeA0W56wsV6ZyMmqmUIUj8tOvuVENqDCIJpRTj+chxX3HTtlBJR4ymLxnBpVyxSpclE4VVuP772+qTIxLATobfI5qoerEkgn4C9DMnP5QPjaihl0A+Fkv2r/OyXzzph961J9xJDKz6C/4KRvvfyYtNIy5n+xYRW+V0jUJEuVNPzd2FhB5aPfquifE5p3Br3tB0wzTOHz5Kgazi1OH4NyFKI9wzNP0Y+nOPmZR+hVXkOXD3usSrQmGrxuYooaavqwvQFG2gykjPkROYy+7ep1k5ctK9gk1ijoK4Lu4hF0XpcXQTs5uovN4qZzcA/Zh07jCygyfcRVKgcRDUCLYQMw3R5joGqu1lfgeahPbFeMRwMhhgRT9k2xW6o6auXgHycH/1xpRRf9Ues3aAdmKJja8/PoHpM3mdYJA8nT/7BTxQF11v2t/cJ8ULi5uPoP6lzMkihRltcHdLwHRtxf6npU/7UPc1tbp91re5RVopf8IfCSmWymZOWvjXwtVIQR+DJFgkCMpKPvCJhOj2AaBcPBdzpYi/jlFaq+2qYoWgz+rh0dKc96mlDqGx1BD5kdw7XCSky+Vp6Mr/1+OPGdN1W4bNpbUhYs3awvhKeLgqWJ+8e8whVqj6kvtVJ9iD7R0Xp1l0Lf9to6xZ0kQ2G/Fkv6LoNuJ/GsMJMKhLmPQ4hzY6NDIeDGRIGaqEP22lFbzVBt+AdreQ442sS7yEQD0c3mTTEOhXK6P/748rsTX+6c5c1A059OtbQk4U3szVfc9aDtwnZjwRhMfCOfxiDzq/ameKPG48uCX22Nr5kNRf4nI0uoZM/bCdy6mSauI4RAZj4tK0wfoFOaS2wjraVCqk7QUykrO2sIzWK3C3mHoBlWgkeB50XpuxywevMIPSNitJw4UfPs7Gy+tpGmvru9Sg76XT92uUDxJMlw+xS8B5flW2RZEqPmhmLaf3VQhnusp5ZyJtA+hnmYhRtCCXXy2H55B5yBn2D9ieGJlumdveABjaJKLn951tyZrRpGW9s5Ytv1o24i5DwFsT8b7QefHoQNNq7Sv0qs+5f9Nbshny43aobTLebKdFG8BLJxNvJBTcRo8vgHzEEzxEb4z4gdddyhy1zbdQBT/IUVD7trYOlbGrs5FogBk411Aeu7JAVJWI2TnR8MEK5zSpNa9W7ro8WxAFeu+eYiey2UtB5Bm3yg46RuJi0RR9Nw1Lfqz6PQVpPWB1aVHA6E4XLTrdUyepoPmFBPD4nkF5nyZLguoDFXwdbgMyvv9qxCvks6VwhzspMRfQqhGN8H7Nw5KyAEDAjPTAIaypnN1e/lv6yO4tcshWQhnfKjQwnMQgx0ayORKN4b9AbWq1zRYTxO4cA3OmNG0wSbnVgfjkk78znra3+IQcDYM44eqncC0VILWq6jfCWSP13TBvLvZCLcXGvorhmGfdB+fFRcjj0zeJQtaZmW5KWcKd1lRAHwi6AyR2nKalaU8N/sJELTAkupu8HyLsuQiqae5tFyilAVE0IwQOyjHORkY116VDmEwLWYqc28VB75vtfZVP2etYdJqraq388W+t4OUXr91JYBnzdK/mNstFbVXgedYLhU/ORkesA7qSJd7gDQZOIDJUEMeRlCrKlA6a3fkoAflMWNGfO6gshcnHDUbcRwEyCMPbVSxiPVvxanpLQa2cDHREokC9r/hhvieO0VtqOHtkh8ZLtNcqWFYKClvPMgX58gDL+xxco4emEVZ0OSFckdVslOw3ZTmWc+92tHX6cf8QzEgE0U69VgQ5MnHyjuH1NMJysFvD6pyK/ymiOAM5RQWDMBEUPRjSmNc/gYSmgVrP5A5DDDSYPHN0KSPgp721F8yxWzOwRa+LK20af1NlWV1zIKyePEmi425Pnuxzgv/J2XMLcijiMlaq8JUM/JxXunbTnKXeRUUsPaVn0zj7n2a0WPkK9td8FHIXDByVVrM7JGt+S2ZCFhdW1zsMA1HyHeElpPquQKd7lD73aXI8WNAVvMMwvoR7vxUXH2+ROLCQXcMSRKhcKdNHag8KdCDuHhO35Ucyi+MD8DRRmol7t+TFtbxYSs/1wPsQbCNKSoD31nHBHDl+NvcWBNrizvHGKTU74tmJlOVFCkEFnTB/j4tGdpK1MoaNY96ocwIDvZ80DcgdCm7AUMNklCsT3Nv13Vd29gtijGM0ooOT9/lU4Vc8dwkmbMMJKCbmdV3zbShcX7lbO8K186DUX47rn43k/oOwPb9+9gPNVsD1o5OGrh8iM+xKNCmEu3VgrYcJYV/CMWJ/VsUa3MEl9EcPoUWaQfVDsy4bYmvxvWabw71hvkvb9fdKz/YmrG65OXgZeLXyGgYLcCu853r+EEbLA35jGSJDVJrHGPcTV8RQ1helw++j5AtAa4QQHHwpjS7JfdaivWGCnBeiJbNPkESwGbouhHuSRdut2cbKwcwM8hwdxT0nZKlwhmnA2x6gy7CzskUZKcfiV3YtS/oF/TMuYeteVpNrPOa5Iz+mCZfGO/Qz554Y8aaIxS7tJkAgc0kQk535AINtaHvzNEcD7Ei37txmKi/T0dpjhnoXBihrW3x8BJ5Pl14j/1+kX1q57K4cWhy/FoChO2cuSBebwSQvryF5zZddPAiQyIu/lt5eRIS26PbUSiUeowgm9dsN/TjOAWMTHReK7EPj6U/xAgBF7xT7CtpfKiQpyDtHBHSthTvxAd5XaM6p0W1+DjI4maJnkFpV57maMh5GGgC55inP/7dfff9Ms5d+XYh84zThj9et6D4tmKkJKAulvH5KgCKW/9tuYYq4ztcAD/Dhs5+9zYp8InD+ayHC0gT74L05Y13wKHOc/5UqPNI4qcDCivYIysXWmmlnFHttaHQMPzEVMQu6WbaDfrgaYPO3Ov/WE84CgCz96b7MANtuae6pZbsBNG2Y1Ia2deXs6iE71Fl+By+Djob2ZDE8AU2w9/+DLlsEz39x9mE0IfGDMZ35LstZF4rBdnptihctYsWmmkvdaCyr43XY4nyf0oV7UJl8EyJAsVENYVBjKL8g4Txe5XNDSYthJA7mw6WwTTQ6Si3bq9OJEkaFeLJmAMoV0KXjyKwv50sni55+HuU8OGq8Pz8w59jlhbQthwAUthdI+h67z9LuhJvGVwrNr+5t6jWfYUXE/q0I7ZLhlcdiNCkzQX8XgSnq2513TM2Otk+rB4RUwCNfuUivORcRgjFYq97/YCgL9SsQTY6kcxiHVOCxZ8cJeu743NxuJLbuLQNDSe+6uv/X2F8G14GhfMpfgIMrPI9zwGTX4gehZlsawJoEoKJVx+cJBIQgnu5kDG69f7ULLFx/I1468IOHrtniY7VKb86V7xfbVRNeMK+KE6yxqc81FZCi9dldtXE0gOO4+kKkUaG59TtwrFgJ3NPAtXhZu05kRyxBB5TmoE8JD5rQ8hYqTW5GQb0TWMpszoOfV+l2YNqGSsLzfk3+x1xtic/3CayoxuIp2nnA5r47MPcmJI/NCpJla5b/MXnC6r2ePkX8QyGaHWhaZoxWq3xiXjxsslNLOYF5h20U0CZ22V2Gthwajk7WWBu3CFZjR/FJMznJw1vZAsGBLeBKdJkvQb/6rudz168dBsi0cTCBncrVWiokw+YR64MUCzB2wDtA6Ih1559fNYnYgR7aW500h9myZ0XJKdg8tDsnp00e6e45zc97+HhOvU2J3wPQc+Rsmjtb5orzZwgURiW++W1xCNnHXwk+T1xse2hbnS5IRr6suNE2UUpPVLG8oyoCp7kb6MZdI2rZL/uesB6EE37uLsmQLOimnU0pBkaBL/rrZFT7mFRpNGNpc3KkyCcVpi3B3mngRo25ymBINhFVZnsRSDLWsXzbe3oFHyxisfynfHAYi92nUrrYGmXQbFC31XiGEsbjJGiOIysnXTQ3A7ShLiI6Ok8m0Jl0zzTijjN7xhhy2aAtCm5Ie3d9tla7RIEoxFua9TrHEHzMjHm/FxjZ6bgVuDyO9I0Yz1mKzl5RBm6qXK2Z+7IvrDQUOpUXZJNynzLHT45S8saLR7vSyMnSeyTOCRknKChJB7ctbbTp8Seu97KacKn/pccWbmUXTIOQM+wu1VA7v/mH95E0o2FMaOpxkvtJBU4oYfpO9jc+VR0+958/w4Nw9PLfmAY6c7OzWhQPs5DUtSe6UitqWnB53wPO4xfE82L9GV2XzKIid/Zl3/uIKwI0+5xpVAMimYVScuf4e2GPCTZM1rd2On4Gu3IVKHE72bue1ouVUNDI0GGAq73xlwOL9pA2E/O1DwX433C/FUGpsok/2hfF/t0sRCPTvqKVHOD6xmbY+iQ0FpwGxwnL9VOo1eszBqvxTUVYqPw3GqYzfRmxSbZDHb2jYu0HT/4UwwnLK++69OLmta/yHXkvU7KgAGirD9YiI/bcaludqRY0kxKZD1TZgb64JmYlaKl0uxbvWS3d35sCrMDFNfCsgIGBdqgAfdtxqWsoGYeJqFR1BZ44zcafbZzjQhf6ny8v6dPXayr37fV+u1KxX0qHq6Il90/c/PTYcItY3bZ27lZ/I5Y3pHgeL8REf0ZS1CjLY4K2jb9sX1nZGNaPtTMN2Iuv2LQHhcezCj0RYAHZBuYnk8LYECOzfIbpMk/9mA0Uvvd7pWgO2NDur7yoj7lwEHyrrLgXmmyGvfqscd6I28JoBGgL2W9tvuJW49G8GnncN6VDM9/TtB2+JHhO1xJrPglKFGJepdgfx3oc72f29XgSkVBmpxQqfcXT8kjpWBwOwP41l4r8mj5W/behrqa/RRp6NplXSvqBmQCqWKniRFcBdGjHnWDld3wrkxnn9HgvJ8wofE+reV5j/JgU0ODPwlgVNvku+a+O5jxSAsnnujuAqx+05VaGKUpy/vnBSyEmMa5Cwj1dxhhmgfOCqiy5kptTXmFdPOp/m/7P7ST91dgaFnwiV0YYAhVc83TMSz3VunUfkfXkFi/AY0M1jDVN9ae8bMW3Ea0l0foHSpetXpWhI3uV2giqKWa2VyAO+vR7Ckn4tz8SO+yenPLHhV6Hd5BobFfsfo76E8f4TVx5cP39rd+TRMakKdt+RdyWGHK08LxBiexWmL9TbUAGorb34/PYhYfhF6J+4JO5y6xrm8UqaCGFZkWSCYcaJyCMFaYmcmUkpJ6sJVcTDJhol3OUyl7pjzahwVD0H1rNR+0VfTiQh13DIUdaCdJKyDs1kjWqBQde63kSr7JL/4aoFFBpHCYzJl0pSRgCDmgfLFPWpy/MscVKN9iP5Tf5S7CjfSF7W1ONlkwj3CJCD5ZfIGTcVxXu5ajwTgb8nWn6sVPC4k5Lu8EwNDJxv0eovk39xA6CpaxyTGpF2v/Do6TeWf1ZoDF+BT+ZJHAvhtlrjqwEyK/vZynCBwVmm5ywMW2SsSjXTE3ESBHXLDq/v+E/0z3OD1hqTaImXJegIo/u9iEiybrY2+IqIv4ehT0qthfPoKNQY4TzFunet3P7M+lxgHWi7z30Kb0A2KJok0OfoUsZyIOomWvb91CtADul6I/k4ZpiwCewLmwsKs3QUV+sCnaDDJuKB9felIVNQYTh1iYit1pHPwRSAP3EBbK13ejr2wLQum15lzCCTLvd/Fqyartfdvn/iEa1xHSBSOYRtk8ChGKGD8SSMa/79HdY8j/gK7m+FdquQOTAmA4EORWqt37+vvq2ZVwsf2uObsrH5vqleRdo08BHe6jalUeBtJG2f1qVoPO/uhrzpHFGyBhAN7r/txsblVncNmjAVcByI/LzHcKv+TE0xuqyyoBK7LYmdVSlwTHDP5caFXrYShLzSwSmVdTk3v7Tt3fZNpaGs8DlabgZCzOhwmpn1+DEvikMxeJZ1KsUZ7eppoNj6rzCA2986N3ap2usSyBQqv1I5JlfysPd2E5jEi/mCb//N/l91qQ/Eg0+1ct28im6Sjl9uIpZx4kVmNTObNsawnzb3zl5iI56d9pPS5bNMYIhRTNAKhXWivJJQYLzdGCHYXGua+EwjOIggd26YREsG/Az9NSjBt1jgK3Rz0w6dw/P+7Y4hyiouqA4Z/4cYJXn2BwOX2Y0jskXO7+3u++XRO2j7SNYeLODxstH1md6M44L+alqAy27O0zXVX/YbXCb/oiLNDLSj6qF7qsLMn5TSc+VPOJa3sdd6pkCiyZlkzvkgBv6piDOidTDA0rI/jytS+PsbNqr3XFrcGpWlGFYr8EFQHP1i28pB+W032Ko9GfGixfasAPS1jeLzpan9lr6+iq31mlVLSX3IWrLA20Quf1WolCKO99Yjb11tg+BZAIPVzOsEcDMtZROBkK9khr55fO03tI79m2Pw3HoVohGnVTkPvCHfztqlFPqK2SOdBwRyRSP2TnjLiyJIKHCOSx4RDEikRlVlMZK3WsCItpiOnZdOik57v4R8c+W3VLM+9ukOR+6nhjQCPlyrH+Rh96/+6m4oTrO0dqyF48tWc+Fh5inYg55sh6kKa2AeOU+j6j4IazlhS8MifK+RW9IFFoAdTZoKmBrPb6N+9Sl9VSTrmoDXENlkEhU2dwLTVta1vioN4bmdGXTQfTL/zaFuQfE3WAs7vU6zSAUIZDt3kWCC2oBLxck76/i2eBbaQI5Bd9azGVpITQRJ4pZIynGWdPXjO5wFNdToNwMrWY8VPF9N88aJCdPfY+GJFhdSdAOcFAKgJbGIM9ZXOZ0MF6Yj0wDt5lWLWZ3CBb6goKKV4kWqaw3kxBhH9RGlI7y3kh8lL1/WnnoS9ijLMyuLqYdBWfr+50Od+e8n/BYwdoKJb36Mpxe7uLsNwcaUS1cSWOcSf5h9Zq1bXlastkRa+4L9SOECcxGEVeSJBtrI+o9zy8NJMQJmYLWiJsJdfx1Yn3+j1P9xxPeBJnHbEmxP9GFpFtafR24tfzCaEFMNCVXzFtS8dAeN/XLsHyEW3OlhB9YjgIj+KOl+yOg258tOwooghQwtMQSAvcv4JuLQIeA3VNjOfCSwtMStbdxuF+u9UV9/8btUZDS+QCzT8+YlFpJ1Fi6tBCXE2WPoXUOizzGB2IEaiSwIMB4E/pC1U/szQJ/ZYLQ5rNFXZD/ZrqTTbRQCggprVqC1B+epBvYN1WIlqhJ83L+/Ueq2pjyYKsYmgnO1hepoUUTOHoyTtlgFrsrTz25LjRCvJtAVJydeKm9Y3NoM11rGXlI8kPC9GooL5cHCiICbzP2XDp/kFjPkFhnrDdDGJelI3gR2mAztMVNn4V7efayoh/nT2mInqdjXCJgdABp9EUfZi9lvg/NLGq9g/yfbgo6ubCtpFmpUTQASUbQw2fdIMO4MzjyX7x61Rhnr2btXsJN1s6JxZ6wH/fV4AsnvxhKQyUSbDFTDdmNAjKNNxZJDK8WHMMKdTHRfLPxopJ6V7p3RsBlEde6k0zGWGF00WUHFLIT9TVfbJjrD3h8vsVl54ir+KamsJzduwHPbck8Q6AmVVu70bBnotT1sAsPQMaPwnrWkzq8dLSYXBVj7CbZG8U5U/GAv90qbXRAe2DWJcbPxoCg7lRLfzr49kJQ0MQbIPn6j9jiFGbfAd3LiyObJ3k2GdJwR0vUk6jfQlRSji5gv+XNVL81x+rwH2Y5g/bJmZNithLrQyUFBV93EHXkTUfee0sTSlzqcLpHcU2GcxGVsuyunV6E5dCyofZD7g8JRS4JiKJ6SBWmQTCSEdOrTtC6qef+kRAgXdLig3p9FQ7b0S84G0WfhVcdjV1ZgQwHYvPjMGW4hw6lRGYdZ0Zbv2UCPK+f/xeOfMBmu3xvr+e9/YGnX+7BRQFo7ERyj3YGHN2UsYLE/+A+IzdkuDiJM8tbnKQUfYUhhlphtQ3Vy1gFKAfHTu4BsnT/K7sH2MNYANT4wFhSJFnHWalADBsbr5UlpadzVW5PZ3scasWFz/11w82sNSxFRJIhKnHo0zvHT5JnTEoGfXASovIn9a6OhuG/CR1EYViYZ8GC9indbB7xuPcA6Tfl1sOpnqlAgmm+MEDz12BGDfn/3952s5dojWck4wI46YfrBzvb9UUU4OqgYVJPMphqApfgXRo9JHLIpxjF2wshjClDYY57oOnrswa/iA6PFSvCfBSjj1h8X5Yc/wnscRzo8r0jl98VPGvHRMdOHKgl8Yi9SeNQzAPAuTwogt+pVcqy9W2gnE7A0DDm1SpDt/SLdtRTD63mJUYPpJDbuCSX/GWB07nw6K2JJrhGkTFD135iarfX+n+92bwBwxuenaeWJOkbYxQZdqhj5E+fu2T3BXEBMPD2hg5yiqTtV+ZKc60qJbr419+xnptyNtoIJEMqtmWQ59Y/tICmebTCMpNv8rkQ+d56uHamtsVpCgN5k+oXxgFBDGe0lqRRefmZaehgbzbOpaLCCQKgCy6tvo1vYErT7kwzGWn5nvxVeFh6Hf4kNtSY8WubBZhCqD6S8Nb22ev4qM/5nP0ePAq0GeLHqB+7evWX2Y5IkXR0f7KRudC2KitCTvv57ITw5pIzilbAF5PaGDiRJbac8exU1ss8cmZscGLRAKxiQverRJVFkwskLvXpp61z30QmhKk5iKJ2dw6QUVji2n9QOtlob9mIRYefbaU95aUN/RRelWFnw0DB/BryHnwQ8MylCyDpB26yebeDnncbGLpbT9otog4HtoE7Y3DlhCtdbf9er99TUDueF8py4UffvZ2U8KXX7WtOG7V+7CZT6Fz0PlEErIx/6jDNsOWAMkuZMMGs5dUS5AOtAq8kY3dCTTTgy8puUVYqUFd3R3zXHoGrabLQ6XmVF71hORh8uzbkcxJqoCPf6CiVEGP4XBDNTkSRqsOnVh3DTkTZMuk9HDAW5q4Y1r9o3dtJl+a5G5Q+uHjJBd2WtERFrx3bEkaE96Zcdrwqc5QGLw3mOFgPm//jbAxjxIfUZptiTXxNf4D+n24+3fv2AdFJqFI7jsbSdn8tIf3Iq/PeEBrpCTm/DIP0o728nbk4pMG2nolSDgbHCUnhwmFazvbNwDa/lWh8vNNyOXHNuXza1JqnKCcSZewj6GgrWN+A/F8yj/Rix5dm5X7WR6w0AFIC49ehIHas9YXHMDrvqBJVKq7mCdjNyd6CykR6naQ64nmQGfSvCFvV0vH4p7aLC74NJmiJTYz7hrnWQTPO3fwbHetnra5C1PgZKJBybVF75XxwOGNX/vRw+Km4sAl1z9X5uJUTCxFTN+pkGIDbGKB7Fxe7XdUucu9Z3Vki8N71blEKJ2ohuaprHxPZ353CGV73hg4xB9kovTsGUlEJCHjYfaLnSmXtItLpo9GzC+QbF4NoWkpQjoky+I2LRY9u4egNAQRAO096Lm6IZVa9um3pQzDIP7QdXccskEAZhwaM07CJiQ0WArE+6Odh8rBJKTQkp2RiB3cCpN2pQgnoA50Iw8JL7GY2Ad4Ut81YyMiHhVipsAn68tMuRPKwbA87cDEbF4XnHAqn4OIj8prVP8FAYAnPcCrJUlXUSIggitX2emcQylJJqSfiKKC09DwZfWhtv6O5LdE/07GIa6MlJiZtitCmvABgC7EQeDXTU+liFuvRXiEN+UZ9qfV9ra0Lt9gtJxz+y4IefYDB9ljFlX99hP1rWK6ghlQcO8Yf6NDQISIRY7l3YBeTOTgFcGw6I7Pq4Efde2ExkpR30Nb5dXVacQa9hy2Qh3GOM2lc1sxdJ8R/BcxcRbk9qay2mF8XGj8wR5UguX2Wa1xi+3ZZoh5npM6FqAEKFUo/mgJ6RYbBYxrOzoIcCoxNY0ZOB+hlNOhiQYJt1ygGwkzIIK4JKuxEdI6SL+Cq8HaI48XG8fwdLbp15LaP7mLl66cm06FKnMGlPypklYhad/9d9kYsrBIQMW9ugsPaRm/eE5fQILUMg2uQLqw6kicZkl2UUHyLV8qVh7LhDbiZBPU5I2SWZT8QUfmFJ4Ix2cyYuQ4wPNH734zSEIip7U2SddEWsCkNuadDF+D37wYKT0X46UXWV+AvNhxX6uicg9DeOQBwEVzkFd3foaLP7Fwq6nGxvVkg5unmEjtSNl0r8kqVV6wCsc7bOSlvwzoAJz/AbszjjWw2mITCsaO5OqZic82k3YESUTd22ggvx33tCA0JBmVsknlKqbcD1E6z0OAkMaA9+XN9/mOqJh64P85EeRJFIkTKjcc0/89eskMrDzNCjF6qo3H/9HiGQohSGcAoupZ/JQcieeGA4XoXU2uKp3M9mHmoncGZFh67SkEuBUOtL0nxj//Gib7Smp/EU4JE6B12xuIrpUbLNXymR9RovlcMXH419uZ7N/jCuDOt7Y6dAw1lN0XGEjqOG1Cb6yyEgE3zGBNQhXGVUrFImzoZh6IJoF3VkddgdEG8jtjSHaWJ6c5BuBYq1EbcmskdPqTB+RIlrP22MZFKgheh9jxHQbt8O6LR1hZ03KKKDyLRFWKuAXCBV1q/F8hGODcpYdSMjwXfASv8Mc8zc8oI/WVIp+KKZnPviX5AaeyIoo1T4h7AFH5/2EoulRtHNo79R/g+yKEajLuPsl4VaBMMMhc9U+vleRapczROyd5d5Xv0CQ2NsXg7/Iha/KEl/gyw0MgxjzyGB5+qxVOjYt9i22FhbATFMOBr4UwrP67KsNru05BfLrcJL/eFzFYB4hNVctcXV7JWMepLNXC1dO4gPOeyyRL+HEnTJN0la/gheU6Ua6a2ZdQdChK4JeDNBZ3dQdzrJyOOzsmb9uMQic2DaZffeOxg7xxnXmaA87J3/tSRwFnMzc/CM0NdMja06fBVim2xCrMkJ2kaBqhWYDigVe6vHGMJvqv8JiKZCiyPm+iTpCJEAY3FicqJsBU2hC7hFuZgXT9iY8o8ly9qUV9uRd84/WgbhZUAVpMZ7po+y/pr42d5mu0WU356SEciG1q7qex0jlPTdFdBIwu3z4GkMsiuIjhqrD4bFrHVXiS60NtKHlvHByWaba1H8CZj8xwk5tKVQJhoacMVb1JLGsIHuLb4Q6A72thZ2iUSrfW5ZLpSKGQcKw2LAayzF8or2r0zUrwN2on0QFbh5Owg/vR4+2JOr8FwflxS7nYnae+n4Q4dY6VCEVaUesnKKljZlkfNYAmek6OubbmRkG4lK8/qk59Oh04IhEhEScZz7ThpIRpBMq/AfApa5QoYKhT31iMc6F3bLow11uf+LN6A6plD9NJIVb08D7rWe1YQKN1jdL1fv+Fn8Msxfq0w30fsvOHTR1J4mljZwxffKINjrTDPFZJO5FSNsfn6E2o5HeAjzLiJ+fK5g3YnNUhIcntICpK3AddTiE4peEqb0m8HmqYBIJ/9etgPX8Ys0NCrA26Q04S0uf8SQMZ6UggWifsHhFbmq4j13GNUdKiWV7ANBbhu0XOpr4IU13nRFlPFCXSGHzdj78biExs3/IcU+CiuKxSThp/InGiB4PXtBwPhJYSkQ4BLWWytlDFQgzU82Y+fuEb0NTOJEsGcr/WLHeyMQXmxoB94df0rzr8Ax6MCVqW2GLFSWXgG/Qw/UCPKpVKAeMsamJHMyTckcbsD5xqV+0oaEtrl8OiwLVRKypVW5dv0HlTUArRkYrKigLHzpkzW3vYcjvzxUzRIvJm0TU0usn6oWFcsSadfSLg9VpRdTWQVNvVtHL7yuFw9pFhnieharl9YXwPTvQ3PVdRlAXN33ssdWh6GcevDSmC0tCEP6lMERq3Uc1LIMmUAIooMCsq7UtuIBIvrViMCIo2e7xAQfvNRiMaZoz8omODbGyIRdX2NgL2WTjxrkAiGUIS6335JSgBlGJpybYntAGUoQj+8FigeAvbU3FqLZjw0+zn7TGQSbrIbCBQIJM/xQCNYI/cRp0T9zDQfN0mZ6PNdNPNIy31kcn5y2xaLNpN2QBvKiU4xNDrGWXHG+1E487S/SNZosZiS6MhlrJkHDZ0qfgip1eFHhTnMR50emXaXas6ixogLhhFV/q8i/wwxyRgsUCCpo/EXeZVQ6+y//ilRmmMgubem5JfUh3ytdeQLuLZtVHTkRoyeHC4akYd2OZrgZVU5hHCiv1fObK4r6WXhWLGkcGvJ7+TUF02CWAlfJR2Masl4PJ4mr9pLThd3Ox0iIgR1bO+irmA9tRtVdHMGIzWAT8Bs/0UyQ6nDtHKkAjpvqlW2D/qz1j+c6hEUTzig3P/jr22BttTXaKVL5xE65XLO7+dmftkeVAjSIgEfCCtbr1M/befywnIEIpFwHZgLdnGsIjPWepNlinsZf5pb3MNPa/ZdUP6TbchrOoUR/kuYPgZwcTzMH4AyZ34O7GGKYSBVXe+l9JI9FZp8eg44z0pdV8oeEZ+JSF1aJ+CDxm45DzuKNxUQR07LyrMKO9Fpt6b1o6vPx4mwKk8UwVk71DrseylUjg8JRVNJKWlWN9kvdtn2GOZwbeTwrGVQscY1/NeOW9eOtoyw2kN14BDO/XR3LwNxxnv8wIqXPbUsSqGwmDtzEla5RScu2Tl7YjuzurFAKCXrPrc02KY1ad3ibUj86TqwV5/DFVz+4ZAKuSz1MarZHUzJdN1SQYrqt6Udf2l6IuNKa6wwaJA65PX3afYneb+8VpgZDxINUBh/WoVLKISZWITmdgfhMKUIMjAxCb1LB9a0uqu/85Unjw1NtKIZqjvpS8bmRGl8XGhvvyqdlEKJEQi26eDzR2hOLxfn44/e45XzR9sW8JVuqt2rFRXHIzkXrlVAsFUE7SPatVhJ7i3t6XYdYKRepw3yZdchD71tFXWKEWQ8z39JHoIFL1rBu1jD2u1p2ckEC+IsaP1JaWt/ZVX8KaU9IkfV1o0p2TTZ7Oeo3/Uaa/yl7f0w1CFB9q56rXJSecAoJpk3K+YQaMSU7v97hl7jwtB1XQZP59XPYkgFGoX0d1GklwppPpL/kzcCuUH5jTcoIa2FY+qoL4n3kVtl41wSnn/qM02RRSOQG9/vnBMQqtl90dVOQwlH4p7gUKH9ivQCB+yOxQydD5q/o85u1Hn32fp3EW2kMBYQRipm3V4Xa6IlpFwrqSpt7EYGOn2BeLNVS31y+BdK5Ea8PbVPCZhmML8c4nzr0QkMrP+a9XpiH5Wfb6CWoIa2MK0iQr8BkGPJ5VK1u/5uYwinhMCm3K3TbVy3SsKxkcVS4Y3vlMx157yS8JYxblbsh7luULvk/RnT/Xc3ztzOaZ4VqH8rZzDUWQTEhrCLwwnHM4wcCOyyu2u5WPWs06LWmeMAvaiiK5CT4YVcuQunF1ZXzLwcbmzFq1WoxlJ8x345hDShR9QrKuLCbpPg1YFC5+QLI1RQAr4WHDh5qA/Zfw62Tp/yDEpaxkLoSItZQq6ccmCqhbWuG4/eabQRP4RCRroB8jWk69azuni8jrxWMuGkywRWvMPFc+kGf8DKE/R6foIOp22ZRevjNurKPm2Y0mdvQsAcRLSAZnIyL1iNWpXhzi3s3HR5ireJ9tEf7LXU3go1UtVPxnYHDi9YZGadEWX14ZkIBJ+PM5WxC5R+o81nzDBoaXdFg9FBUaZR5DPG8HSih/iUHdm7wjEH6CVJB1gOGhmquTxD19cMUhMTMzQUvy3UEQCpym8Wb+QEnrbL+cFAKf0Uf5YP24xdtKKV12g0fy627jexPBkU4XXz5dKGNf2DbUXVZpPWQqJk6H0FiUxBvoHHpwD7+UUfG1bc2aevMLxzGWgUs5ZaQ82eKpC1dtTjTAsFcp0pkUWigE9EdU1Z1YqXmSx63Qk0OhTlDs3dyWLArA/bW7Pv0uho2N9nDUyeRw1GJ529nEu50TmUikyY7WcfQ4+ed1unc7CTq2iB1FYC5KCw7dKxlo/0QAPwvhYyFMTMud4/fIjUHQ6H8ZcwifokqbB2MMlYzMiSUEYXXfPZQRchtctKbscUUYXmCuc9YscSCpR2SS5RVMjqRWsp5ozhMa1GiwaVXTWMAxEyJSgIr3a5fpQy4aqBgR9Ua+q11iW8CMIgw9dJtWwcdy6lbukbrb5CSZcIM6F5coGDCoYjR/A8P5LmZxcnNwdwaswFb4QtxkWJ4dkiL9QCtcdjKZgAskTCBjS3vhPojQ2aq1AGuBZTPLaE9VLvn7Ij8uWuWPl6szelfb5Lfgr4lfmQI6t+pgH8Lu5sRKzgapWHehalJLn3XSgiXJ9n+J1rwHQQJIw/XvaCqnaGNP1ocL67CkW8yzIL1ntZoVEFgnSEertoNwKg1BYVyridgJktrzUiC2NWVTNjbgitmObdvzZtAll9QwgTm3P5KuLd4h9ok8g8M06rsqJYdUw2hyn7pe/yjEYAqecCYTHI78wHLgrpFYWnhY/zXEy6WEFZOFlCvWDmohoAaCMZhXd1p0C1NQW4LMMQWGOC7jodamKvhKyd8vBiUXQq4UvDj28SYCmj6eEDbpJBexiTrG+GAlkPfPtl7Aa1ViUkkdO4NumYIfgCklJixm12BqpjOLxSMCZxTEls13MsSg4wPAE4HxS6Lq6VJYBca4Cn1b+dE6sABMUri8wlFMQjA4Sfe5vErXSH+1ZTQh9TLGXoBMHrycQowJxKDI+bK2NvYOF3OoJbfWpYslokCKiSAKJaV7oPn1zjeMtTjMwcxUFsI7McRT7JvFPoXe3/UcyI57/mCtu9eSD3TqBgcR1UTOdbN5y73n2Tqbg+12hpZbIsC0k38da4RexVfnAXwBchQRzaX3QID1XwE2OcQuWg90B06BqJ5xyDC/H1jU90F2MgC85pavb0tlMrSPdwLcr35/qUZp/5WtcP75iPHFpRKaPw9dbSBGtr8p1kX9i+O2SC+mzc8s/tkLElNiM9E/2XYJxWnqjSf2kT7pmHJ9cjKKSbcqUOLa7rLGDZIikvbPnmr5nbGDc0Qv1Dy50c56lg6UjdlZZWwb/ZpyH/sFSmAqgCam8nmzZYtwCux4BIIRaD7kqBm7Wd40o7Zv6h8fSlqHg+5PV77wHOblVcO+PXXu6TPczQUDS8yFVkGqI3O1ez8gu5Pm3HzV9c1AIv2yfaEk8YoW6mY46pJ0nlGY/wnkzkipdaoZQpgM2wRUmzB5+vtzlkzl4uIHtcVBmv5+u3W8PxxV1DeAZHTsHz9/fesMQMe2I6tNtO1EK7+9Kz1lPbfSlKPF82WhlVC41/sN4tJRkj8PSC2rOjcpsrBCfB3qFvkP6DsbNORADv4JZ9/AQyDzsCWI0ZAqkLQEzE7DDhjiThRmH7/tL31UiXm5BUyGNIOX7Zytj3dmYsgjsoa/6XXcG9NDmkZk3rw8/RD+UCXI4VodUUtdIgnRU86bk5TRm3phDFlv3jYVwfG14vLW1fJFumP7z6N/JJBXOB1GOzRPdRxa2F8iNMzcRYLCyAootgBn+XrGQ/m3LnJAgWjJPxN9ljts37FfX850G8n2Vkjg1/EipR2/6OWt5eR9PVV/ZWVILxlRH94zhSCd+5KuZkQyfQoN4LXqz7xte9yZC0CXrfj2kDS20ZcrT9szatCtOXM0wm+jYb+LNaNSAZ4bBtTYEXkGatfYx1qof7mp+ALzvngtADwi46PI0mgkptoQtatWHkqN0g3wb7ymfga2/8atdfkUdhHyAGTEUZe789LTi+Iyl52KUsfAtNc1WimzErYZrcYGFlS0d1VCe9GjplX44UYvckFt4tfAaX/C/0P1VUqunOzEdxN9ss6DaIoyiM0HMOYeyNfsIpNMzuNdXChHG0Sd282iPPeOPpvL+Bl6UZJuR3MFcjgIbbMlvUmPcWX4QePom5+WInnQrM+KO/HBzBhumUTIji2bsGF3ZaE+Mb37M9KD8qk9yk6mhilvMGZ6jbBWg+dnMqFhgjwfpEKwnI8FY4ms5NZbfUliGeTKV5WFtx8keg6si6gs+Fc3EKZxTGyN8i6zHxNKfC6AzPBXqLrvI500XqKxR3HtpzaoDtm/aqIXQmH8PoO3wN0zJcJEq9jskkE3/KiLcir5JskpmcmvNmlTnNJtHnKUrqqZsNYcZWRMNVTnhKw1JukoGEn6v2oWHmlovykxFPrEgIP5srC418xV0DuaHNRSvQrMou/FqNVt8Jel0UnhPDtITkSODb7OSRQfVfWPIY0tW1szkoR+bz5PDPMUdYNcSUzJByvT569QDc9uqREFIL0eJoRAPQvhvbXiv/UGngSEXDaJVmAaJoglV7c+wVW6Q98PfA338H2CJfqeSm0ejXztn2mMGeDVgXTXbWEgAm0wCjg1vA0/RINqVKfUmaEzPNIB0FClM8MqqhQgbBFB2I9gy+ZzZgLXxazwwTv+WL5ZuiRfpkfPztx19gHMRGZDLkXHCEyXVtmZKnxH0rO+qJ6fNXXRO4eT4l4hp5aL3qh3iYGpKxafcYEV9kU0FDkNsvXpezfXodYNZfX2XjOaaAhfoDh8MXDWI6EoFYbUhRBZ5b9QmoIM+sROTLkfMu8HnQMAw/+6U6xyvjsBzpFch6d0sm+EkXtY3Wm9zn+MW7TTx+OvnWFG/iilqvoV+pCHFW4nQo6QLYwJbDaw1MxRf4wtKf4+8ZgQYiyxUE2NK0NNol76JWJUr5jRk6wThU6J2U7UVsVJvbD9Doz7vtseFYjhmPNVpFwTmJ5x0EGQ3WRSMONVPr7T1apKMkOM4i9ug2Kvd2OSuiCIAWnmpUR1IxcYFqlqG1f6rNUYwcZZaYQmDULXRezKAekuhC+o3BcTarUI5lm5q41zjxwAQ+YtKvAjlZqOdJ9BS6PUYNC1AMoob7hZVLkQ7Q5J6WsMO59SjKwDszJdnqqT52HsC8FYsi5tqOPEm7IgJf2/R4S4KH3LJ25xvOWZsPX7HfCv88xf4Ai+2LUFsQNrW5dSTbbICDnHySPpoBDx8VsAie5HWpAKXsfKq5eF5yA0pKVCY6xETfuxuRhmA/k7ill2Jrk8uBm3Kcybqns8XwdYhfvNkUHQUupvxwpDabPkSJ2IA9MA9L+cmmLiM6Nyk0nRMfL6I11uns5JIpoiCVejLEdOLwNmImei5pOmUMa4MaQbM+UgC5OTV8gzfcnSmGkkMviI2ot5p+Pu9s42++0m3jgcsAMYsd0ljmOr/fsiHwd4ThYvoEgyl7ovaR4FMswrHr/QoFU1kiOpYkBXf1hjdgA1LnJOTyGm10dT6DfMuRyRcC4bh33AR54TCsbbSY8OMoEhSXrYwWaAtocR+LuasjZoTeZrXyXcIok3ajhpDAzkQivhqzSBJKxBh1y1L3D5dLpbwQ1nLy9yWn8S3XN+6S4soCIGVVOTRPJUTdaGwc7V13qWk3JG4h7UyXxvZsShm4o0/k8QOoU2NX7vm/kadCPx9Bf1b0q+ayeC9mns6OmkzAvBfQjQ/1fR8+rFrSXGKEEQ7mcVv3ZGSa9p6Q6zS7jkaJzZUJCfGXRG/GFcZAnYq2rbzsbcoUqMLTEOQKox+6Z1NK1F6oyiGXIuACSFaecwa9C4lsScBgiMqDHPE5nJWvw8xxtSfvFlJgPrNN78tfe8oRkDtpVdkzWoo7OW7mR3d6XkFi6cPHxXwCd2Gdbg2D1HFnGz9SCv2jRyqebxULu0D5t5uCtyY0jKIUe82xFYfD7xpQv6LEXaRGdi2E7u+c+SoCNVzXuzfCJTgb2TCJddfMBXAZLi3gr6KmKNHehp5hfrS2gh6GygLjFSgHi+jdr2TFuCGQ7y6CrSvEFCSmvzIy2lp18msBQLyIOmgW4Hz9MrYAoOZUYTXrs+vyLkwjV87D8ipf+oYf7aqrTj6T/Yz4D9QpumzDiWwK/6bBRGDWKlrZb1RmzV0Zd/JfDZ8Acrcf+Dh7ODx2+269c48p8bd9Pj/OZfh/4slAg73BXmEgfGRgA0KHMYn65sONvCHmDuVEMIkBEvuRWfYFigjOSLXsjtjVB6XpDIEcld7sgetNQ5MX+uJO/PEb/NdZLqcdjRGrTHQaYvSRUVuIsylaKHdt3R8TibiZylajJSljWYpNjzyXScZGJ2vX8aeN78Nb+eWHZr21i9CBowYAkw3iTz77I9nWwtt4QZiuULMDUpIdB3lH5hweo0Pf1yzq9Lm40Zd0F5eQWX8+TuC1bpDUD1X7wuMjS/OAGtbZHILDmod3v/TQHLrff73VlFkNA1EeNfgKG9vqm3sB2oGWmkZEcVXcGH7mZ8B/gWcd9D0zGqA6oZSHlJAGOY7A/fQDSo+Vn9aftcvDNJVhuyHW9TVu3sfwkOtzb1jj3doago40ULcZxQ9eOb+xAZKJ56Qv42DXgeKR+yaIf6zfckPlbY0H77xwi7gynro/FcBPHIBzQiGLlkRL9kUwttjzdQYFmTfh8fwozfdZZwoZX7CqyYn+bsw+zJ9b0eLyQJRheac2XWWf/5Wi71fImFJ7iEdb4e3jxbBCsGkx6sXDgktEK88SnpUODACkCAFWTHH/zBRKPYhs1mw7+5f5754UXhP7D7P9aZjkcBoD9+EfE0Sz9Cld64uS0l4lI/9uuq8pCq8d6l6nKHGkftF+6NEJaGnu2s124o6HQtE28wMEiyh5N0pt3hlFwf6QhOGeVLGQK3qQDomm0ahc1OLbTmaaieWOwuBEp07qb9OoR0S16UpIkWrS7mg85EXYhsJ+oNvELNRZH2gP8A1ip9zwCLiCsNIWIlSLKJBu5psh3j8ltVK+ybuOwxvRYhQjKCqymtdPO522qgpJtJA5jXYJSHF69iBlcwGPK4YjH2fkUIuoww6qMwM/15F90BeANl5oB2lwlKUEHpUEIHhFcjGhwI3We2oCozqeiCOYqEXtH9/FiwpZoSR5nvqX8CVQqD4yuapluXfXHDOPrC6V1x0SeERiluaFtJoZL5w7N6faZQ8vnq2k0vxkXbBEe2voGopb5fvCWGzqjE4gZq7Kmmm1jjuSGP/FFZNNn1geBUlXdG++BG2ccaXiO3KLr2vHJLt8tdbeNAzcNDZCTybOFirqCbntcomp8f/EaJAGCvstwsXVfmx/gngncse+c00YImb6jywyRusYmHRsvfu42CwgrzD1ZrNigjS56DsdrmPZ6LC67pm0EyfVMNv+xBimN146Hn508miVUckTFW+4AdNqlQhf6dHwaryQ7q1rurHEgGoUAL2TnPGPtXomKbETlB6oFTABlJsO4vxZwE4mFkwWPhYb2MuVyhJ61qqfA0WluDtDSQTPjjGkNfbq/kB74EkkGaMoG4MPrN0iM62bwHQmD+faB6TIbjiRcOP/OL7oCuF0MBsdXQHckzpy/QdTY063m1F3BjjBlfku5JI77v9+juhjazRMCXQLm4FqlvJS0HT4+EGUz33txJVVQI5hn0kUd+P8H2ppApO42G/4GBM8r13Yk5dafdwrmfFArqZ5JwxcNhXBaDpii0eosC1TqbBGDP7ok0Mhl2kcEKgbh2MOvivSlxmvsOiYg3LIC+bhtJuK7CVzCrxfnksKwom/Trys/vz2LPCfANjbzrAGbPlRoaQgTj+Ff0YuUpBzU54bvSc7UmOKm9l6Y3VhJ47AWlI0JhB58VpORR75abHrNZA6behzPtgLa7LvZJxhBdkIYcaqTuiUs6BtNZ00rWlbWPUnEkQhH8npEkRpMmYUvdwjRGtFtEYtSgAGhGEtmVByKsqvzrJe/oAaEOpH5iORTNjRoRYGVLbWE3Bc+q607weWjExVojSgsvJRofPxWktLLw+FduLTYZizoqxzGiJoux1CYt3BjKxbtPSEcGVOncfkR19GC4w8f0wK+2MC+jrDA1DeJE7vZg4Crp9JlwTBDaDyn2q659/k10AKqG0akzXFduVEbYnMMvDyGK55vV6jqEWf4c8HA3GsJLWMBiL+wUb7u6CbdNGOJVCaWZQDlvhJVCFPODZWPNG9VH6ERx1qJjdyWDAizGzTQN1bbSJKPpj/eaTQDtfdkoQrRL029X1JIGkrBiuzry0RfxFHvQ2xH11K3As3CFlCQGsbwTG4uQwC3ElLFNoQtRauU4V39EthombdxkKFbaCohgdbF8q2Ov3BNTI2cKRANz72iVdELs4sjzto2G4clEzQMe80T1LWgl0NlLcD0JF1WTaS8DnyS/9VHM28j7qNJLdvtt4377phaT0iNbYDf3DI/dolizn/pgzycbb+CmIyXU+Af/bNJQsxDWS7WN109E37eG8soJo0sAyruFWSVjw1e/aWSw5pjQguj8ukECYXB6mCS9CoMwf+niUuL0SCZ+/355OuZfxYqqJhb29KFF6rCfBf6JuoFFT0LYi54XhvFpqzDQumniwLCywS4QzUxe5KD3aLpey2DypeSBcrrCNf/INvgm7I6hSVwzVldsRa0NFhiQtuuIZu9K2tTlG4a+gXMq886fUFy8CDNeZJBAKlXz5Bwi3HnVEAetKBtN1UaLlzpXEHYPjM4WNf7H2CcnDKrA6BX/Sv/Sukpo8wscqwPPUpFIF/oBzTtiJ0vJSTedtc6JJl3r09iaEpPR13xKAb4dB1ddNsBiyJeIPJ6g1/SPdvn5dr+dH9090iozuLTVRJKJlIRDXtOQsT2p8zBb+ovCwD56o0yb1sD1QYvbfI0NFOmkgrkieJLnT05+Gj068rdN1Wo6etcNd3hZAmpm/OZtEQOY3hOWutvxMelWDDiKcmroK0ACgjnjfVUoZ+Dfd/uMAbdEeNK5CHU6G0Z74QdFLdQILliB9lBqUpIMXJ4OOCN567O4VNifHOA7zQZ+XBimFiCBi7PfIMb3JfEF9qO7P8+g6bfHdpJvC2wg7OYpZiSKVACOuHqyoNk01qKJNaBbbF1LWvaM3tNNpZNX6n+3BItAOqb65VU8auAVI0nY1IqKBAqjNWPKxYqTQAQH8MAyak8qD3ruCcNPWETEKGIaWqsNFniX691MsziP34TkG/m73GPfVyUsEDsDIZGD2BtsZsTmwt+zAVrWhVkjAHFdwb87QbMnUBGmf5+NQ9gbn4X/kb2zLZgQBHmCXI0AfWFxD8IlEQt/mKSVjgXQppqI0k8PoLQweuq/DL+5ljmpMjvZ7AlZdXoftDFZwmQ7IEDc1CoMSksAd0ke7dj8dF9zG2TfhaR37sEP+DY4K3dG+MnS5W03MPAazSLhOav1nY0Pq/uJf33xceAcst6Up3JFtdo/ELzgTNHJxWyq3/x1EPZEMkIACA1v75wbQuTJdbXTePtWbgHutSs9mfzT/s6UjruwUM/9Uzl+kacmQ4P4lvsopE9YsrA7cF5DB01G0H/MtUMWaYT/zOfruKNssrhztKuy9am9JJ+UPTKRaOlbF1K+U1ec97wgemTvYtIfMkuP2BtNX45yzAV63sr2ot2hasWRgfW2UOFwZ8/77kgH3bXagvGcwCG60hk4GeibGoL6j3M0IcqWKFwlCy1OouGlOgUfkM63tNZAtvgY/pwGJOLD9p0PIyvSu7RlW4ASMjQERJs7XJ7TZPaCUIwGlbAOC7yf3MKfJ951XLyDMMMtB7L+IrsngZ+pN9CBPe6ZYN5I0E4dCrLHByZXaxhClRXcDoM7hSJXFvbkLLRsDWxq3lqPplm9kiTeMtnrI0xwy1kqAzOM7IA8ukwFpfh5T2wxMdTHJksVAJ/PRXXo9KjSjfNovJCeomzbNyAkaYljx6TsUzPM/WrY9s5qjJoCZlWBs7W/NQ2BswaoC/hT+b+rkKXzqupvSx8LCCd5NwPNYAkfPrHWehL+tK2r5Kadky4i7trGAQWsmIyrytNJmbEQ8HZqH8SZIxKuV3wfogK5KHB1AcAnz85IGBUnNVm+wif5CptMzeb55WfPszzK50nupvyJtamEHB1JZ+QjUr453DkhzWHQL+TAAJ8No025S5vYidJ3j4HC9UIkTNcEdob5QqpQM1sGenK6iFYcfjjkV+GcandeehUYTmUagXlmC4PWOc7l9Oq00h0UaKNaeEOA7L/Cgm5DIiKtWvB4Px7SVTy6UuhaFGpMWcgBOhUC1UsAyJjjOi0auySYoUrWifCHsLBLhRgi8MogBvLaelp1Qt9GzVPOCVYgnzS1UCJLEbrhbeqBpPhj7uuBr4W0tcG49YeQ8zW8I8IzcyWHr8bp0G9dzqK6Ivc0uj8pL865ZAbKq8q4H5LPblHHoT4n+QPbtgt6EStlj3XIBoYdLGYgYJEDh4e2EnbmqCgtnsVrRP4BkDWAa+mytn3ZlXQ2qKeNuw8df9fwBQwSx+XQhubGMHJBsfnSsPgWQwu0YrJmdDH39hGv20eR7ISYnNl/EjZ+A+eKwu/keNEI/CLpbwAfxge+BSxx5cwgAqmEwzle5dDM3HozJVrtZAa2jqsBRgvGlk6JysZ/nDS8K9qgf6cHY/KA4qJKCwCfpVuBUHJmSWOiYwizbNIvpqV7/VLWGYjqB/KKFJ1sMwhELXCu9WMtCi9Qjdb1CdIzpdEN+aMiacP0D2q4Ngw0s6cBCOgGmuPIN7KxeLDWo2lAsdAKHxVmbo8an/qjl3BAbpRQIife3OqQUabchZ2G5+PwX6BE5hX61V4HqQAfzwXZxEylTk1CmHQ+mk4Ga1ZCJGRqeVOecrpinLck/11UYzU+asUf9CjFHxV2HEbHBkPOeccEB09FWJ2OBbeD0qIREV4uwpZQl2yLMke5wuSn8QMHePrL6HpGMNS6E6Ep8xUUkaDFPGsJxCdm0N29L/I9EKaGIbwEuoHUwjvwoMKXF87z6LsRF6prF44eTbMviPBvzyomUF/uoVU27wzdCaMaScg/Hp1k8IHDwXLnysp/jYPLFnhpL5HpeJpGFse/nzKDSuC1hGb1FyvLaYeo7UCn553B92k2lcW47jAiu5/vBqK0R+RI1oJzO29pBTWz31GbVHaDOGPMNRvyZAWb3BcoN+5RoZIecx6tx35/lbq7LPSzwFaSACGusd2TCOPQjwf/kMWXM5zU6WCHBWqwexulzr/9BjZi2SOEY4kR+tc/xP5v3rnng8p4sGZWMU+4cc9AGgsWX7TeywVNp952OZtewQCDSCUBUWkJptZSzc2z0paOqbeIJNmyH6UQXHRDrewfiAULwSk+beqGAWKrlyfjwZAOEJQoogGpTwS7B3NA7p8YtBw/8U3/mX/y6dbWzoWex7Wme1T9oj06hA09qAbdbj6xj9aYl0RN79G0sx7DS1QAKYj4A/y8k3qRUXszUiZm6TpHRwGeqJJYYxPAHB3S2rBphBYKXwyGEZG8j2vY/Ovsw/f3Htd6pLSkV6i6PhXcnsX7Xb4MC+yrhED4p1HMcD99xlBpLXOwso0wbibscpLelsAQEFUMGmO8gVkW6NM9oCJyfZb8ej34lqOGyVzibRRPaBzgkAjY46ZhfKYNxdcfORqsmmGamE8s+Aeb3BdYHQVbIbgX5yUJjRumsspF+W1pMFfGJM352kaLm6mCv8hKT8nFI/GIfCmWhe+zV+14giZZgAncHvSTyfPQ8dLF114GbyUjoYQYCFgfJkSYzvZJJkMz0hfqf0jRLO2fagXgf6ANGpYlARshGCVj7CojHgrdQSI+PwPEjJw3rEJuHyjU5wOUz05xGRq05Tjs1Lq8IFayuS9Kud5WSJ3Sdqp2sHdDaMAIPYyPkJBMi4ysQ7ZNbk0XCCSnUl/VMAWlAL3AWuKzsTBUs5mKOJrfXuXwT2ATS9Po5my9nY5lKLCkB4MpL++8jRMFi3N0V3eNfi48mAC4fHgcbsLLsmmztwvzqePCDCPrqfhYADEWrFX6DTMN4RUfAtQtHUD7GBMVbxFjEgpKY5231IOfqfBFXkwAnCQ9zLjW/fFSBmTYfqQNooAQt+GdXvnEOVzHsSvFF3nKiOaSKQrvUdKexd7i1C0y0Hf0gJh8bZY9HpuYZehB0yLOpXECZ99nUbZX1hW83M+moOQeW2QSiapwC1EjFcdp+YRD3at5QjEq9WO+vBt68xcnnLhuDbr4pBp/R2QTew8RzDzFjiokgEUFa/eMBk+FJSHZNns7a21U4gP/iGgnnBo9nkUVejnc83bclHFMowSQZJltIaelwI+inhzIiHsUZJP7C5IlU6DHJYtVTsCcJOzazIiT5Rfh7/EL5MSKoxvDwaZTBRM2KRLgD55x2Y/WGv6L06kC2ERRFIG6ACpw09rE+MkdeydelIPtjfPEKJctCJJiJr29P+Nxh7fvCMUouQtDVcqcCnChgQ4MtUcZYcHZBLArp/8vzGnNQYsVnMaWxFIQBzovqZs50K5gsmzHfxo8b1j53+B/2MtplOPW0OQazpjcEkzPVcDlGmhd2dht0eVGzJrlLQzP2Vo3jAfHT1UduzoMQrVH0loINbAgOrZpxpQW0uu6u4fP0H4p3GPpFZn/DYYXwnxHApNZ25i0IlimLmlw28TiEXamlHqyzfLgQEX1Ic+iX9QxIPGirF+Yhc+hUgorp+1Z31BDXCGpXnBcuILHxRFDi/8Bjw+CUHsqiUEF/q6ykD4ohadBWyQDG11KV/PGfNAOoXGPBz9hAT7IxE9lz98Vhb86T9LuGR9W4v3zKTVBdV+6mlM7AE2+v8VRLvq/0ab+WhtkBMJx+YuzCcIhHSwnGGqlzpOuuxwIBeBqHns6rqpAyY7uH0jHGE6uI4A/5txTNpABC8B5YTY4kDcZePEo+KFl28FZ9b1Jw3xyOfmKHksipPhixdHrRKDz8neFEYxnHGJjVpn9xIYcXWQGTGL+ptiYhH3czuWMpK0vNu0p24hwqgFYSd1ukoi0vyBSsQ0vXCp8LX++uj1cdMRTfP3c8p70p8Uyn0ALRezCVUNWMeBk3Yguqk790up+n/zqdzqdHO1+XZu07bkzoqfmqOWgzxLbspqaKzYAtXOmE9+bXp5XZHTL6fLR/LabIV2xNuVi0dMByKAjwm0qI2itFZQAr4irVzYXr8THEPzohCZJyPzMPBrFklyFh+oeA/WeTCQh87z1Nj7AlbXO2brrq1YhS9Fq7C6/dBEu4p9RP2dHYBZGliEtlFO7Ij1FBdPRby3U410CpsPdae14Q9snE42RZ8emGY9ueAkw3GkQLj06Xu6gHL5+lossvLYJ9BU7X6mFDsUYZXVWaLQKh3mx1k1dWAJ149VlAMeBC7ynnd1/LSxltHX3VRKIjV4X55Rib7OKw3t0KBI0NzLA0+KyYAj94Jp2zZVKn5va0LPSLTwxV7++8MfFLG0GjOt97FA7je/VodoeQPnYMpttTgvJFlcJb9Voby74D4b75sEB8j7zlJ1ZcY5QJOog/I11tzMnc0fp8GES3aZARYaGKtIp9bBvpV0SfO4cZfEcK0fq1QLQAdVef+yw16H3bWTdSr04gQzpG4NFTlYGOskc6tQ9fwQTYrqEsla8oX3KTAFag18E0MGXEI/xdXmOJ0rqrZop/8rnMXUdwYkE8eVhZw2UNX5O68JxMqJA3/ekihBwieKgPX2olEi9pCRt76rES8+XDxyIEKTGgVuFfKOf5IC5ZtFw7UP61IlE8ponAqK56niDvRmMbm/9t0/p+zMVzYPy482KHDuVtOfJzM2pHf74Wpu4RuhW3d7yySDqrv3q51j/shR9dOGaERmiefkXSQdmomcCG4h6QlODaxwSsds9OYXDQ/C8geDfM/qpaIWKjgq1FzZX+t3aQL7W9cHTl5uCGwq5I8V46Q9t8jkmrw+99Nh2AXVs8q7WgYPaEIxlTqqJ1EIn29iNSdd8g5+Xd3NlryFaaREipvgSIKJL8tet9SO5/fwdAevHFt8V+GKC0hL4QhRYmY6HTKtNqb6rTj6v83l5xXw1Gujsw0cUdaBypCSaAroWzJ35S/UDxANR9haCRxwYPX+uZuLbNCOQTE6rpKHdgvW2LSUM9Pd0C+9MM2D6uS64tR/0Bbd/hk5MYqlsKP0jnDPa9yhmGacr+I2W//ApLn9ozFfU9iUy4TcgCA6H2SEe5eU4NSRaAZ4b+GgQhvefqJi88WwKHBZq+yorHFbmo7IcHZogGvoTtDCvy2eaSAZZbpqzpZ9EeAYJiv7VkcBXF/foZiw1uwT6Y0pPx96IfTg86htDzPM1AgH7iF4zXsnlIVVrZkGc8giinYSYU0K7lWD8fwpjrYf1KZjXasTswPd9i0a37zMqWTXRIDd7wt2CKyXGRapqc2v6AZ/MQLnzPliyT5G82PgkZomuCOwlgKQZQDp57Gf7OoSixsrTOVABIitTV0tUs64rvZYbUttetoCsYRx7zk5DpCyNOSZrZMH+Q13w5qiwGQGbJZ62wZ6f4zNUA1GZ3d73pCidCja9bwa9Nkas9RO2hZ+m4yUd1cvCpTXQiwTTG2bjbE5SFWmnh82l8qACi1PNrEKT94KmsheKdgNq9XQUodeoIslZRlMj+5Oq0Ofyjv9W+bTMZs86sPIkXlEPWpC9SzebVZtaNCQwlOGG6qiMrn0muDzjsNUY5wSYPF76n/VkoirdWyDbvvk4v21T1x9a5yJsaNRtfu+zQgKJXOTnW1MSyf8KLaueFIpau+tBfo2GgebpuotQT0BXaLYEHqwUxkiWYdbOHqjJYQlMpzjVrczMWJ2QEh+wkOyp0bt9OVJ1XNlKEz/pYO8KXvh55CH1A53Urc8beOwXFOP8BRKPEwMyus79zxkKDGlSFRRfCoHjuB6pT+1VoFnP+48Ck+0nr9XUffWtluksKJM5TzcJbwUkLfjCkDUnFI9gn8++Ihgw9g8+tV1bYnbmpW6/IRj7wAIgPuVbKJkGoO5MRBndCCWzXjUbsroKJIuobLGyDX/jUV+JJzAnXOwC/BV6D2f+tV58U1TJtcCctFVgbSWkFLTs4q2aXQJLlo9RO5j4HAsrqwQpTONjW07thYTU07knHMA6RWWu0l8jjOk3E3av8fGZp4gpEUoPnp0LTR+zY8+ktnlv6UmfKZYdjC/X2kcjEkzSjQr67pcRfkC1dXRc+70aVWMSvNZcJy2kMbxPDazISesqVkeT2Gw58eq8lyFSqgQxLI7LPAfg4L9PWE/Jl9ZBWCduqEJaIv7HLDPwk1GNmjj9mp0FISo8tbpm778FQrzne6aM2MG+R68hqeUCqNu4f6W2jkhjxm8Fu16iY/QD2QhuYIDRpr/vqU5i6IbzwS4TL/1d9plfcovCwKfq5cpMyZ7Trq1nQY0CwOTu+If7Dz4qYbCTx9hKkkx8Nrmlgns7wslLgql/HUD7x0l6eoqOHJZr9uu0YrisrpPWptMLuqZA17tdHYIv5LSJq/vyEKsYMHdhY+S2tO2d8uIYnkx3dW5OZM7GbK5x1hch7i9qVBiIQ5G5LwR8F8RiKZQhz1VfRsNg3TUeNqzUJlAcFtg7J+fXoPbDzRMC6wapOCipYb2pZbPXNHZ3z5eQcDnXfVxl5i3M/xzbDa+0xlqt1fiZMagN/XlMh4mAF1FdljHq/eM0B9sIf0dYmqJc9UFEnPk0xxPNeLBZn9QYDAfLvkvcYlgI4yAy1Nt/Wtl8O60BQ8LkLa70Yurj6MwmSFalw4NruxiLiahq4/pTpjFSbPseq55D5xXI4knptYyAoA4OWRQuXuZCLQgog3MALkSAjZIItSe8Z8wFscCLwhXGxlgpEBklnX2XlE4xaAUAInZ4GtsYNdeVOzTOTErTmZNVY/K+sKorNpdWJJEQG3Elk1ovRM6yOEb9YUxbxiy0mo7uA5UJXZR5munnPuYZXVzI1YycdASAQYqqbioW1wnPqfxgHhIC5DrMPUG1EMl3kYlt5Sj1ClNmOx8zI8ntBwS/veYDNVXWoeA4zZCG2c+MZcNl4fq8mRflO+BAMBqkSRIxyu8dvA1jsjqIASBb38ZUNEXN76jaOyJalvrAvyeem2rJlGm7Sh6FgDDzBQQuKsvkuBv9GmqFp6AqeH2NU4eYOwPIKbeVUEaB691b5jI/laH+BLz+Ntxf8+QrTOAn4TqU6yvKZqrUCoSLoCtAwHa8UGHw96U+oG9ui6dHpq8LlvPonjYnuWV2MHx+wZfarIIuaDUJC9K0xfzGTeg1O+cGFfAjHjs6pSsVCKpD60VdLYON2Ej7luOCpkmvoSgqfFDaANMsvAhvNr+06kA0stpCIPtnEmM0efvei2CAKoMEageps7gws/3bJdpVV1Ek5zrQT+37v07Ka3LO2blN6MY+kT1qTparjplKGZH5zNyzdLYG5Q1gsrfJfh12PEAH+enWIjJMtUCNIPZ9VUDPdSrGgW9x1He3wMhQBXaLecxRhcSe3XClwB4nNgjW80Mp/0CsnpBoLpUL6c82ukdTIJbEsCuKkk8Bf3ExaWHq+mPQtxznvYTyukvA3rW49uDxu/JyJkYl3g4OjY62CLOYsgdRmHbwbJzPtkbYci1ROSmX5Qk8pHQ/wTk+dmnL1W2FwQiibTZkDi85Ce3qgBOLS3q/ZqKYijFkS/+CRWR6Qp3erNug7vwR4bYXmITVlLeko2jdCo2CYKwUObo5XsZVKT8v79cbo8Nf7Ox1BgkATuYvdF59JA+Z3TYuq2JTbE+cosXXPtdza8Oz1mOEkYaiN08kPaCajQB/8E5HBWD6Es39KXVYCje4GxCzyiL+zNfAE6I0IzTmfArBakAepgYLqx6xEUXQ6X/nH3raF3RIDyO6mUeOVp4iTF26q7icjZZWZgsA9itURnNfirPY2zCRJpt4cdsrY3+RClV/kVJSc3NoRA9OZFpZ83b+p80rDJL2NEF439o9eJVb/qKXaWmAw1oGW/bWva1N02JH7mtUxrJ+W5rrSX8Bt26W9CBGBSP6fRxrUPkV03rSADsj9mDrrT0JVp4UsAKQgf9TEywQ+UnJt08Na8D0FrarBnFOXdgBVB3xKHyU56aq6KsuoIUW9BptXd4PJbFxgYnClod5iJb6e+oYAfot8yog6VoJ+sToEFK7Ks68sKKr/+dczNupEQ7EQtV7dUbY9xxxvplCClCXXUAcCGkony1MWjvEqNSahAsI9tPkkCKVul5so3EE59klwmmqL4l9NsPdgj1OUBI2MgU5LmgnKwU3QpgH0UbHC19UbDVTzihYRbq+MMo4lmkEIPMCjaolr/xdJ52JC7tp+zBupNKTleDM8pNJouDbe0PL03oO08cEEWJFWrTPMdfmO1i5xGC7hTlXGVj2whbdAQoOselmyowEX6L0S2alIoEj+2k4zgfebB130NZMyGJyewj/PaOQP+l3VeM687TLjBjAnU8/tkGqh1MWCDzYZubJKTMB/YaJ5p0pNMst5cVi1aiu96SGVW4W/2I54ynBRF2k75eyre7xOMx+zNiitVQFWF2ld0npx/l3imbGjFaqXn+Jb1Mw/p37sOIxKVfTfmYR1Y7JM2mwx5mNGcE8xSVgSHwTO3X/ow5x2lP8cfGnQYMCafdrfaxSaXCiLj5YqPLDg1HyxMSwWM6pNuELkTGtYTXCDyP6TP3as30lFqLsmjrIS5QfPq1nOWp9LyPAjTzliYR7hXH/Y8DcJ130MkhkNun6z99j7rxu4+LKXQjE9YrRs+H5P8YEctwXeQ7FcRi42WvjLYvXFZsdDkOK/1ADr37p+dSUg7Q6EvRYEwhT/tUYI5JIok+0XVcGl1ehw0XjXOAoFqEr5s2IB4oSO1/JMfoK2MgpwFsuF0za2U1qbde9gpVBZ82y9WJ1dvZuYQiueREBJrqn85bXZzjYsvCKn775WY4lvMMNuf9RJrXCRN66R35bH76bUc8dX7/bKRdOITFptu+KUW0vQfC3etv9mpWyTsNYZOWemY8Mojf4wL/Hcf1tjSjdgEnrokB4kpqxBk5RwWy+cAyT8jSoUrvWIwtaxYMYBEHuTLxjFpYfiNwXrBJOWqyXZHOjTijuAC96c3+7LZhODjowiJX5EJr1bLK41fnSIMFOeLTUIZmqGtNIPDwuB5D7wPbFNxPGBvX9TyVVHr+eXSBIRRTM6JWtRUfJcXyjb+HUEPjtZ1CasRwZluDSyST6Jl0dWrPYfp2EyW2FrVp5IVHKv96r7tUi4kag/91hw6HS4JHhm26+3Z2aGFumk+ib7/MSXtcvnd+agKWK8jyAoF95XbVBHtqi1iKJcbsBT7OP3a76SgE7YfcBjHP3xWGVUtopXMu6usmYgODSn8MH8lW9c2+FuCglip32inFkYqpvAdDS49RiLa6F2TAH6Fz2ltZOvvjGuUmaBzZ9s0OWdZ5pMe3aSeKe+ibG2cGHHec6IqwOaIsl3T3u2eX4eeRNCB/j2yi9H9V6cTvxk3iYAXAwkiz6PGwEK+T+KkvIxCp57PvFhUf12tsHmPMutTMg32jn/+a9keSEZ6vbeOtFwgVsb9yauvAUgSvQlDz3mx5elXwB8Lkw7ZknHU3u0SWEExAZBfDAXXPFMKIyqzM5etmNrtKl2Py+JBVcyy714WMtmay+ioGWTsOYGtFlwW0IzEp+EwcIU8r+RWv3gRAYCKDnrSy2mF/nDEFWLAdQZVW/qUuK0yGbCbdQ2ZeHJOvOUcL6hqZ93ZFWrTytfOlOphaAKekUTx8vzBJtOsJAMaqiB5HQ2rra0UgHzEz0kpoSky4l74j4hHQUK02TcdPkt6IdJLKrgQpoLw1GRtm9qJaBkuBf6BH1mtgbNOzkF57DlOnON9OeQfZK3XnF+Dm4Sd7Z/CehWL5cKAdYhFGS0aGVspK0yhKvc9ofGK2OYO9iZM9hVscqxCyZqxyangkbLGtqa3b0ScTqjC6wzWiuhkK4MWj40lzt0zylAL+TL3Cl8PNYLTLeKfzIWl/okilyjTQRCApAeQlB359stomZ6NseY+d5HVp40ItwxWYpjMeG3C+lOmMu+gShovLzq9gi48tRLyxjwz6mB9iaQf1F62si3qx54IXb5sUvDN9OmN0rsMFwiYtqiqZRZ4EmbRkuj4W6/CCSfezoqgzJAmSJbIdjVv6EsRIKGZ0XN+Kpd8D7WvbGo0hF4So/7DPkJA19nLwfq9vtO7CQxmt1+nbgUm0J/j3WPN6Midg7cmAhAYiDLmKCecwiSEYiX7eCWhbmigAEdVbnXBiPqMHNkwIyBpkS+w+KNHw4WRuAzUxxlUvmqZoc1xeWtDgBeh8iebzU1xPxsrSdpdQd+Ve1CSXNP9f0/XLxO6qFEjSyXQwcDNJTCWQEURFd4dpTaYHunpmqS02BvdzV9AS4wvysz3s2KZtAZgqYuLh3aDPxXGATIa7zjXMfKKu5qoEE8WUQJ6jWR1M7gpZmHGYex1vQHNbPbzUiS3TiA6BbLZqIqtSGFt8CR8Ch7IhnmAfnfH7vIJMLmx4/Mga3KAB991S0eccQNvLy4UyuD3KcfKrrTCgi/jRW/GT+dPQnj9f9Z0oBhvjSJ74WSqRDJ7ngwHyKpCPMTJTJyw3q2AA+qXlbadVZS5+B6RB9MlOCpkyax75bFQkSMQbapBKqdnKhuX9N0Vu9IBm1BeYNLq7IP75cE4yDuMklM4Mauhq1vZRJ3U2HvBL9hIfYpYF0LFoRGeDO5Esc7JQxIj/lBTwBPi1WpK30lN4kqeG035nctfcnYeSVvM7peesSQ1yqcRjRRmddS1sVFeNUhcWtRqGZ3UzKhoPAlNoFOQ+cCV8iZyuiTi5gG9SoPD7hd/PaP8rDFuH4WNK3TEUOsRdY0wETXD8MRNpXqfGOxizLrlEBVSRo2+CkitiO5M9UxXpvmL0xhlE5IKvg/jef9sG4HBbEL0ssDMbBWnrBbRmXYX07faaRFlJF1377fEf3XrS1bzixnL8pHLaUBoFNCo7pFkjepxyXtEYW11Xgu53koVjvKTfddDkIH4cmA6MxFNmSB3SYrSf4d8RBu6y6iT55s0p6Qm3BDpiw7WbKd90sl4/3vhsEVtNe7cSzlZ0sX6ymSTs/WbT0prgfFlcFo9eAZpS0pQc9RfepADV+4CIj3fnW380CTlNj2JmSZKNCPK/j6btRltsI9PKYgcb3g4coOW9qwcDV020puZLNS5EXjga8YdvKFUzaZB1vWuGj3GCKpjcZ+GwhJB71nWSC2oU8/2wOVJ1j1sOCH9bBB7UixiCCzc1dP/m1ggBRW1qzWaE21pGrepB5QOp4E33kC23XtgKpKOCxykK9gnpfjt3xsKBjrc1Wpl5hDrQG0pyuBCL/3j8SSPZljXzgK+Dtq0z6ZrTkUuMPLWvYkD8vtSyKXA+OkqkAIE5pneUm/7g0PDszO65YVwlUaa3CaH4XM9Rs52qhrLozcWw+sZG/a01kff1kTk48W5qh0+sA8dIsjdfIRlwDjfzRdT3hor/eG1FxiS53WcxQsqfQEOJlBdlurb159eM8WNI2P7rzwDozOh5Mlqm+x7euvb0aJ/1A+cZL+nSiHzxDfaqRZrQc5nvZcyaXl97O8ZP8yvHSN2lMVlqJWVZrz6Uq1dS0jxTokqAq5bDioXnBcQ5Mv3HBmXGtMdRVj6RlJiR+NmnzaZieqEz0q+erz4ngIzapqUnb11JQEhFREXJ71FMBVc+agmlG7p/dtKmp1IJOIF5MqBzvmg86wkhIKAdQhYr613tEKuapOVIBdCP0nDumDYcphZSROcu2JkWZLxATSEexXdaBcgGOr/SvViX21w39QJIiurE4W6RsMjRfO2Y5ah7eSGlVvlYVSdm0bGqmw7mAr4eukboExcRioq8+lVjpEmeZtVublpNQRRVBddnn8qgmSX8jLS8LYi3jZHns/bIILEUZDhse7FI0S0T5neWPBM9VWUIh9mH2C0PgFBHrYH04c1lWcJTM/yS+lIPOSixl/WIRMX+M22SX9ayhrmrYswOor6FmOSnUpOfroW8CAmRPXzcASLoWTUdADkexvcZ+5A/XM4bn2Xtv5wpsNVZwOSCauqppawFMXgPQsvWOaS0ESjS8ZT1ZgEINUN/Se3f200L9ZPKOuIUf/SXizRbqw34H6Ii6z2TYQTsLHeNel63blQ+nDQH30rj4jhSmvsqnb62QO8fmoPhy/7IZ5XKuXfhVT7ryd6QKVzAuFLq4p6g9LjgWx+AShxiyLm7Xq2pwCQtX1QLGYz7wSTmiQZAHG/CkGcWS0Pimp9vcKXx7Tysf6F+eX/C6lxDiQ082CgNxB0rsjupDVyD+4/auc9T3f08WS288wAc0ZIWjOPKGk/VX0/Y6zdVrJSH6Pbbx4i9W+++hcAwHHM8RMdVKxtxQdKjhIf0q1uA+73oaVBh+V8pNdbTt+8oaVGB6NFgy3jMCVLn2XfH9fKsdL7hck1QUMU09O/ST/EdQH8QDrGEHRdSj1Yqg52CW7qBG4wRuX4QSPXHtam0FNkjnwZlGyShFk0kuWzPgeraIR4IbhCAu4qUS31Oz/qamnjoL+dPdEgrQEmdXIGvfNSc0/rnRPzdUKDaPHGStfk/U0gwfv9RRBc9s2254fdYk2Tl0VBsnXDeU4qpofVMzHcFI2QL1l++McZS/5kj/igq8773gURC2W6+TXWsbjKPoch7CJVns9yLZXPym2XHzVOj3ZLRvnp3XGXPkKpfTstD1KE6fq9mj/r9yo8ZEx7j/8C3VsupqIDAzWSxwEIahI3uIeOKcmMEljfipk5iJWVNIy2IdfHcnzd0VB3Sot4p7dF2HBDT0CFHWYpMEJS95w2Sib/GvexgeiTzuRh3WlBTkPE780BaXssjoPuXwh8oykEQ/Yhmxv7QMcmmmtxI2deLX5F9Xov27QAeD9vIxuBXUdvm1GDR1lA101u+6GW/6gyHf92uoD6Qe0/bTtCbxgtLAEq4Phk1jgmYUKjoOQvLqToF2LJ0usBQTrZ4EbBTfMYZ0Q1uvm4UofgNzB8M6t5IayzGnnSLoSCwLlNJfSPRDF6vda7Cw+nUN3JjceejvW7fEkwSkb6Lg0khI4Rgdo8QZUAacLpwNsGmfpXUQQnaHdlOkFjRcNwbMR46Z6yT2Xhx9gOLO0ya+EDnlv0UU9u2he3b8G6kEtO/WsRlzkEXnIdnC0npML4oOL2ZZ601mRXwQrXS2/PvuhmpGsiYHVpTXSb3bQryV2+AucnZN1V28n+AODIXoTBwpU89C/dfR5QvS2W/1xOqoBMCy55MqB4tlB26zkHYHBS3p/d827sxdAP8JkXFwruLghItK37FqFrND8KBSZ+xPoZY7WG1Cvv9UjklY5+JkHFraNXcoDIOFAgPZ4kl34tsQDzk14X+HMC9TEiFM+yW6qzK4tU1Q9whHupGYwEMIgpbyE7Hq3dah0dEZnjhxL1BPlrmmTpLyaUhge6rA2whc4QFe67pE/fCJy/CaTLZ3tY4siymaHxGKfpNB+6LBkVFt+T1M2LKFLrTEL3akxfQ7tcTMhYREQvVyCEjNNcdOwrTIDCMYYcMt7z5OHIbCA9iRxR7PSKO6l1lipR8oX3LQV6/2GQxjceiVfO5lNkj+GTIkCJ4R8YcS3SiUqPxmt+5bEdN/+KQjh8n2LM0vY8yen/gNBqrDt557HyUDmcQCdlkzC6/XrhvQ2JpQ0zGQ7aaa/hGI7nQHORyFAdN7R/IbriXEB4PqHCjoZHfZNSFSlBJwm7KG72SaQ5kvKU1ehKXtg/LU0v07fpFxKSHoZ0xXbTH5MMrxGVeEdNe9sBncVsyoUecNpFRODYHSTmaL2Ah9cRdlqU+AIuf9+3Py7QUvhO6ItjBfQGo4pcL/xQxvYwXwj3cd1VQXJd4ADh3lluwMAt4YwAU3jIzk5/FiQ+//mODglZNwGnU5jFKyTNBZJz3s+J8YF1SFrk5tdNEp/qELEAv13wOa0VqkQm60J7mU46KsVEn0Q0BYELOSMehn1K6te0nkpWDBdO1cIfaNXJlaBBTJQJgvJHKZklo+FEEu60Vs/Xk95f2WIFyAOC/i/repGmdAt+CewEdDa5dsYdwrljH7EY/OsteOdeCCxJi9C3IoqJzH3HnMYcOp/uHasYNyc56XfVNzaILTiUljfI5MHkHSWmQ0OK7fLw5XIh9wTgvdDvy6Z/bcIx+FARM0ePiPFG3F86tnYyZ/p7Q0Leb8qRY9YKwIa8O7JXLbfanrKSc9/8666tk2dX3ykx3LMGD+iS377KtyF4wCqN/HxiJbDdnoY5DdTNfchmO4vHdyPWgLwINHBUcnwUn1WbXed6eVWH9LKVtdfwiaIbUIN9gpUxly0VxzWwyprkAL8IXfDAu8v9bfDxR4R3Ru/3FTzeZtwiTCH6TTy+gL+B+BgV4vH7ZJDufP5eR4mEX3358yKmQGCpqzucOEbIJb4//aVlqGw9wz4lMd5lbArETMB69PeTY9tVRbcn+8w8HSrLoPz+iruR27wWdnHajHQwKllYX08d8+dkbiJ6b5+bSbsts7jY2eLlH39bdUj19EqK8MwZGso5t2FDHqmfNFs6X9vv4iFtPB1WbZWEoNHEWSp6EqUivVN2SaNm2QGSqUFP8X7GEJRMj0rtxtBYU4HM+zh4Lj4/bsgw6S023sGx2yfAs4kbuzFcBu+8I2Uyz/eBlY/74NbsxLG0YaBxUGsGYh2RBS7/elD7OZsUUv4S2uuQkCS9hiWsMIYkWHFNINxj7n3HvaWuVUe3gc3WY+uqErgqQp+8P/uIttWq+nV/+NW4sCfiqyFawVHysyMOKGodSw75qLWP5IgvOENK3O3YHhpmXcnup5I7XTBLCDr5F0KRJQjqb0+Bwi97KFkVCjKlExWOUL1dS7LJwxq9fKANIxMQtBCHjhBF1RF9r41PMCs9/DhqjGkwSlxc+sxBlRt8tvRmWVka5qozFM3f00KenJGIHiiDySEo/axYIgA/Q/yJZlT85J2WTRtaW0/uXNSbZ3oNJjD7sSbDTEAnLPqYGYMFM6DBYP/aLjMAqljUyPOGjpOJtKdqnGIXEzSIE2hopUnYI8AdO7JHrfmcvZJ1CVfkY16fzhQqVEN0NWh5HYQvyT0DVxtTmp2sSx/+xJ9HYEbmLQdnH1+bdGFIkCsBOAyGYBwlHuodtqfpKbgZwujiqXayxdfkbxB8KgGaiDEJ8S4W5d99eN8WKYM25ToVge6UtiijbvDF7O8/01wfxC3RF1OYbCmrednUWnOpwdmsOZD8BUVdLz97jrwpP16tF6+Aw7RgzXbuLpW5ajc5FPKT2thUCcQXZ0MbxBFtnuMwLOfzjgJKPazdC5JQsE3IJfD5jMjxMeEOm5NhXL3UAXjLNc80Xst7PdMlF05cFdZwf1u07XMJN9CibIV1chLmxVA+oLnxB7FKe7n9NH0AhXxL8bD6wIdfL8/Q1jRNpdEAU3syPZKJpX1Qtz893putCF/bYns2L6lkDsspl0IS/OmIOw2jMFQ63rkUHxOzCkQzTHPFCuwzmB+3pxrLS2bwyJxanDnxQek8UZYovHBQolpuLJSwIMvcKIa0sJoCFb5tLV5v+klz4AsY6DFzNJgneibvKNPpH/XJDsezfHJqtjvssgt49EQ+sM7El14aGgeqW4LEDO0ARKqKLhDWK6mxzwFW9cYNwvOAdpwjpILY012PgNZRiTdM45RedLYHSP5xjkAtu1aI50EC+/aJGHSyEKNzkGr0Q6OD69EIDD303Gm4+hialxs61mXLoDAv6tF/gaR2NrXjl9u4s/9FaN+cXWxekVpZ0L1ny8ddqW0tBaihd9kdxjzGTIT6wVkJaK0WgiulSegNdn1s0s1Gl0EnTTbq0yHJFbDu2Bu8BrisEsTIdIyiFnxXa79Yl7JZe9qrqbQEhPtNqSC+8jzs0gF4Gll3sBno24kgeb/TAfLwH2UOkOrjTQHfbLZiJgd3ZFmFAbSaEpxh5WPzImxD1vdm3sut9Mxtzh99KIDgydE4HRNfF2oRcBzMoam1WOye4rF4MRUv901SRCuEAc1YL7amNAzi2owHAvoWgRkLNs48lUnT9LEDTEjA42KLaCkLr9A7ouncOdaFFKJftzLlGeKZtz8DHkzkwOtXnuqcU5b1PXcVGi/ahS0h7KCyMwOUgshktdqvyqGlh4oYjl8dz1hsevJ5Ya8jvta68XT6N3H8kXktzzqrRyhzg1nNo2vGtgMdqBijHQmrj6oI2IE/boFcO1C12QOfgPdtwbEHmCSKSHSqD4uoPhzvumaviY1fkVXBgCvbBgQ42FAV10VCvWnLW/jdw9E83t0704FFffAW8YpjZGBE8KvZBM+tpN4zT3DD4htoRjCHGEnExRSTjQRBoZrvN/4SEvsIvD0ApvE+eNbIj0W/iufmJruFEhqBWdrZg5ahrNQxPxU2uuWKfECUd6KeeJ5AtR7+4hrV9r3wF9fVuJekAGE6FTtk/zQcJ4KhSsvF1Zo9zhY+R2Ne9imVarsjcWdLUO/pesW6GJlDIJ4NGXp3NyAnP4hyCBTlRCrkyqox2faqN2LMBHkysWF3+c0lkxh3n3osn/h/9Im6m+5GfT0BQecgPRQgM09Mfb8ZmVwQOnenB0QOD3KYK+on9MqTq9TFx+kQlzWqRrEqwJupwBJmVNgEwkfKhRvQAru4Tp6zWNXmxCvWRKumeZGRKVQ5bxvOCey4XGVv7xMSMaVnxZlKj4GQZvqqelope9AnW1QYBcfKzj04o22l6PBsi7EJORK714swslaUbt6ahdxWuGqzjGI4WljLOe0PsR2d6zmxunhHq9LP84IMc+xwkjhYGj53Xa0d4ntXbmZzIMmQzOyGprwhunBlpoVDFe6ro060DfoBUCgJA2EcQCiJUBkKMsTRD1sryH4mvNOpLRnEXL8n5cZZatNFjbNF4pYFCymE8mG8FRA7IUXTMo2IVSGNOKOsa+Ua43xbJyr9xwcyGsLD3TvpCgegaopEnGEhnOD/U5BZnB1Fj/ylvD0cWMl2p6c9td4Zo2CVlI3CdSeNEkiuWXnPWPCBM9QFSgQ4NjZgmjK2qYM3X49qkhL3/axOwT5ejQekQl7OYa5W77TD/ZORfnmc1Xh8mJHRzkdcMpr1ziM9nT8GOevpxdt+VMhINYSycrdcxJkpICy9oN3+UOpkOwxYSqNDPXoj7noFolGpMoKelB5dR8mAOSsIiBMuj8J7rkJbk13V/6Yr1jcfrGQyM4r1I42Xufpum5fBp/z8etaXiXsjN0AUlD/MlMKfJM7nEtWNOWnsNkFebGePos3LPYh51xqKLQvOxD5SKLXtGBOgcK5b2Z3RE140bRi2SnaAyy/BwRSeMaQ6q0vRyYcJDDFg+Q/C2NlEiqbjb3WvfdILCTiE/ieqP+v2G8DvClENnXHCKn1bc2fI+mYGf66QI+uK6DG5MyfwN/F03/kOAmg6ICckkDmxCyGPqYIHs8lPOzPbp3LLiWM1WptLDsZpD33SIFj1n9Ph8kc8196I2WnqJWoskczmKFvXzeogsd3KM9DUDpF3OcViqR5tI1YVkOQlLKPGg3NbKpvCa1Rnh351i1Sk00f3NpPC/9HhYAWOSwrJEJ9MEr0M3vAe2RkP9YGooWp8YSG6IqglqTYoSQDtbcmfmd/L0wwqF6qpR9/AwFQtg62LRcvyLal/ERNaSeSQEl57lCsLSkwMQJXDa7q2F083L7M6SaspZIqhGbGc920fyXqShTM8PT4jSAKmnIY+anvD2tN4qAWjVHGFRJwe284vipb/2qgcf9fAVht1hkdICHpv9P87qmXjSy0qppUCLTLmZXngspc0h+jfQaMjQOXhkdA69fecscEx3LYDJw4VtUyiV3lNYwYS/hbmpQFjSVx2HQZNRYeeILB1V/BKm1sPQxuRXQLAZ+OOhPlOp1tsYKtlv+eSx1ErCr1HLXXf4ikMfbt6oGg5XY1Xumq/QDhX2fD/Nop0kqK6WbFVyc3CeH4VhLMqFbN3HTdpfLNzNXN3cNaGv3a3WITkX9LqWMwl/2UaIL9G/Ph8ZsejLL1YJ5OGblMsWMuRw6vaEOUqDaaZwL5BGqWY6NAdzvzK+46cdGWWePpDwJtTRTD7upppPb8zHhkrZnzAJRgQuCeIm7+HFIlUHbwAm1HliJ/HeWEPF6urN0oQ4eRRKjoJ5natYGw9Y+uw0EqdSm+yQRmRHydr8GcLWs+EsBzs+mBwY4VoFWDHyR+l9dWqdZoiky9mJzXo8uwJtlr+MJ6Dm8Sx8KE/tMdPlSs/tzEeX78lAvtAMLr28HBsq5uWbNCeJd4fG7+9AVbaK5r+3OJXSeei9UihNcVKxcitfR+SljpW/GI/tZZX7jVjnyAMe2LfnrpjCyl/3HaMuxpLe4o9VeUrcViwiCfS1dmbg1+ujDTN98eTr6feVrqIdA1McSqm5k8Ig2blE8I8XQyXEWFljpLEDqAnxkLRJgX8IFC8s+jV3yA2vLDWyc+iK1/ssY0nRp0mSKvot9cYu9BNpY+KbQhgLaIKIw1upRep+U/bw7NvRJWIpsEcpv7sZIvrBsPfS8METeRB7+begekawQUXcS2dh6uIiYLRUoAF2qz5Q8+DAU+RRwpd+DRm+gihcJMFzg6FvUwyXYBdMU2MFo45rKct+cJhdfBs+heCGGMU8U+kuT8Nq2wzJ6WxEPvd6tQ8Z8A8NSmYwiJ8/63nE7WgPkUsGFoJ83mtjs+bGOEYn4PD+ZRJI28yK9rUU6jAtTi64f93kQih+zlKq8TUlwXZwYFRoqJcAa95uuZ9EAWjOFA0GpvWl0AQsCdFIIyEhBGpY7QSLYh3Mp7Lsva9Yir3/FKoxCyU5eanZMn9gj5s/hMKHyHkYHVRtjhBisWt7y1fQGrI3FeP3CLniKjtWhCHHxPKQknXlxkNTS1ggHJUpMfxgLBLZsZF1xIZteRMATh40E0qa57CWBfqdKkLOW4I5aulaQ/NX2uxSt820Be6wu1Ticpl+yB3tWWzefy4ad/+BPIhAzsYtDiGwYpdT31QyBf/oeJ9nU9vLP6uiLEpN2xykoptVA0am8jMptMbhtXwyj1o+EINCjCrKbfLrvTgd8nodeQ0jCPVOZ4fRG97fQ6aTp4m1wzpSZ5x1x8wAJJJvjzNFF4VH62CQp/N2i9sRw4QjIr17/30mZrtXptTR1WFkXN0UjJK5Kv4vLkFZe/6QipVXsxY8urfVRCGn1OMSC+ygGdeIiad8dgLzlH5sBMMRe2yIayG/A5giqo0ZZNAf87R5Dpc9Y264xUp3IziCxGBpIs47x0LFepfEk2bkI/Tqu4a2jSIOvLKB/CuHb7vK07EPcQ7+Bxoy3RS7ajmiyTzj5d27MUUAFUz9KHcLPN7ZvYerkOcq7+5CgnCXfESW8MoMYEIRw="/>
  <p:tag name="MEKKOXMLTAGS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BTFPLAYOUTENABLED" val="1"/>
  <p:tag name="MEKKOXML1" val="4HooU0THZk28POP9trq+pbTvvzd/gcV8t56cq85kb3NDTsUhojRA0EsgEHHMH7oYP1SYpn09ysXVivguJdhTvfyVMsBLTGvcX7WPTor/CmWiWcfk2RmY+GE6Q6T90sFUr0lg9IPP9y8umrse/9AoLT5R0GKq+XM9pr/aTyOTf0wptcuHbHxeyqBm9svU01qeeEM1v0hpSHUgirOnAK/wunjZPmzVPPwFyUBDlDfxgncUkNpl6YIjkX7UyhOxikHnx8P/XZ4LIcekayZvKlH95iRFUhxtoqoZjAIVXAqlTLi8mDtulVZKfWFHTbWZZpCSTdLWHSV/kN16ZJVixt746mGr4JeuoOYoUTBHNqBKR1q6zqZz4yOEXm+R+TJc3MKL8lE8RcS2/CtQDnpaxxjxhHeo2WhUvwcWigOnpd+osp8PYRpaleP5J5xW6jw3OYB/8i5lf/qxvV7lWkr2g00dtQvvexG7CpiTqVgtLoNEOfQ+CVyE2huqlOWjGMqN3cdlQ9IsyOOMf7c77q14guyNE2TAzccaYRE5U8YoT8h83xAKXMLV7B5M0VXEp1W0ZNQ9lmDTWQYNoJTcWa/DJcDGYwIW1dUROj0VFhEwWzakKskCnM1xzXGwO9iaRTZ6Rgueduh6wSxI12Rdm+jH/G+4Ol75w/X3HG3waKzlo4Xjolw5YtAyI/f4M+3qrKAAHYIp6SHGMz3R5n3ctJ5pBjfIjsaNiASNMhTAXy+zKduU+E4L9dGcYbejovbDeXsj0HDOH20GubWD/EnuY3MiLkmL2zrvmOdYDoS3RsbFzXTo9vwYIySeeEnWnr8lwMZWDEDKZapYw3SrwWyCZLtbvN+ibInUW11sMv3p0Bi9iXnUCEPpsoaOQ9snPhEq7ykpb9freK3gfzwBfqQXZwkl0IX2Vqjfj254qVbWSMHegw0J20KAVG/jk7bN5oyGno+8Yqi/DmIicN556T4rjNFVK76GMfcBOKgH+CizKuJg49m8bz6CDX7J41Q54RjGO6boNEmhMtE4whO8w8fYus9HgJtIkfjzKbP3sWCnsBZ+2ufWbj2X30MOCBDD9O47adcG78RHNl3AoehOxSf2JlEJDm4Gb6VkZK4ZETsyTjvREz1B+eIAemX4yXH6xqo56XvW/qyf8uYhqKc3HCp9Vz6Tj+l9hlBvwmNqu5ThkQO+Y5h3S/eJ5BNu6szUMkyAfmGzSyvYVz6F/6UrxAgVPNstK2jVKrPoLL7WOcPgh2mwEFyMQHEy9uausem3B2PVsd42ZbjbrkZxr/XH1aUe/PyUNujLMJtR83FIqEZZusf7JsS6zc55J0Z0HsoAXfh1qe5qiHWhNGVCccfrr/xhNpG4U7cnJaN8ks+WBthZN8A7p4+5q6mRVLqvk4kYAGJEKyDK2qm1QFm8tGHkks3XSJHsl+Wa1/O/MlpG+WkdtFs8+63FYG/01dUIXyKm0bIji6nrvuFuyXRdJ+a5ZVpieNfbdpk8PhuAeGJW/9dPTIgCSk42nx3Icx2h0zTxsHtXzn4v4QRMUpqmGjZLBvJ1+wfEnyRTNO7fVktQX6hc6OpkucnBq6BMwpxMzhnh0DLrMYwPe/T+JxqaPL/cbEaO4JawGvRC3BV0Qq3P1puT8HA/B1rQ5wkvKae3nx26toHCCV2O/SOAzQvcYgQE8hVhJ0eG7gJu1kB4+DzXFz5MDsDbF46fZv07y5PTV6XZj9/T65qYsSQqGq97Ud5f+42Sb0nC7QMktMnj9t9zkdRAAQjgr1ImYteGWzoIswoy88UxX1dMDDKDMeQwhNVuMJkugSH4phJBa5sLpGqDTHtj+t0XSXSZlu2ON6XVkHyTorpscRpsZSNr4bHNO3Juo6uDdx2fxrqH4l8NabV/aKQFxGGLDaYnUNluiDkRhMikTsudUactWyUIRnTDMBAlsEWQQlJ/l9gMCoXh6xNboDA4Ib6egm7TTNsWRHqHfT25nn67AlT17PcPfqRzZdHlY2jHTd7xznO1kIa+obI4wRgizZoFRz4wpIDNfEYoaSnkgRo9oMKJVg1FRFOQpuXIy+Bk6sZ4lxKL2KSqfCrBdCXbMT0zsX5C/uv2QhfGrNBLJiPvnp10Qy28qpX5iqYbp52fXBF0z7r6ih19rTp1sfZaKzKvNYDuTHn4YBMsUeLORVEEUaeKAd4wLlGX6iGI9Mj26QEdFgT4i+KNH26QGP9Z5FqTI92rEVK21v+LfNqEI52Q5V46m6F+AR+RcNxQGRtjTiCX37SWXbI8wO1gnysEvso2aUuigAPT43pDjOumhcLuZQWoh5wwZkRs9E9rQUeMQh5AD6DGhsAUx+2UyBgbw9+2QZeMXYZ0vEQdF8+cvb94L6JkZwDg1qimUOq2of2AXjBFwFB35ftthSi6dAEIbI2MZSf0uYxN5dmAT5UzHBdtJA0n6KEVeEizKuOlKcE/5CQtj0z39n1LM3SczD92VmDywu7xYaZWt2xsoyX7FInuGpaknNhZ9ECAkWfsdSjXm784C9GjGAD9K1COX+lZyrWwCG4RObcCrGGb2YnoKYX7Y58pHUxVU7FB8EiULNVCjVAIfR4p9MqBfKNSyH+dkn2+fWMMn/zaQ43tqhtEEJ6MjCzBL7Q1AW2m7kiB+eQtDtDcW7zAmA4xQ+F/REUvigspgddLL/onQVyeyBc9UTag3axAB4WYsMuPrMbd/eyTEblVRlt53rqelIPyFxlXwexgPzGY7I2eqJUqVq0weX9/5Kw0qCa5o/2Bir3vlYNpv4XxWrMdE7v3YbHiNkasvK/cFqC8dQX+Zd8YGhX9yESMoIVCORlXR0Kh3fexTh619RBFYYE6Zv4SVgemutEO0/VDwhRrLQWvdOgejWvq0R2Ri73NSZ6mYiPPbPgAYlv4HyQjg/N1ac52oFVu8bmUy3lDcBUH1RikDvNxj3fAsNehtf52KJAfdgNcwI61QEiCUs7+qaHdURsbyUeY4HqH/JXBi89nrLsrNNXq8vnSrKwegfM+UfcDEROaP8/V4uZTGsZxRtqCmjH7XbKEkUm0dykA+OWoIj+upMSd6xVcL94bVp9sxjw1euP2SVWK1C+YCjWJbuoTfdDwSD+6ti6ThJA7IHRxcNxL3Pwqt+wdgrPFMU4wudvfn6Dv8tlAWF08FGNof7XW0LSpy6pSeCdb76g07+HmfDk4V3gTaLk+6MByMYo+CnplfsI1C7OCUuIXqP4LuGxKbuIKsIFIRH/udi0O4FvCPShQknUe7YGDtNGIL22aGSl8q5HSZDfk3CVWrzj3GuL0zLKNIPSca3KainpWaJcI3fCElEVTpTOIcIqF2t/M23JTGTPZxSJ8j8AwlFGSAHEUE0bxQ9CTh1BebnLcZ3XogZVtX2HONSUpmS26JmzOlJeQkoqUbVuekd1x5zUTcrkDuA0CeKQu7j6/osPSdCTuknmt24pz62fsxA+0qh2+jfBApYn2JmhocgMhXhXJplIarvh9y9ZzBRr/7Yf7po52NHZtsP1ZOosZjFFGwb83q9TZ/x5Bpvj5Hqhoqf+is6NXWh3WD+BIaLbrZD3Y74g0WkGlp1DA03QZSwHgiWQMwYZbo7a+FwRtTgRN08UcAtSdhVJm7PFz7OOPBFqU4ErNwpwAWuqYFOzkfClQD40K/3/Ldn6B6//1ohubewxLW51jtbEffdnI5i8Z9Lo/aSJJLugf6Y9SHd8ktxfbsSRAPM6zCs4ekn9gwohFFchHUhHogPPtwoFyHIfAPbivG/ooUNNP2vx/xOfRLDGnLJ7oSPMPA04t+xSBbeGH/85gPMQToxahuijXiABuVYeZ0zEwA6ZYPNAmdRJPySrQA8R281r7VoNe8ZXQfktt1cywd8J2emdRCvWEPLM7VrWTWejL8fU5OQxuPkZ+MmBg2wfE5PycKaufUh6vkTsF/Nu8BTdcVfjjzRoGLmmGV+yVY8j68GNHh4Xmyq9AMQPr1F29AVqAmd840Tff0/i6lCVevhcQTSWv2H9Byse3GgytedB4wK8dFdb5Yzy3wjo5PetQxxCct7bL+/ykksN2FEjn++zLaEv3xOtPN94HtdZhMvt1xSsmSsAAwV6TbebDGDLidxfZ8jLAV7G2ESfPQCTIJ1OduqqC/yw4WdUGLhhg3UkuptSWrE6jsduUXy55MajqjVS5cc/4H3EJ1s8mpZ0xiNdrEfv30K/56++eLFa5sczs+hYFYOgegSlMZHacfXK3HOpZyWVFq3s5vDlqd4MGnHoozMR12G5r/Eu8Pw7QRCUkOeENAUdZpYRHBc9bFdkFx3voosQRj+t9wEfjsqS6q6oH5NZQDSV4mVHoEE1s0uMNN98HUK08xKhPEQg3ixCjPFAI2Yfpuc/5EJWRwHdhI2zaY8SuW2sQuczYuvtQQRcBsor20Kqsw6eD353PrxO0xaje+KEMdVx8nDHJzuZWmRHUeMB4IKJgY1E9O/jHkEAm611Ek8RhJOdYEYZDpq+j+1DhLEbsRyI1BxoCZRzF55L7w9QwDmIJmz7lFzFkwsmQipnyGEUYQyF17QDA6D4200Q4Wv/a1EnilaUMMjjIR/qkf9yQIyi+H+9wSPHSdoSwD3HBGx4oWVh/UkA8bwH5V/1ajB86Aa/VBSur+8OmaXbGNwpVG/GXDEcmnlASo/E7cB5E7scnZ/txcH1g7WJKxhly6932WwN0DJefjoewkcgJ4Zz4LAaLJzM9eOdOR+UcGnMdumcoh3RH3bm7SCX8C4DLakDXBj0MYpESLBA2xnl6oDjxsgi8u4I22Xhf6BiVis6pqlFN375pXaCnyE4ILUKnZoDTmeQ6RUzkTv4fgfYrJfTA2Gc1uZxoUFW6cNSMxWHfDFaei0URc3xJx/0Ku/MI6gYjNc7oR1lTH907NcpYMvu9SYPtW3r7bhbFbPRLUDf+vYNp6rhUnu1Ps82lD2mDh6TbvabhM4oSB+7ERsYuaqdh6ts9X7hmpGaDKOkdgzyWxw+yXWBt1VCSIWMv+/V0uVaOGpaQZWvtrTWcmPvKRSvGKlVhror8xNvFLsr+orINEmRsWhmp0s+QeFsgWyeh3KMWQQyfwo85knBD1mlLPBbTa0rLITcb1uKn0YoZXG9JFstRNVIBwCXV3kCMwV9U5AT9E5YoSFJM+C2/SA/dM5TRjJf1Mtsz2VCcEwA932yKSv29MKZp8SXSOfxMZ+Ptd1azFmU+g2EeT8kn8uJQDtfeubxA4bTJLKEHW+fTk4AsvM5OGlxNrFkRi3LquR9kcGRbDKfH8muES82sQYDjUZv0pcrMmY5O4Oq0FN3ckeELWtmC+9KNeRASx47t2molaGQutYfQXss9wwAkwSbdahvs3XYsfPyDKAj0Ild7qE1CY5ZRfyF02s8GPE8c/6PxpRO/en8nMg+jOok5cZ94dYCc5bWhjdecFSKBSqnwRqHYKstmiMer238jU/KGBbaDQfPpWn4CT1b86WGT+cs80L1b4fQ/qnRjtX172XojFcg4+AKi4oVLHmN5ypuzB4uwYjrCI8wXBqqDLy+bixqvj0KhmIsScC1tTnmK1fqS5SvYVVSm14djXXFb9T8KtmcWUm2wiggufO1WemcHUNPAxy0erqmCX8u24NrwFCV2go5Hv6+Q7P8NF9XZdhJapm+noSRQzor9QtSfRxF1iVPM2q+unrY1rohHv1cUklJXoaGy3aWqemVr3cjzpUoOBe0aG5DlMSaHjyGr0aq7ZPBpAML9m0uEm5fyQLNabngb/J3MdfN6kL43qk/CbjHbENTy8BUjhdrpTqF9fcvGWj6teCdpawMtXx7GGZHEdxqdpptFY4JQTGDywFSoWr20WCI3CbLCKY0xlwAq63fkLmk/nRQbwsGhwAw1FztFNhiLOzp+XiV/TySARKymwXwZaOSP5s2Mu7j/6YAQUlROwJioHxqGYJG+dTAKqharx9HJd6deJmKEEEBFf4hui8ym2g6gfZ4mBrblEAtSjboB1EzN5dyuVt1+sN32rqOHhYUpGrO+PiEpdbNj+H+GpvmhXmmWRV9HRp+63M+NODb0551KC+10WopWyeXQ69hkM5KKUKNRi/8oHpYxWtfkE5zT8SyY/LG9vndeCa9f91ReWzQbbjT4ZAuKzfNMFb7nAcsaiRooPgSFCsnjaIBqRUJNWva2O79Krqzlcae0A/dO/qlOnc7PSo+4r0AQ4CZK2DE6MmHfWuptF5LI96iPmrSmDdaWBG1/PoQwOgMmzDPGY4rXin8pgnwMV6UPQtWhN/AdnMJvTCoYw3C2tQy3/Fa5CatXQk3+dR6ZEuX0P+YUEld97UUYEQS66ibjjUd1iFjk/wpdfH+hGCIJK2v9jVhAcp/y4fNT6qXG/iKexSrYK17tUyE4Y5Kh0b7aYt5ceois3sHn3BgOAiMe72bVGuQnwKJmGvFYNCG5PWPQlkeM4T3fZmbiJin+W9t7QhXOekj+SmCCJUrhxvoDrT0CnsaAlVuTaZDGmTeNsxt4D1ayIngbZNRoTRIYjNgEiloVcGcsTUygsk7oPIf6WrrFvfvOpnFyacN8meXG/RR7Np+lbwBoGlGzxyI87WEFtOk10/s0MM0Dq+EKSjjnDwHmCutolBEjMrRKw1QBz1OOio12EMPZ5Ei+URkeCaA8BsHVRaoKBjsYkBnTc9A4os8750wh0XRKw+ueLbtzUDMGhrR2JmfAKj5R8o7rId6CAsK06iDKCTgiMW65QTbG0/W7l4gvMNz1pWVTz3Gk+p4QxfHtntmgJfj24JITexUnXCvSimPQkfKD9FxnnoPoBvkehDziNC9n5vLDdwHFq2lY/MA3DnPAYfJ2ZNEXlOLhJxXnztSokHX+RhGHCfUtiNl27YleA+bSBCHyOozFSYKPb0FMeYrL73JEFpfY7xgJc9URMpjUFy1TBHOmv0aweRM1F7DJjpDkSwY5/Tt64SLttqIT5NEZ1htSHcwvcfYvj0CCp3/HGq4xivc3TH+V0QdWuaZ4BIDT4FzK1l8sBoM5yDrzHmnaWbdWJrNBSwLVZM/OSn3j63bwErTnG4dYunBMUq14N4Ixqw6D3RODD5KGYvwhNDM67O5GyYywHygEOrgM+acQit8e/xGLnEzHb3o5nS8MlskZWRrEuHV2iWprJqA8edUbeboldTMedAI35Ik4idxXCvJIaXzuZAnnTjYPhnfCyYG+LwV5/Y6eyaqlNv/WHmHsn6eklfBuqCqtfZLyerJwtpHqGNQK5r7Olxk5OrY4gugNZd4ebK6bGoC5yyRFa+BHm5mdlfjGiXS199cltxBDRL8CTECD5AXKYHxYtMCI39sBaEElXQQBLLsN8ITbFOhc03rQojdy/xSs9PJCe2T9mOBDHvfqnla9oBU6a2c+HIneRRczcv+yH++oEneex1ImVsJQDtj8Nzo1YTjZUW7UcGnAfb3zBjYCkd8J40pK/w1mDaXwk2cAS+4oaOzlNaiCKeWoQUtUw998HnFnhxV4DskftHfGnm+fgUCggQlWcwhop/5Wtz8GmiB3wPixq5ATKptaC3Qg46P28AOI3gltSEqzb0B++Njyh02O79I2AOl/V1o0RlbFrWeovmtgmhgRGCmco4hMFekUIUxRtC9wBhUJx9mqrSa6t5Uw238iB7YIQlH40eAZHu92kOHStEtBSFWq1yHxZUCiM2dSvFuLZMbDXz3TCZ/ncfpeGRTEdpNp3wuIw3XSESQBA4/FFR8wXC/N34dvMY+LSivPJxB7rtNOOGPcANUQU8hwYLLEBSVUCCgUIBhcJHRPg1ZLfdwViObQ1s2R40ATRBPAYS22hqmUQha0Qb/jwdZ/lZ/qupLpKo+viZvQ+k51vyXtgDxSF3AMYcfDzCvaqSVhdsfV6oHhdHgjg931RO4OaTKhysLPNtrKvJQZ7r4WN+zoyDVQUYCd0Asm4yuw5vmMVt9Fv9xsSyLF335oxh97PbdCrf6f/MekHNd+B3f/obk8vAwlEWtpiNgG+WIXtrSSA5e0hAfm+S0IzSl76xB4ftbRjj3g17MZRpsYyVuBGMoeX6yw27jT+KHds3eLQLIiPDruLiwRyaAJ2NEsYCivTWUgvmBAwB7r92QvEs1DFq5nq5D/HL0qpJtEVi7xo4ZfXTvVCTAHyVi8Ndk4jLeItdCii/Y8A7+Ybx/ak5c+wLNElPl0PRlMXNjOeSxzp+3DN22SXnRR1v4EB5crWak1a1KiM5eBr8hA6sx/wjIRKToAKcPa+GqngDj+z9q/JKHRUhxRpXkpNPlkUVYChEdyoFDPOsCV4LG9YhHj2PAg2e3zBt4YGI17AGJYIFkdDhWonBpWtr9I0Pv2BEdf/xHy915soel8wUxs/TPUn/pCsJd1RH42UbnX2M050Icw/BPYxqLNQexuu81AEmT8qkLxMhElNY+dPtbJnjo4sCdbV6VWJUuGYIhfiCTg7ihxrQITeEgrFaZ4orTINX3oS9QnLOR2m1vgXhE2VGqunoOjZ7zMlFuS+mg/ZrxfVG1IdXcFItUE+3pBLPD7EG8JhOz1vzpeCh2UBiDSjvk3NTBomIporRcaZnu9g+iC1wCBsp/546mdkgz3A3yDzh59IL6Y4WRnsbQQaWgRVdj3eJ0GaoLcw+4s4Jm/DdGV4+aFSzazso4RUHFEMXRU3u0IlGT7lEKJOOjpcLmhW/kES+Vlj8L6VCsIyV3rkpafu283q0A+uVKJBXrLJM9wtCpK4Uvufngg/wb0E350KTX9TfVpiX0rybBDuRXovTnun/vnhDEC7XsiFyu9fmh4wwi9pZPLMRnGG79L+sU5JmExfMMhwJl3cqrCmbSuy3Mqx2vjYb74uPiYpo79F6h/FOggjdyh2sSvLrN2epIn66xMd0/8j3Ng+ofVknI2VXDqQkn/8B8z6PcxssZw6QOZt3PtWuUPe0uX/KdmEP5uPKWpFcXY3c4w8w31DXrZyZWdVT1lO0O7dyZxHtnMYU3CLUb9UZdTEfkKxrCVDywgXYxYPmLlpGIFyyMY02TwK5fFB+nWgMDIcip4Wq8to/joCQjsbCN2FvQxGevm6RJxXe+cdxaCx7oX5cxRpes5aBLImA7Mekr4x3iO75DvgDQndZobR0c/5f43RjQC2jcaEp1non9z/uNn9OW+ZYwXYbS3FQAbJXnp1bpJryOO3K0oSB5znyW4fwgAt94tLXKKhdD9WbkQBLjwGLByx1PuCcHK5tkHGnLRqwVQSs12fjhrms75Eqvd4tWvgOFvC+6ifhphmp3tT9Vy40XntPvkkM5Ji6Q1Sfvg62XUM2CChecXkAzYAikXg4EsT0z+kZYHWDWuei0vxfyrAXC62urra30AjRip7JNI9uuRZ1cnQnIos1RT9c20y6iFiJaiZh9DwnhEAosO92RPFw0Ra+wcNkHnQaMGtXKn9U9t6zAeSi45xvo51kexX6m6j2hc/t04eMz41cSQ4XyE/Ul2yKyY0UaRiJFeTJOfMkR4W08VmovjXuxGO7rLukHnYCZTVrPw3SJaaHWHWHVozlmXGIyQbCViws6c2I2cgBwnf0oeQe7mflJQSL+91aXrqMf2+UEWrh65uVdvAcCYoTRVjAHKNMyJ+6h7Wn9CJ/GQ0S3ia9bdp5pK2pCdA4I5/OhoASztkeAQAz05A7aIVjO30bzMvZ8OV3/IiPj2udgV7k3oV+d4s1hR5/5SiDJ+jC/ZN6SeWKAM0tkuwaligHaKuJcomEsDWucVk4Gv+LW7uDt3SNmVonioYJri2Vb2fyb8FGui6mN0f/XV28hmauphu3teAkGJBzrP3b1CXgI9th70F3TFFgmSboq32u4/OkgS03Fv+2SAPQVexeH6iZqQ5vy9k1FNVCyK924QhEHueVEO3sVyY/KvdJRVR7wTmGG582jgRjP4P5w1LTdFCn9V+wUyLhmuwbJR4c1uwLKfLRaGHoKiM1bwqzjiWDzXailpka8PweWW0ytTBYvZiw/rrGJejqO6xbS2VNttDVyocg4sf5oWFffs9ITGmdsji4CCjyMT/sZ99oJVSfKelpmSKbMdFKf/DgXw9r7h1RoQIoZZsXSqQnUp1ZCrMDsdgLVg4vS0Ggxi+F+oAmQhGKW4EyhYRQb0TOcS6atFUqlQeGXVnOlcKCDI5o35HBmioadlaF0+swsKOCVS+LcblJ9UN+gSrizkftA/OV7RGetN5dzPobpxc1JxNkow9Z76J/b4NYs9Codpg4wY8ym7Un/hBG/bJVO6ThTcKTfZeRhHcl7i3aldlHf9RC5mPzx4uR9EQYU7+UyAdQqBsSTBKHPOqhRmesK1i3m2erISF6VwMfYfwG/SGUjaEJ4DzNM0dX7jIqDJbFGwik4O3fyYZkQeqXyIC6H1xG2V0Zb4WGG6WclKSO7EytXhIQwJdSxRon16Tu1cu8nY0GBCaMbvLW3xre6YhKDv4lTjAHDfYudVHiLySUXGdnmx5nfr3K+Q9oKc+vIdl6DKJ90ZUUn1OqZcb1VDDlWUN9Gb2c9OIeIboxnGuaSzlOM/xcFQVTCYv6pGp+bkv6IWUu10ALim3mUrd4sNMUBZFZyOCWF3IYRyIHwPS8PSnmoKHhu19ZBH21BPq4Ss8HjeEUqw6M0hB20RGYPgspJixuMt48aeR5XWZHncHKKc5/BCB0pVv4enD8lNrhvPsbKU4tp+AorrAkr5lqDu8IbDawInUlx5irLcL31M1tylitW5pKoZthd7VXUZ0wrDYb/J+f8MzI3DXN2EKnldpRPn/p4YhqPH3l3hzdlo3bPn7EIwGjPgAReFc6v4xTUXJ1zFf4Y9dHXIS47EimLr7hoz1CGYnqeyW34UvUts0wUW9P+GjG26g43r8tz7rkt/20e4temHSUI99AJt4X2J4frN3yHm9bRRd9sa360msh8ZaTOw/ytIIgrLsyCAdrlBllar6iw1Zjc11G55qh1oz0MoXh6RrEZZrB4i7uQABIbUAnY15MhJ6pv3keXGjbli/Ie8u2/RJIHPzw83+pEPDi65nJ8cpqD8RBtUke9YDdwA37s/JE6kOk8pUfIiU7BUCJ0SiuX4tVPmAbohKseiR3/iDw7X51aQDq5+zqamlrSx0Mgwu2aNjD8BLpUGbpamxnuIqXbaJ1zAD345rOkh6tzFppxs9n8VkoWTGPtfOej+SaHsuHduaer0DXNjbG2IZonWe/Bv0jgLVnvI8cZa0X7wnasHaJnmuXIqCTloKzqET2rbFnBODEAj9/NSk4UFtw3F/eEzOLa69pykHsPGsXg+InAIckj6Jz+tylKgC9AFpsBfyNHPgcSuoq/o3hF4cOIzyJtaUWZOTGXDLNhgJ5QMSjdW5nyg8yPRFDPSqmACpyejo7H2qz3rC68f3DNsYn5bxeTRMPoUcHkymIoZqKklZdcKpC93PPbdYYMWUKOVAnEthqZZyy99xU5HKB3O6Ld4yRG+sD8PTrG5heyJB0IOujXaUDmygZ2AF3Rwj+KxCIrV/DOM4rq4ddRmt5BXl+0b00+qIgdIVMbxEPPIcu2TunwOOcsHds9ipwYY6HVTTkoEQ97uyKryNvkPwtrttMgs+j4iXLenDWQKt0DyxsLS8oU7hm7ObNNV6seIf2am4OXUcqRqPMpesSJisZvCfDwi+pRtJ3tt61lgNKj1YYB8FVac/JZjBGBCSFB6QeZnxZ33RaWqU8tUcwZj9S8I9y/ZIK9UQNmN9D0dq24CTyS2bXgBdEUEHrLnvmfWAipbG7XTJUaGS2mPh3iylZShpAmhMGmh72vhAGHxg9xIdv3G6cm9vMn6tFyzfwlsGSeXVFbWSIqmx+ZqUvsYjmo9SijHVrVoQm8vzob7QnEohkogj6ni7O1ZySaWBcozc2rtc7v5NhgGJUm5hHMiP9vnt3l2S2bg6+W+nKZE2wjSF4zJCnR7HkeKZuHNFQWPy83GNiK11jH1s/SJ7y3UTSQNhz8HKBkCvnstXYcJTxgNrYS+fwC8+eZ2bHaQLnOLGEeN8s3Im1AI6vM+mPnhzT7D/cE3CDiH0khFJ0JJhqPY9rloKN582a8Df7+OWpQMgQ8Ip9f5/mLXfI8x3EXRG8lwkbwXV/L8MobV8LpyASJNLLh/U/8KfPEGLPLOzK/SfBlxqQ6us5sxrOoeC+rhnklhPyx8XesbdtWIk9m+aleJbhzHs98+a57xFfCBMyZidAFQdytaAG7mNb8eUQmZ9kSEcQ6TCblaOy7DUs5keBfld8a/VEbJTaVgte7YsmTBE1RQd/n9WTD5uvkEj4793xXkAXjGrNcYU7DUl2C5wG+s0CEUukkWyC2WkBgYFRi+FD7+vk1cdFE5BMtgu02B6tqmQIATAIpnGMTJEiwGSYxJF5QjUC1z8J/WqwoN2AMlYD1XnS+UA8SnfT+ToEU3a2WE3DPkSe+CPcaB/fVvVZUT9a4cA60xQ1NkRrheRUbvnylNF3DXhFuYs3nn+S92px5V+nCtmAUcFWmQCNWqxvmiXOS05wyaNhR874XUpQiHV2uRWJAoaIM3+dVAuEPe4/Qr5LUgSZo5osy+JG7STOmJouvxcbORTGAOae+JUWEiYgjIueaihIyHXMf0j0mEBSieNZa7XOLxPC0DKCQrzMkavnlBl+wEy+6HizFPqkns5sOXu4tJXCkysfDlHROMVPn5YKL7AlN8Hc+yBWyqaS8apxkFxDtBnHFvIoRuUWvVOijc5bYGQ3VunwGvwUuN+2tYRoiqcJx04vGUttEsHrvP/X6enCs7Tzp2GFd5uDr2sNtbKDFbVYHnFSMiW92wkS+H1KPYD29N7JttC27fPh1jLCHIem/sSfV/9HB8MYzN12B3DBIRKQMnKWQ+ek6mcR7tKtzECfUXPFEawJgFi3Wh5Bt40O5TB5ZjFUqz6deqTPPfxEQly1kSe/V+9MRXS5eV2xiwVDFHdUYv14GAeEPqaPzTs1Ma3Wfy/lAzLiYDNmVGlw+1vslqX9+UtDsVqEQCekAALUWluqiBEJjw3EXh2eMZtMd5nnCjMjswd8dS9fZWxAsbvP/kIjgADGcUSFuzbKTJmFmXpI0OcwX73HyHa60c/IJBnndr45ZmamTs4+umhs5ENnROcZshj9rFAaSd2ZyWbto41K+e17AyNJMJUgDkrFWQFWT9ilMTwsOH6KsvPnoDX5oaT1G3qyCJHr9AIO5JS6xgdBHPtij4Z46hKdM78zv/jpH9FuMdG7kB6xnlCzxwk1xZnDvAhyPbrRaah8zDdO8RfnH3dvcuauxBHyJIB7QUo5VnhHxqwJW2+W8BvgjQ97Sp3pu3ngzlQX+MiYaDrXpVzB2aCrdV9aEUYoWFQncZmn/GnlOxP0H60x5sk7zcdHeqtnadh4DgaHWHFyNkprLFisRfi/YWmase0ONsjwHuxZ66Y0BltXLBLESpswABhgbOEIx5D8TPHYMGMgY4LPcss5l+HymGdY3NDP+s/CxKY8uEhSzJgG8malg30F3KvNHLADXYM1bxam0r1LwO5E1+IstxTZjFS6taGzhLcJCaZvELPzaL3ATlmVqDaH/HvI9lQXLYyi/ioTZ/VLtxhzSmqntblGRqujDVXJYOyW6QxBEWIX0H+CE2YGDZ74QOmyEENjCTCBd9sQ3StdTo6tB8voiTOpywV1JVFpW3DGwrlM/3we9x+os9YqlDmUr9zPgld864weoBr+i/7YJuiCQJG09fj+udRITLyvwYKbceE5Nd9oYh7P2ZZPxkulyWLFT2PBAB9W6A0dlhfYM8ZooPHN6oNVOOQ3AYRwuQOrQ3XD1aQnITTP0/TcEl2/CxUoFCIFsh1xBUYPZqZ2G99BaJSPOKJsStmsIX//3GnjUA45KTn2JykH5JrRvowAvsC6ivMu2uUbyCBkaUm9gSfaSKq1mmBzwPV2L2B4VHJTTYcSXr8Lvzu7wUCva2MdnKHTJUZZZ3hB9E+yE6Fbv9m8ap6LGfR2O6qpqkKj1YGIjmh6wFNQKB9X/32AjTFWxJqhB7M11ghJRugvywApYJ/z63kdl6AKNwgqmiHkdykGITESOS5cBcWycD/IQSlXJd4h6o1woBVLqh6Vh2X0yVEMXJRUmHXGVpQxYnCtlfJ0sB3mB1FolvqVEO/Ls18bpM88+5+t8WRCkyCfW2WycUp6yw5t8VS3//oxcb/V2mKKnDqiDADmtdW9IoTAIH0iNCDlDgqk9doVDJU9y9KduOuAH9lH5API7XpWeXVr6BuJ+Q4pf/RDIe1XF9kaV0SndgWjsWbqFqWqel+4cB90q1ep4Zjw+IA+4vEobmTF1zNpkEsVABB9Qbb+9+pueBNKlfcBfjzAqxvIT3s1Nc68NYWQiuqWxMibeHQnDmWvaYcPFXTcnfcl+wxjETl5gcwJHTxQcOEcaSN6Nzf/ptLpYZZtwxFFzaf0YkShDY7du+NcCPEiIn7tFqAT86wmWYGxtVW73HrFED8gdxzhzqtd3mySY3dw0eXCn9eLHr2aed9+kc91MTx6qaxVxCow4QnCM2766QAKoafcPIrDQ1dqMr4l+r8QmxQU/anUKmVqBLjnaO4bkrVzzcJKGSGK6q36uNLi8yDBNsLNgt7+hiLNTFafVGRknoIO3bczuoAVoPShiyXIidQscSm21pwM1IXtlAV8/3Nb/bL57FW6zaqlln5apUmlr/cfclsRSozDypSMd8bPVDUyAtWJQ5utTAZ8Nz7EIOEcGixxbK6ug6Mf/cJyJoI+N3OjU21d5v+hL/JAyUQGkGmjDX/z3sRsLLQcrh0WHO6VszZ38JSn0Adid3CwmyigUOvZjw/HzBDQcTKPxLHnbgI9ZfBQ+6gKJTarS3W3SLV96hLANY8WvlffQJh2K4TC+N0tn804Sz4RiFMQMA77Po+zIrChhHinwzA7LR8TuTbeZKyUq54YrWMpZhYNwWJZ/FxrLEDzlMjkri177IarLke/19z+bdCQ0XcF/2lxBkOqMxkS7IG3co9lT9mxFjC2QLwRC9u7OFXnwrLuKSCaPLebxRkJ+NOieDTWcRIU31EoMKe2v7QrtOn5oIyfJp6Oo8VDmEPcNc1yvWpxPGCuYfSvmcoGGMpahhii8a8NPah9hn/GNqR+YgwLUBCfwgfjJBH92vpnOKgV0egDhNjSHlWDv+IbXXEsGnWMMniO4QXTeXB5wrtOELC/R95I+BS0gPQicl0RcmpApzSwUniZR3M9/cr09+e9E4M6JmS9F2BccCTl/gm9bALifSfhdn58iiv5sE12nccExFi7qK2hM7+21b/juJfUAGXIpxAzQ6xGU/GfeW7za7/LHxxMWikbnCiCNnZoSOfddDt2iSdU/vE6obwTZFcU0JkBR88cAjcJs1yDVwTP0uxha/+w1HT3wEAxrOyzlyDU480v4aJSeeUoZF4f7xdNWV6IfXS4vB1Nmy5BMNqCieMoku0GkfW2t2nt3L9gynIEYMkoMVB46MZJnQa+ASqS9y4iLt9v5x18IM7k/fvrgJi7t0pNUpxBHVvXwvkMpUfsoBhasWmfFfUr6kF/VVX1jTTdRNOpsdyDyyOtTrIXfcRV0Udef31iBBx5IYaDOomC67F+nfEg+jp4C2UZnEPjJ5U0Ukhdvh/iLhImbwQM1ArhW6O+uh6EoMlYCPf21wRT0tzBe5+78X1Uhmo9LeQKrVk/dbB1HGnndDiqnd/LssppgLn269ImEEZfH4u/+4WKdD0hfTGyhz19PKa6WFT09ldK3LT4cZIu+ABhhljuh9st/H7UnGFO8en2iCYy9TTVjhsZxOs4gfJSG3fenPv9pPYI2ERqzJTYRUhQmIZxgzuQulT1+9oCqLZQy6EvNL8vfa3pcpSN6gkL2KYK2UzPWR1UH7Gf8GjlsqABz8tKQb8cGqyoAFZ62SFNaq/Ca1y14iRHseMceIRO22we8ugAUPAed8zDZtYmPsDPQjTM99VnryKrtHNhM5hGLdEGSMOoOERWZnDZjVV7UfbVtXJvWUgXbTF7FFSL4Krek4QyrnVqWuNEprSMPeo/FXML81jtEPpYl0ouDheyuJrdpYC0DfNbDffj9/HAsl4x2EN6VcjZQUphLPvyNURLpKJ/ELS4fmZvpBEYV6RxMCannBO2IKSyOoT59z4MAtWJRbbGup33JJarFu64QGW4wyi9wfWmzmLOOx89EPTm2YHot1/nvZq8J7WEF7VmoP/v1Tk8Ts+/x8q/pqj848B47uHMCCF4dR1YXJeX/2gwTEWaFoOgthKf6MasKQCCbgajleOMAAJ744LZspNYiZr91bOUiHWInd+G9BVb8Q1DTd1l3nRXbBaB7VSRc+3faekzR6SPVMA3/8htPIYUnLnWwIdf7Z5dfRth1uFage5WHK5OUq+yp+yemIRWKa4N2jAoeCPil85hORnySok+0joDOcbJQaGXytaj8nVbWiLRCLaWLs1L5hdyKmfmYIrB25KeFihbiTZI8wHq3rhrYKTIUinIqohe3nhgi925Hf5rZRRRccr0/HFXS2KJtx8gS67qcCa8hq2e8IR75gX7xG27mwh8Iq2CeaamePG3372DLn+At8Df70EbUMk6FF4vhfpDQmrNBthCSC/VIrMByENutzXbTc/TanfVahCSgvZIfl+CiARiT+3i2ZTHSrbbfWBiWg+8sOthLpBV2QAnXsSMwq7f0rrnJv4VKCWk/ZsbcxRRQgud6dlmgxk19/jJ+fT/cHpWqIUa6mqPUxR1Q8Nhk7j98KedgwS8g5QY6GAByLbQCAfij3F/2Y01JLW4rjXzEgxyu1iIquzeh+vAwmFly3+sQzO5Ygb7iV2n54EVBrbwNCU5vkn//oxsWsBpu1+9c8Zx02jvTt03BjB+XfrPrL6YokvBI2sEJJ0noU8hKgVXfC63Uvtk327xHJM5ue1D6zFy8RGK+ytPy20pNyPX8bWdB9HNmiWCNal7tMISC9GF9GrLIswPIckHBvppz3ufQqsDJCIdHhvuP10yV7swcjufDOnVVro5D23ABwuia9WN37y6aD2oBzW6P7BMcIwKCmTJQB0QKP2faL0h5TLy+iOOZ7AGNm3QcR5OYtAsYOMfLLYiPwoorGL0gFuKFMuhHP2NNknLKUI1c6y0p7UecOw7kpduadKvc43t01OJH4URCHwLXz5l+Ye9VDC6RwoOYAAmhqMuD+Ip/mRv5w7rUKAB5orn3B05gS5KsjO1ZvQTjJY8OiDJO1xS540QtFsx3CJwZQPjyB2EzG1M5CXBECIyojD0OrBu6eBBoVlxtHdc0mlqp+zOnWYlYxJg3jqsGETVM41EAYv8GujqVihyRurO9XiFYbHAw9RzaiCLwTzdNG3ucPYj534JSx31vesAoxmy6HNI86o/Tpox1f0a4qLY8bh2W1dKuMwy/bewWUqR+rkZeauP1SvF4tmXKMAqFExk8OyZtdx95o/Ro07ilH8EXh+AxWVDA8Eb3jRcL5SE6Zw4klORjVYv1AoTqiWByVYMJwA9idxbepluPvfru/IlsCWCK16JIp3Hb+wrsNGEoGU7opK/pzOdQWL74e3eQ63E8Im5vYbUHS36Vm2+ZH+OVzHM4p52OltmhY69sgK5Jy6+/Fh8TkvwC6q3+ksEsDNOeSpVv/kgE1A5GhnvgV8+k3bHr/WclCKURJCw9xil21PERV05d4KnxVCZ7Uw5g8e+5xgY2WwBb5NY2tOZXUej2lj9oE22vA78tVlGPQhdupAj25VD8I3VLmsAO4AFuL/q/cHa9D9UwPtnMIV34i8NY8QLIFx/MG4QMxfCBln+/9vIHdVWpxK+xJpYA4MSSYlomTRt6Wfj/fXCo/50uCbphSv3XmX261kD9tY+hoxIns+qcIPxJf8+Hz8UqW7+rOyQ4Qg6SvzAViR3MBRxfVW0MBaaPSzqplA1625nvWi+ugNyO++/zRIDguiUipRMcAMjo2v1t4YLSiAaPhATxUTBoK1AlUoN6H1NMFNLXDFOrEJ7WpKBKGdMRDJC4PXZolxqLwkoDZHPiZElLYWyZrwdeeH0gIVI056c+Xkg2LTFZ4xCsWs8498oChHSloMcEpZkrYOZlV4c9K7AGBax+2tiDecKJ76MZyw5l7lmkS0e0YMdcc4jfAgd1Et92FGZar21/x5otqfsZIYE4gBwZ20y6mv3pIi9CY2w4GhkNlnE/1StBxlNO2bqNtQnbB4xDlm+oLSQt0UmdN2dOtYyiWsEICbOSWthKF6gdSC3Q3BsXfJSMAgAbukB29qiHqA32/ZOSMXKBpq5JhVGTpI8C3YPDw/WuvTMTeuuCLYAKYd7tCHkVLz3MTNn3fcpdsiVnyvxvA+dzxXxc6u4L0Yi9rM+WJgfRC4vY86ssTboQgNbq4wUUnSeewwKzAAh9U4qirbAGlNHnLOxX32vcINgyhY9R43tU+23zSu93wtm7dBJEBa5abg/aDYWgUrkAvi1X8WD480NUh6NhH3QCLy320eTy5qGMKXk/zbVI+4WgjAD10QKT8UIv6pEYhChxL8ALu17kbL0PlIyc2c6hjbNxFLqzM74oY0pVJsImMJMHfvRJbcDyH/lD9bhX0LrdEHQIvef+IEuQCFC3WiUF5Z06OOJ5VNPd69HV0a4ElyNLYLMgro2BqmZ50YwM9xFYNHMQ/GxGMMo/fOPXgxz1JhdWyMEZgLwvCWF2N0t9RdDdVfnh3xnqWsq/rulv4VhX0qYHV0pZ8MpNnFlg9nfcCm9KHymf+VzsdASzeawxv49W1cXbyxoy9t/gRT3PkHDNKKvaH6hpV1E/80FWbqQuDbmUz1aAtc+fjAQ9xhBaGgfHVubkDTHdA2OUwJNS2Y/mBoZMdktVtnPk58mAif9g+rjnuWtP7jM4urnFdWH2ljksedYSqlGjXoAUnwANLOQBzBL0rWsDR8hbPZ5LhSGoQmqj3HCEN0eTQnC6HlETdkvzhEgjN5GLP+caVTyREx1380hDG5Z9RJm2ORRBC9n193ABdxCiPOc3A0TqtEZlrjQ9ZQKAT1UTEaEL0586mOrqHxDuTUYRxoRc8QrER8rDVR1Xr7nJ2SFmdmPKD3Yd5tsjaM1Rx0FH2liT1+BKHoPXfZX8lSdY1TheSUrIEjApa2T835rOR3TFDp1DPP2MdHfKv235hLXVhJ9e34qK4DwtwzG5DarcPIwsFacgxPigGgJjQa6gvdmlIDq+pzkTVjn/a4Y1laQX9ZBLaXqILNlTWsTEdgVJzWjlESPdtCn5mxcI6tFbncy0KQmjiijA4CioI1WablMF28BJY2ZkgJ37POE6lwr1evRXE6G7yv1Xvc1IElCvH2+snUnzv8XVgQs9xQFzEu4Y5qKPu7cYUR2eMBstogw1fgUwQjiCae2haVET9A+JWAy0fDc5ssR7VAR927fRed1D8uuB5F4dSeLI0fVL9EK4JkepsU/sWI6CcvLeZ8hYhgbZLHjnJmJXJuB1P2bOHfAPc3jjaAGg++IVIwoc370u8M2GLaX2JM2+942GC4az2pW8JNajQULckvgNqg3kRIurQozgrc5KN99iNyf5tXwibZWpiRFF3fa4BAqYKpNL56lRveP5vDVK8/7LqPpED7FUGpBlbS4jezAx+IrjcD58gf1K8ll17SfSRzg+fGfOtL7T6GS2oA81NEC/BbbdU6b4ehKdAGRQo4cmmGaPFraXVX9zRAX4qIU0kqA/mvu4aF7XnIlzaAbRMoyHMpmwmgTsN/T2KWqD/g5dlbmdEWHpQthIDaGn+Okxv/Rr2qPiUIDPGQzS439JPmaXAfCZG4iT5D4CwaJNsVhv9oWa1IEZoKxpZyE3j00ZETsymYQZW3DTE0J+6Jln9XwbNmWlFL9q99mjrFUFxG5QpKDe9r2i5kxBx6lEU2RP/HuqM5UQ6A+yN+EIlHixk8mXyawg514+eRx02DVeEQuqHooQi5K7OSnBj2RfifFW/Ro9WD1Yn1tuTFCLoMRgBAeyW7UnboHB1OK3V2wGDN3ULS6R/OpF8esCh12m10fDeVPrkC+ADijLbu1h2Wdg9YLIZRWO70jO4E5RDYxcqYCUhYVxV7wICJyjRaFUYda/kWmRTASF/FAyiKHaYQcE0nvYnOs+ltqzqozMzFPWkBlIqIQYrNvp7uu7sIQ4cW0mt/EjhjVzD68JiuysodOgrgwjluVI+uYSpBl+YGDkfKFfEm2zHbolzk6EWQMLswtGU8Px99VtbhmW5/u1fPaaOKtJt6ccTUmIYf3L+rDOQmdhxIuNmmRadJkAkv3L5JTmEU5rVn5SNcCfgrugcQO3myHLkg/oT8AsA1IcTovt6+qa4g+3d9osPehrMLcHBMn2lHV4YaGz6gqfcW3XDmrfYNviYYRRRbNHb6QiczF8FioUHHiHqq6LjWR2m3SbHiHqp6B8Xs9qO2YdI+i2j8lWz0EQmyxsBGRSHcH6tUxQngAaO3p/astVzzFDghXXe5DuV0WicjlM2fTb5qmg9noJcTimWIKh+dAXjU47KSjtcL7U3mRNfAHNol+uaDw8HktyIG4KnjyKT9l4GVxC6Hla+yYdyc61toBNypNGD8v8lRtBBLuf7P3HJx7rg+8oCQl2ErB9vYdyMpdeb4LFYZzYH+m+IS5LWdexYuentuEGQTyRXxX9N0IDxNq6ShK5LVAc0cL/nQr2sURR5DmZ2IV6Ad8mCMC4b8Gzpvv33oF3JKQv2WYSpyZnWBC4uoNdx3zqmLTY7DeEmAS6lZZhe98OuG050MJx4rFRCU7sQftRWyZ5HWXDUfPol1Ok/FHfU7FSD9NDc/Kr2ML8xlgFA4XVbQjbuiNQ9MtRoM05vZvrOfdX/0j0g3PW8Tz2KZ2TJ/CA/6vU4pP8tdd9xW3PkgqTAid0uQLp117VSuHAFd5tn3yfz8N4d6voW0mm3RfmsgcxXifPWGIkAmVitiTYppGkDH2MiFcOdMbKaUuQMulNvp+I42nx42L4N980acDHeBTvZTw0Yfzp1Cf3UVNIaqK95b78jWqPsetw1eVKaPKk/2Yh1OyBsB02eRLTzelaScNEemEkfJDzoit3nbcnseWtUfuAKlu9eYIGHMyUMJ6k8luo6XI8sp0u1V6zzv7j4joIkt2Vzh1yi4SRUsPar2v3OvFJ1Z8zMUy0/e1u87ajHpyi6OEFwrh+XcRJ4bwdl8pLJZXKAhE4Rs99vcmUfaF8fNLEaVm5L1bTSVI7b9LQCBVkylo9j4T/ekV3T0Llk2iYImhLk7ADsRP3H75EHLCrcVZPE4K+1FT6qEKN7Jf8TA7nB27XFw3Y6Ov5gMOyhMMGK29nzkAZiRHOGgn3TsatVJa1nIcrqEgVsA4vEgYGZ1mXsLGd4et5yMT5ThQgX37XmD5PEw4xD7KWi0sW8dXoWNXckZyuphnh1uLecad+0vKNZrWNp41yCyYTjpbEtpVrJH7JihpLgzs+35cr4Lzds4QigfQeZqilW/sb8R1efeDBG5u19Etzd8MMQwXFRnNkgPoeRRlskAU4EB/qRFgTkt+quiKRVBSb5KGOd1PLHFahtK2nIg1TUub3/pSwcYRWIaJ8x0sP7uz0ap7/fefOdmDJS7oZ9ZIziOCEFk7zf9JKpkkmMlFVUULtYjPa3QYECJ6q89kS9oBEgNbaQSNHDFUiJs36DXNtJbu8PW5Mv+edu9/KHlcMTamWWDcdsCWi37QkMbkdyMx+ayFmkRl6QQuwT7il8dyJpQK4h/KM33EAWhWA8U0b8Fa92oR8ppUa7Q7JBFUMYOXdP4jnGc9tA2bVlLJxx2h2a0mda2kOy8Rau18i+2IEPX321aLjHQGsF8s1mpE68mFeq78U7XIlKyidimDObnaR2i/aOkDiPlX+9cZcEqDUdBSEvYISiyUceHEtVQUwATgZvdnivyDBgDnEqbIFodvdgeyus00vDqSAxoPsMKVmIMYLbDDa9p+U3RGLQMCyGdRhVQxKppZjiUKk3ZSAwQlRkgAlk4Cd291wmVZ4phuqlQ55IbLetcpmuKlBYmO0cOUWaRQKhqJ8X5Ug0rHVlONT3fe5VT48cCJ3NskZwjM3I9dFLOed1rfR01xojc0AhSDe95diFU9z5aS8DWGsrQJx07g4+ocuh7Git08/Dal/mfCeNtIEo2O9Bl/Yb8U2KHf2w6jCyxl0bY6p3WIyRZjisdxXxTJUQi6ytKh/Xapt6mT5qLgFaK+BY+H46V6Dj7bZbVXN4iyTzDpa3YomkaUC4PZpw09uVJ3W4XuLJ1qnFCm8qJUHkDaDTCjZL72TI0nM0L3ufx0Abw/q+KRyjRC8TntqHBMxxKtlaFbJky191I5bukABz8y5oT0HNlwuSVBQ/4LnTkZzwcJAij94mRCJsclLvQ/CWho1BytP7YMwTV8v4AB2JSrD0HBp5fVZhBbwuFWeujWj3r8tVmkD5cnkCn4aEMag8jQICaS2XXAkgV4/yRgLYD7ELr7+vXHHVa7X6ht6trWEKNxXSqDUURVBQC4pwNs/O+Sx8rtkBJURW1aFfSarExFcqVn8YYlAoTNsszWIffx0eQtRytqKO04iSXzhszVAN1K3Akqs8UoLzg4XZsC/zLkHYpT2Valu7taOvrenoerfU5ZHRzHPL9xdc26/rE7QItqVzFo4qmuIysu4afC+gqrdZgrNBSsVXQFr9LiMcUUhhI1hdyIWPpugYNkwOh9QY/2z68GwrnV9p2JXiOdNUIpS+Myu244EcKuCa0j465PrTsNRA6jTLrFXt/jLBk6rQcrzlIGtiil73bfkkXM0liXyxwmTiUoQPjRJu4oZslzqPb0BbFRDGPY4P6E6RpOJU+VhlWXrYMZtdGvNq+dbKnQYD5Teb8/ThceM1UXsBdKDyK6x6S+EfDSA9UX4kfgvn6RAm9sOBqtaRUIoIDdEsOoWaWR8kbk9FFV7TU/8NGe/ULH/ecHz/T5jqLkJ5+eXPXf3YnGWj78umY6MvJ8+dztnswWeymGVKj4nTp/xNJ58VGVU/X7pjo7EMDY4Fghw7S6ExPAzj04QNfU3BVkT4eiIlupH1Zu8VCOdJMa/0Ff+3B/OvHQBXgFkDF+1+mrpyUGfV+2D6ySxv9Ktvf99JlGey5neoWAP6mVuyF32NLzpI92mm1smMaXEfPQiztah+/uRDq8JCTbN2Lz+Nb7ukLFLctA3opyusq8peRlEXlPKCo6NcC9JFNdTpfMxXeeVqDjTqVurEk19xYdMj81iv1HeoaxyCmvDsf3Wy4/jT7HXu5SgH2uUtv7tUIOc9gdrihP+tVHgKboCDAyG4A8cbbqdXxXV4Ai20HfvQ1h84RAohfuXw6wjckA/C4ilT4VdNiBtlRp8pikkPAFixZKxOLSk4kZYQT+Dd8Sh/5JZlgM1pmdV+EjE2M2EAqeWvidV0JQ2nMX3dX5hwQsixqotRL+CxVPGyecxBNq13ZvBOV8zXoDFI8oTiCSwtL5pOo3hothwU7LjNyJhOKFTXoIu6rq3RMmPdulnK4MAeAukO4iyrF1l7ufmJK9OnsiNbyhx4X8idFz4W/LeWrKPwiCqyDaUb4zX6gjSbGgu7ncNn7hmuiev3CZRCpK8B0tksHQZGjdK0M3crdp5dRXSD4F9hq9yJQYuO6EborVT4x+z6aaUnCYncs8E8tXcLE1UyxsN8qojy9MgUCcuHYES/HQS0vspmS/QHTVOJjY0SNI1QrX6OtqKJzXU2OOfq523fBG7dSKdj3XfVZZBbMOkHXEHyxi3Mgo3KwPYn1qakDxGKKfH/aOONpVSOYtcmcTIQjg5rOD0GLsVUbYpNEbGvkiu9HQhWWMf/SOZrlHqphxkVb9nI+r9gbZdmrmQMEAOnB47b5sBkVM05f+PilGqpcn7GkECPPm30+H3ehL/b0rYifcRf/fgP+EWlko567aFGpQxa/7Ma3GAslQj5fR2b644bebTE8cet4bg+HZgND3x2tT4HkedXdqOQ8Yc7vZ7FtHf2TV6Ok3GPohyQLf/J+JbWCUiDe5shamCremS08Ypyeh3aQpKZsA7kCGivjY+WiQUZB7cl0kTgOj2JUqrCBv/ShlWAmfBOJ2jcK075aKy3ZLosWCiVnnHMfNZnXC4l/h5SbHX040vcJbKqIKvlkO6/DQsTX/VJMgdtT1Y36+VoqhiaPRCVZcpzRwYrT8beXTMUvZILPFMY5wu9mhdwpX+NAoJTw/0J5KlshvkIp/Q4ZzUAIzg0u6rsLtn/tKi+nWYQHEcvUJl0CgO53X81WOJy6P863bxRSx+hhBvnaPSUQvTrq9q/pgWsbCmkXqjC2LYACI8onwiIfrYf0EX+CzxjYlL7+BLjhx+NAtbMrann10a0/3kTmCns9yjQ8HiaW91Rxu+uYPVhwf1EPP81k1WJtILqQA3vQlAO/zIs1+e8bz8nA9ga+87SjWjIm1xepkTdHWjOC7pyP9X4yXVsEaF8wh2aPLdCcZ6GWLiHxx9fH4WPOVwlkfGDt1W/teuHU0nCeQXiLTVeri+QGRu2cI7Nrjq96PDQG/LUzRjYI6k8YpHyX6wHya4IyA35Lql5q8GEkG1GhGZM7r6cP3z5C2ozQ4UOTuk0Z2OHXhUk9Bl2XtGPyLF3Okf0Ui8XI6up+hPLQ2yzD/84H2NOi8rNuWs9SXwR7T7QgbQX3ibIqpFaMwKqla6mHRMSWcWsCcBPVwxCmjBOVJg1SsTm5+nH9oUywAntP38gthL/IhSAMvasB6tehnoR35nDDYkCKtQlYIagtJFFX6TmwqSUZnLkPgzIpQRa0LKZIqjpviiTeaYAujg12zjRB4H/gb21b2oUAkf5AISaR5ffiqACD01ESMPUdcLG92p7HJ2saqtZoyi9Hr3drHJqbR2nw75fTYEdaw0pEG5Nth1RGlHYGsR3ITq0kiurPA6ke1RBGOIgmsjyG/kzqFtJqqTlCL/KF9R/NKOyi3dKK+tS9SFobbHTsMEl9cIbvx2l75uEb3X8Am2lcCT1oUWuxzvjGmkw3uQbIJbc4REWssNB+dA2weN3KfUnAofoFzmAtqT7xI1pqzOVKGkEkZaRVl3vY6yVoCI/lQCnqK/UbM1Yl4akGjqxoEAvNe01M81sRMzuadqfNR9vTnI4Jt4oUuEELhF6gC/k0/e0LFm0GK9TqDq/ScTINCHIIKUvgZvOZDp9YrZibGHQ72hdQ5qjp12xgK6RtL4S+/ydeIOtn8AE/oAdnjO5Sa6h+KK3AA81lkW9K0nfqE8h2+Jxa/dPdzMqPvFLHCRY2J2R+ekCJ9BToWMQnAAF2ipCJ9uDdaI6bTt5xp7XOwg6/K/niL4l1hoifJPXqh7nMY5uMnay9sXGP9JUXmaUueTfDNLh3JYeJvRTMOyW2yKexQ6Ihx6aJE24jS/TGTtzUntl+KkJx4XIF/Vci0c2AURE3EeXYPzK4Qkd7Xd9/O6orHN/N3LtUM7DryZ2dfKTTw7QlDjbdM6X6i9yAO/NfRIWyKPuzpQJ/xu9GYQnom/3dXSUgu2/3peCB8Ksw4CCIaVfBvSI1yiDoTeA2i9E7/sy85MAtpZ0MG5O4UCsewKOEVuYtFLgIuJltpDxSYfE17nYD9Bh3ycEOh0LK8VogI4Tu2EzIWbYqOSgyeWkeCD59Fw4uYqL7Cdx4eBSkm4GdjE9zQA/EXEzuWLS5Vgewpr+3GnqtHY9Ge2y3EFfRKf++9ql6FiVb/DmteURXsQihjtafsuJIuh63Dv3QP+fcCTm6GPqy76S4uNnIMBz8XlJpscQF2G80CTywstHGRSxkgO6rUFAo6kA639gaaNBvvqi0AhYNL++/HuXFf4b6/YkQGZnWSuSLrL4UToH+Ydwrn6tlz8VmbzImiuxfV0AoVW89SMQVQbNNL9RWUPCwjQ2zw7kIWnE2F3IFDzdyph6gZLBUQsyeqYxdoki90Kt7psA38sQDzTKjd9iRiEtoNg2ANim0urgASV8FuH8ez9oVCkXgkECrC2GtVDm6A7WmYCYlsxhrOlB7wbbauKNLlZuuca0w9wPa3yhcH81+uP6Vq0+cZwBKGdVfJFZsxCAaey9irnnQ9bQ4iUV4rHQd7Ri8Ew3NKckZDh88i6UCfILFA9mRAJX9JBi5DH2SgYZwR+kM01gcS0FMwu6vXmnihpnndvSt1Hgy1v0iM0LqHhE3xQB0zUZye9ypyCwXPospKIhZDfqFFPpH8ResX10Ic8HLoUDrtqCIZeegcUrd31kQf+veIRGG+7UQKkLmXdAeWD+fDtlLaANHtCzpV8QYqqQ6oMBRZLryRc1JE04YsXHdSl94Tu9egZzp8QORmuO0yzkfXWLrmOS9SBeSh1FQQZtzVDPkwOJQ0VqBdGTH5SWCGw/j+OfVHIl3ilLwq4dz49LoZrtQiMNmWUEI2GxtPzO1P3SwMjssLiM7I4eSnC5pP18Du4DVWF0/SN2np8ONbRpMoJqt0hfK2vTZynPwv2h004Q2vqjw2W1b/pm5jSOZd3oM0ApqodWxPEiVB5Z+HzlSucVnKTDx7MMx5RTd9SXEbj7/rTs5Q6+7WLSxKYjhcFCVUJBr8pX6ZQ5kRa5Tm8VGmc0WqDLCSwpncXfIgaJEkkMX8qBbhUby3RheSZygNWigzbt/dPLtK9lv4AkXcfz5RXH4FMFBCVojKJYqtBFS3uDGkJzay4tCFUqLleT7L0MVTKF8Ey8wtuMU4yTJdT5KCA8Le1/xTjEkxYwJRv1Tm0WEEtnHODUFJGZeFXsAPCGv3TUaYlcv35FX0DtAKXr+wUh60QjHryZ2zeKE1iTGQThffpjblnseNR5geoY3NVPM/MYplPm3Bq3Qxgb1xEVEHCWjCvfMTf41pkxyaxSn9snMJpvODl+p1hko1AN0642N2685J+3wq0YM8BEoQpx18/lRMqksIZIvf6FNzeW7iLs21ZQxFNESV1NP6pTYAHKKfQdUh7xdlZM+STNaqhDvs6yTvKhnJnHf+aY/SOce8PAW47QQqreyNh5SBX4KNwMg9aen0lZYTQWiuhHQ6xFbAvEhjXIensUXoXresnbX2IyWaIqlAunpmtCY9kw5h6Z9ikmegqIUm0vLounuzdGpoO81Yp/JaXaWb5uURN1mPd7Hr/jBpcrOW2LhBqgYzcR6Anb7yfUA/8IKYbRfIJhDDSOUF7oD2iD6znRhPsKDQWPjjtFlHMIa1jOKt5MtQUA+uLX7YFxsbUYvhivUxIJvkbRaNmx+umnVP+JZE07Z+TGClyxhq3wQqrhzJ6uGh2wsU3dK6lsvxqdvBnTeoz7bs05brkjdF6iJQUjuKQ9/vudPXbzOPRz+8/fUzEmNH+A/6sZg4qaCHLUZVt7T+f7/WwndrCeS/qVK+an1H4p5XS3tt4Yr8AaQGlr8YuOrHKoqIHDePBfIsUjRE6RJ11/gbDjMQPgQ92Zz5EwVE/GuwYLWxbgc431a6AAdU7spXaMxkKA9dcRmIo8HEoLAbrpIdOqryRVp39/77Cec5OnfcOMMswB1g0rjXcBgw5EcG1ZJKVyOt28hul55Xt3ulH8EtYjbvYx5dOc99b/ipm9gWWCnCUryAe1mAWla4UEtgahtn2sfenWyzZblcdwXwh8iSPrYeX2AEFnZnVRFna+HCJ2gjUsdYZqoemQQmyQIdSIhBzFfZSJTBlxyJMLVNaP7x9LVQ/OTROo1RuHCPMe4fhUL0IPIthy9WB+cjDutZjin87uWTuxEcY01BU8FUeqm/4/PgV6I2/uZl4kVOwcjI7+K1C2i8notmZ4srj7dX09WbaUbfL+hBXs0wjZF/tHSxK1cOoQ+9ScrMyWx98fcvhlelLjBTB0hWxp53lJc3EiRvwA5dAp2l0OP7TCVvY0QlLWD/b5nvpMsWauoSqC6Q3gJXmitznLSHtWvplb5umiFw/QbIFUjDVwwBofDxUZqFxxgPA3itrc96v3O1q4mwOSqnWS6HdiFVDBu/bnDJKmGSDq9PT/4qxhahKwJJEeQk2GNFp6Rjmy82Sju5tI9JoxK0EkDyWGzu3LZ9WxpPTpPH/B85ffV4ELFeVme23ssU4eEl20kJhnz31rVi9ysdMKw67rCdjbW1Twvm4vNBOVzwZ+Gi3vLme6CEup2uxdyWUVboM6nlW7KkSdl8eXixuXC4D39sYTHNkfH36NnhtWMB/F2uauECKZC3P/NsWOMX/FpSaNyGAbKOqbCPUr8ibJyWJLaHmPY7hQYCTONoEWaLgnWVqWr9c2HDTS5YjiXMieEwizttjRielqRO7iGadyziyzPQxVcYrCYHveTg1ld4kTzYBCLNvKMqkwfgbQt4Uz7vsJh1lVvj21oyx173yfa6Te8CXYiCu9TyGwktCdww35pPAxkMR8d0BD0t0TNivuuFVq7IuX5iSNTXVNkRUwY1IZUQXMfneiduViJiYKNcPKw3+x5yOFvraNytcYGuAoTaD1z0YNuVoWzQouvHeVyx/9fGOoLvb9i4AZQVcBGooHacWVHhTd4xjS2jZZAdsfukk2BGx0O6svhTBuKab5W440Zj43kfhmRxjAWr5qHJekLFwYa5T+ul/Xlqja7g3tTzpUKLIGkQa1FG5HxmF81R2y1+5a8ysWBTTOiq5kXEt4oorapgjq4/wfAkbmAgdb5pU2dbaaRpRr0mvVkHJdIVNLjKcQqgMWjiB0elHorbKOh99Czez2n6aRs9hvx7V4qKbreOmbELn1rmDhP6yG5wxeQZl/4YuyGrPt6eqREtMLeAhvm4EW+S4+xbF6/V5GK+3r1e3DMQ42K6RkXeMWRK8GBdM6WQI1tcBkXq3j4kIRcxqxjk3m+4lySwVpb931bD2OcAhCXQbspYwG5RTTYFgeygyT3jsMrt7cCKf1JT/y3Mbwet9HFFow7Q2kT2x4k+azekNxnqOhH8+VzO7/2DTqp5+xGRpp7GuFHWW1PZ3ZyYb/BAPrT+7P7leB3AJKw1aecC/bRVwrFhu4/VOwq1rOgQK/GLHiaDXmuiLEocLgOk3nTMlCOs/svhLP9xHNaGnH4mfcq0UOqr4MUc4JzOhjQDKaOsRyz+9dv6N2JM3tTPp7/F5QJQiyXQniN/Zu/SX4XBRRILwoT6P7C7ZvzMXszgpjovxbj3Kih+SHYv4ZKM7wje99961h5PqBAJRQaf4IMfozQnIY3XQ+/hbHxvwI2GPyV1AhzCULpaLvpPUnBW1dyP1evwXsxt1Y/qdjqXHLRlSI+tDP8PAIseWHtIxYMIREkPWvaKeneDyA8cFTzgtYgTWEAhhjeS4TqXapJ+5Cueqi9FRpEmQzqiTuRWg5yz4A6Ivh5DFZeElhgdbIt0NEsLIuwinlH6Ty0RO8sgOt/QWVr0YjsuVDqwrVE/oykMh4Z9TVLRSz/dW/P3ExzNo16mY5goQeDh4bQLv7lbur7s23NJ53vDwHGnUlaEZnhYkc80pEHHSA2E7iBTf+IeMGV3oGb8SohkA8CSgF8lY43Wdv2R/B4s0Yf3h4Z+tBLHUILJVoXr9jRTrIHybhC2fbFk7FmodsPovIt2LyYRuWAOC1QOjKHcYx0mS+QV98FwHFUZ+cVNVB/DAMwK41vOm+k3fA/JBhgDBKLZuDwXuVpcPuiTJ+ACQgDoSJ3HtYu3jlsSJrgfAJ/dgyl+y3uACmLAyQh2Uv2Y9Op2bVS8honuXSlwPPxHmM3abWEfqWabOiWQ7tTn7henGjtwG6DZrS3QbktXACh+SEg1+/mljP3WLQU7oO/ir6Z+yejIB5kWK5P46Xyf58pldcelH9A45RIMwNWAt21OU22pnN6XZfYfF15HCFpcx4ivQ5+XIl1xduT8GZzEri9EK94Nf5/aDwexiQsNudNe/mABIfXa5K6q3i/0rne+DeJu3JFb44hkaf1+kUc8TOOzSjvRNbdFOCHOFId979oZjAyaiJQh45lfhV8E9V5SaAIl5pBxCvGoIDShcRj85mK8EIr5LGT7K6W4UaechZxIaunQyXsfzRXBubsrovAr74h7iifBKZQZGzXq5b3IJJG9wcHuAT1OOG6zyUwDMSqjGZYKJ8+njoI70KRnfAv+Izwx8yFEXz50f1J+O+MMYUMwM7BCyEKxlyMvLjf/6xm0YvocHzLqPIW7yi8cFmNldJGUR2A7UuYanEAiLSbcuUYMhxiki1rQyZP5y4aLV8rN6hLDFdE3mDMta37HvilIJOu08fzjrO/DIuiS+esqwVaqMztQN8c0yb43RSTvK+i+xBU+xRgT+1B1SQix0Ok7vDOpOkQEoMLbQ1MFS2mFSJMGRs9kx3Ow2AxYqAzkg0BJj+BMdOc+eg8M5SvJ0R+0yWcCaQToBombD7DAoZA2SZNcvt9DvUw2wnQyWR0cLe6DQzcBkFshy4UJoWzzEHYvq3ja//FmX4PjM2t8x83AG40+2cWH4x7cX2Aq/FydaM18XCSP5fjSToQkrmqTS18LbEqu10wJsXIZf1ZXlh9XcDstq581qlHnxSdZAx0xobOlk7TUzJLg+jxA9R/tETMC5G77oL7D+g3Fn2TcufNewDRrg1BFTKc1fGAZSO5pobv+iiB6NJSm6I85o4EqXXHkcj9vnGrto1/JfaCu068ZvDAob3nZCP8X3BOzU920Njc0hbi8VZClj6Z/9K5znIONi6AFxO4AYfUDKgxzGrMlNcUgwf3jCAkhvi/saEkBfB/B2swUN84KIvSnAWKhT3luibZK7lIf3Pb2NJF7/gSrz6ua9VEeA4OgjO8sEu3J1tywt6t0FgEAPsTML8Ppznm3/FI7vS8uPPmSRyKPu6omIeyGF5Jnz18j4+RBTvQ8e2PNl+OCd6Su4wbkenWBeeKG2cF37zEonREKriF2Y8Dys9US/S7MkEBs1rHNDD1H3PfTh4T0FyKviQWdiitBuG5xbm1ehYr8LGEQdsNoExrYOod0gRdy+HjjDIXtOP2+oI7rxtgidWevhqGdsz2eBM783e8MFUQ7cAvebjOw3FPRlFXzR087QWoHKSd/oKmjlxkAEiSl7oDdAjerewgVD1o2xXiqaReirtabvmQfJukY6lbd5CY8sv2fDOG/1sfiZQvykiGT9bU9P4Sk3UpGhrpaaFa/h71Fn5lwi6PDi24u2d0y0oT9au68qAS+qal5a68MaNauFoNRhZXSqiHugMAKIYTHbfvHOweKkLfGL3EbHoyFiQh+nm0ImUVNiy3aBWU9/f1s/xMZYISAQv8pVAkfVqTIdd/78EHzF28jioRYcVbv1FvlAJd7TSDusD7DONUBQcQJNa2ExSGArZayRmzDBj8L/mKSPqVnIQ8S2ab11VexNyCMnRWVJ1Wz/2ATZDzHZxajgto7cQ+LZT1zplsXQgaBFdYkFejfwnLtU1JRB6kgMF0Pa7MC0Zp77pJO7YfaNnBPHvDbosaD5w9mGF/j6oP7Oe2BQk3FmaUidktVZUl0bRpgCdVD3zbzCYejmvH6Q7NjFcXYPXACBMGNp/YVf2tFuBiuQblHLHQ3NyhBtuYhT0C6wJI2YQ3FY9WU+cpLbIPu5wBfBbsH0WxXRIrH0wtLrYn8APvyUhlNVxpgjnhb7eU8BpCDSbfVdm1l8WbCAWzbTWFvcoIRNOLLIv55GIsKZBoHuj41aDv855omqpiW8xNwtkQ73ySrXGDrWiQo4/ADJSSxIrUM1Z1fC1CE5DfezUoHL1i4BStwlsNQnrgc5oAlFCXdq4I4WmKRvCbe8ncEpsTz9HHDDM8hAbyORa5b7XsKnvu5R/bkMg1U5Mwmh4fGIbneQIyej7gAFr2lqFXM9l6tu5n7ePOmVRu0c3TKHq/HwbIaCgx/14l27m4fXg8TfQm0OYTfGBd6y1qkwFRe9EqX24GNzjW56UZG90160qSe9EeFh18+t4ySkxxxns5rBVv3n5ziKbHodDFdphg1alCIaabKqMAK5wCmJVpIhXuVbB6lWGyy+XfSdGkOgOPQ4q1gI8k0G17pzPefiqeS+20+O1nsJo71+fpdCJgF/tt+k4TDEp0MwCt+2vkn60jgwku0+IxM+V1ZOsIooC2a5SExHV55DfQzbSC6gRlD6uNjWM6GMiQmud+kaSzUo+uq9hmCOeGXMaNnuIl7vH5csxoYqS6ryNmzwDo/EG/ZpzxdcqrwOpL3Sn4hgI7O2rGt4kEVrA3u20vlE4PucVDv9hY1+m1Fl81nh8En45mSgPyfBrcxtTljFeCMbtQ8TG5go+yR9adYyREdKNXWSAAXsncXkHEmIkmMhW/Qvu/yCvBqZJ9mr4JgQ9BajObrXZuayLCD8Oc+8bE8A1pj4xMTB+dkrfveQoWgolhtO9Ckw1vsCNKF5cZenb4h1Ykc+eYBwl8HJC2THK/BIwe5md5bgEoO4DoqsKCEwZswBQc9tM+8NARGsd3jeUjs29v4+GmMT0HILHHINnsvYIxuR8Y8rwfkjlIxnl+LfD/FNF0RFg/CIn0A52x9PULd60IePpGUkDeGmdmcwDB+/30kuYrTUN+z+z4LSY/gXgRQN8slBJ05u7SENfRmVpW8MzE6yk8viGltKOhazlVqo/7bgm+KOpeZA1zN42UHpX3Zsg5OYB6Gz9JwbjXa6vGNkVSZi5boLEsB3LQbFG412ybMhx/ZnX/1HJHVHQFNehYr+/5d7bzDXtuuWNSL0nKxyqV3Z8vUyMFtBtNNSJE/SU/QLohbjr5798ENz2vSBl/7Fi/kaz+0MzovK6K/Vuyme7rdoYAJak309XXv4yfmzY2F9NE188NaXVoahvZjdce/H+T/IuvjNaqvQNJRDSHvPQSjdYWyiyaa5ariD+14CPVqC4J+0SmiCNedjFRjDlhFOYP5EPMr53HY1txpCgvDd8PbBnJjpG0vgPh6yQuVTkvsEY/gjA84KyifwHrBw05FhLXdgUK9dtYTLiRnPNXvzbS2MGESZ3BJ61D0BDCy9zV3sQ0kUrl4oMy+IRI1pAITvFVe8x0sInJV48aZAO+wQopPE6BvnDKtLFLqjZYEDhbGDfX/5nLxvXmL9pZchLsbTPZik3iGVR3NpoRRSH/C6uT3i5O/Hj29V4gli1GQMnZjxcXWF1/tIXr05psY7lM1e4pjWgkAuTwl1+aIlRWJCkC7A8Yci/PyI4enlkYV055UAiLMLOQXU/dwTbCHD0ROyhdQ9xL8V6ZWld1bfdQ6v3by2f2aQKjutPB88+08qM7pOqAOuTLSaWAut4fZ3lsbzuZRTAsp5QFTMvEGLGGG5haWm1znPd5b9anJfbaYO3c0NE142AjvNG6zCrZsgoBMzbU+2J3te9r8RhE6Xwvs2vPauRhb7yqLThZbuWZOFylBWLa1IlSx1x9mjOt0BTM5fFsS0+CMBsSpz2kG7EhCqLCaxaTLkoi/m9HiqfPneQr9LFHKkvKVz22+/bXOKZYpk+jLunsN4giz5I15zLrAtowh2XJoHQwhlZysFz+e0c6yBiEK0hNYJ3N+L2y0mZUNEy4W1KWJPZhGnIV1IIC8tg3wqJvvl6xp7K16tidFqKLGxS7TN9KuR7r1Y4O6y29rLeCoO1wnXWYekTOZCsdnfkimcVwn4XiN5ln8RLIDYdpL49B38YFI2QOOiINxWjut1B8f6DYyAvH92wtpxTIctACvVzs+jlGrMQCVwnQSPYDRYCGJZP8aH4m7uvUhigCl+vWO+hdA7rjB6Hab0vVd6YNuTiZ8QXYws0mG6B/oX6XkVMIVU66kjdnzGiJPkDsllAeL5em4xdNbVnEmYEYiHPzQhkPCO+qcJkxGKe/LwpvCEDMPQMOYx3V6LOL9+S4I5qV5PVdOiFzdN0rDBx1rx3RE8FnE97i9NroR/NntSqR+x2J/XJGiS6LlmBjfL4o/pX79WJBDcltHs2huh3Qfc8uVHJxZE14ak2pL8m4k8ZdImAo4JXxfYCJRvZzSWvcP1gXxACMHZAS88r/7cfYzcLLbxhiZiZkc2VLOSMwtWL426Ce73ZStHf2Oa7vwqIriQ0LPbxAqOQHBIP7Uv13JIASJIvDCX/NWFCCXpHcpz2ipRFMUvsXtRZhYGGLRJkDITCWrx+JWPB3bqOCjcaoZd0bn4Zc3W1istVNhgV0y4QBKnkxTFfrTibKPfiMYwt/Fx1oyFV1wC7doxHqZ3grmbPQVa4WXoGpjnTrwwnDSkdER+8YheQwo5Np7vGRN8mvsXo/Ox/gEO6sqH3Y/oRad1TslXdqhclOI+PVyaY01mAQkm8OOHaTYJvqhQkWo2HKpQ/hJvTR2BX6sgbhH+SKRWADBjAnqjD5YzWpes5KmNebw8jvRxdntprw/owW7zlwwwDz0/XEannKA2xcQT+VF1Y8CloDM/LUXwc7ogVa42lGeyaW1lvOtEBxb7DqZmSA+RyqrfDCOs9yCK3vS+vj20BE5nhPxFmMF/XZ2KARZdUe5QhFQnAp77ekAm9XOzYMf00Q12E4Fi3lpargJDuIBuw2sRLa2Ows4aYt+usZSO7nsAqYmXdn9SVcXA7X+bGfpWpN5Zr0XTrWaYQubr3mS1xD87w0zoGX3VJ+HgBjrhXwZo4qtEtflSchpABXtrXQ2iKsBGkzROP8v2Rgwhh9lydhpL2bN9H0Xs0+zhqXOCgFtQ/QTjHDlrDoJCOEUZE71O6KgV1Sd5lQPb4c7fbCia/pqLiOaSmehWaueCN2rXkgg2PJ0L38mEbpKB09h7hRdPfu5xJiYqOCM5ANJcBDc+RQ7RB0bECpn7qysUlk2b0wBb+FgYfdH+5YzuWZaOrr8ozoanPWEzoFoGKdkjsavsrYcoyxQseyrWF1E9Mtix/WAfyQlQz6u1TTSDBonUoL91RH9Wk8CCIzFGuXyJl1y3olO6tTymzmy/9S9CWwtoKSexFjX+yK60Bb4N8YDKPp7kWqdwR5aNZpqkXJgaY0GFjaooAH8hh3IJP0+JNdcapQ4E3WzdReEVm1nP4ExgGY31Sax2hp7Y1UryH4RZf1T/PtOglM7clwi0GIhe5hqQEBGAHVgtfwpW4ZSKViH+yKj1NeDW5+rHuGTgiLKYlqI/KXkjCahbtk2f0KTigEI7WUoD6P2l4dW/5twVQT9ANyOW2HMV6tqj/Gf+SGPiJHBSlXEIzLqHyQd+XhfCtWwzUwD3jlvw34avfm69ItdQKeYemcUjYgG2gEx8oKzZBvEkY80sjn2CUJx45z/J5/aLzL+RsnbQYZDkwxe/2qFmdXRSofclmfqGeeYbMKqgd8ihYtcP/6Fl/ejiF5oz2fK59WvcGUYYq3/YqlQJlppc5VL16qH4rfnND7lagHAmV5AHAyldtke8FsVxDsuEi5U757LCLcNFXV1+wWPSPE5Y4LY0jvvDJVxk+bx9HuDbmSVaJY5LBHqVo5/Qm2Pe0yQ3o3F4+jsoWyw7Ht9snrnjUe61OgOV4MC7lt4jawC6xJmaD2ap4vQRvlDnkrGGntWpp8o7tQkFMYxVmz4IDhokExkXeI6rSq/H4SAJ6UQsmlClkfBBGkrTzB/gE2uwJ1i5mY5dGu+xeIz0YhKcvRpq/Z8y8n06fk9zvFXn7MFZtAPr7/R34C1SCdUtBVhuNqjwodTrV77K8J2ic46EnZb/1sc5dBwxAYCqPff5agv79BYkFGFc5i33KBfRkcRXOhfgveI4LFVNyz5UqEJ5MRhTeexV5Af9Wc3hxrRlqi5DDy5K0AI9NFvCotzViDv+jBNgoXfnZ4i3HJwg6c7P38RWgYvrrqlhxNdJ/LMJiaM6eVYu99Gny1+9WQ0IRcxsYE9GGOIZ5XScndOoHd5Ie4Vc0jitcEZR1rdbCPW9xW72Z2mOib04RFJDEMI3QbiPMiNh56pMgrsy3qas3OgZh9AMwPIKUXsrgW8vJGsF60SPFQfKVCDfCIg/wlub/6JK1GctOmqE0RpfcDhCO1KKAUwzw21AFUK3VurdypM2isPJDHEnzMb5Uj5NSklRrhzesO6YRIRMU5mCWHMBkCTHnhCOEdhJx5/OErqWFPjyBLuCcAiry+DR318G3s8cGJNMHa+tSkNs9ppLhbqPV4rJUS8WL4Hhhn2kh+DpS31//VpUbbCloCmXXia9Kidm+HZE1k2j47xKQPtQW4v6Yhe9eMgGwmWJEkf6py73gs+4/9mSyJ0I+ABdGw/NphzVQWyptIv2suFfMRNlEa+e1vBa5qUWv8yPgJOPQxsHNoa777Mc5mmKes8JL/HT+bQVTnw2ICYFHgK0Ts0QilOV5e6GzQHf9dq6U1J160mcrayzpxpGuomVT9u5Ct5nOVrhZWWIk0A1Fh1EuDaPaVhOkRQFk0ZeVu7zn4euad4qvp1t722RDANalZtfRlcT2BVG65C8E8Jh5dTsNyfctP7/icnTKNt9sin+XHooVgJlQrNzSn2flYxD+q3iRCsJV8Ivhgs/Dt7blutpXZ1uJ/kWZvVvNCBfEOM/ISLUpAY66W/aTzJ6TjOLyb/CuZoYv3DEcHGOg185HAxFojHaxTncN6cMZoKHEzBFIsHV49LgrKBMt3/VxxjqHy7QqvtLr97lnBGoCPvRnKk7y1bfNT89LUKMZHCqIrqpbmPJ/qH1yQiYjbQPTE0qv5gNtx9nHVAi2TTO12rYPswgYENH54kYx4iX+pdTck6JvH+cR3BaYdFlmdLFluEepmhIfS98h7e5dGXX9Mw13SgD9DDCNb+HLMZFqN+4Go9kBNcqZ95FPYsiEmhJRo/gGUcp75z6r0NAYAm6hxU2OJ3F9MkoYm9/0yngU/n15qaKUxExUKjmAq9zZFUyOFi9uXSUxUJJFoqv9rPRBqMSulby4esSgADQU9VeaCSbNaWXDaprAGJg2nWPPS0ttFS8KfYTtOOgq2Jcq7vYWdooxNx2VOLmbg/dhORS2ZRMkRX4HDOQtUBe/+BTwZL6Fovzxc0sR5zC+90OdJy/1GCCky7qFLtXcrLn8LjrUuGrU5VZDNLWfBpKNUqzRgXYG4GPlcJc8jPOF/8an9g9rYc3woYA9pcZUsMFhyD8/CDvDBzKV0owhRyZ8lXYEDS4ARsRl1kjAOEeJ0zpmpN3RvZAYA7TxuPw+GnhO3bLqPvrJLITWgrCk/JsDcAsuV5v5l6idCv/aTWZgfNIW3o1t4W9eDV9bErJD64d+PGkDVO5MKLRV63oTsiraxKHcgCoX2aAEAH89aZnAuGbtjnfo1d7pPzbQKFJS1IFL9SjlYfdNNSIaOzXBz0QwOOSaOcPG4koG56Z8Cl8TPDpFELsuw/2BMIAv6QMJ+lxrfAjLPK3vvfyE9z1xPUSMTj00tHrUiTK5mELgokZ5EE243gCgkL+XFCoF3m2Wnm5nPCg00g+hrm3Dr9R/4t+EczSTMX3RZNlVAKujhoK19H/hmxUK9Acx4ro9sbzyMW9pwvzL7eojzWyk2ZWkVr1+uINf8lkDJT49L58d9XuovvypRTimy9qOCHdaC4zdhYEM8p+SbFI19BvE6v+6UuIyqjZma4iV7i+NH54OLUHokJNad4b0P4be+fGBoiY2IJJHHeFwpequT4Hfkb3SV4lBH+3CDlfaN5uQZU8Z/5aC+4+EPe3aG7lAYHt+JSelwrNBrOJIDHbL0oCf+HEM0AlBaFpd+G0r1+wWfJI1qSKcPqU7J4bJ+GSQKPskQYDLhh4AH5JyZK+3xzgDgjlyBflNGX+P4CH+qw1YcgpK+lI7I7m9O/3S+oPByzjyAEiDtsBMJH65aIGaUupsEguqd12LzNMDpt5gIisZLl7B9TXpsrtfW0B3a5jdeSrHWgjsFZMChGOR8NwqoS2n5x0JJDGrBQZ2wFwY/7noTGGcj+nZNjUMlHYxoscLEKMT9tHlAbaE/bMqyOFi08UbiB0Snw937ZXNuo5Ngc1o/52HF0sv2GB4de8OJr2Of5sYpTXWihOrhS4xvrW+avtqzTgXR9rGD9UZF7VW1R8nlbGhqOgco9bRELWhbSLWQI3jsgeEFPXSMHSTOZBvdtIf36zgx6r4z8U7VC4DjM1CqOAADUiVhnHJOyLA4ctUL4E20o5oVDzIhCY7+6XKTNicKYEZO38r9oFnQj8onAkDlFi+nWlPlmqlWOG+9JrKeUrxget9J1uMiJaUPHzIUzWJvC6K/Ln055dxm9Ec3R43/pDpfKVUOFojUsGOU076ufQr+9bHTp9Asd7Zc6OOj/RfdR52sLHv+Saj48h9eARlVj1gqAkkyS0MpNARnZdv2bGS8LiVPk/4KhlM9QWTeM3yI5Ju3F7M2WnW6oAh3z8rx9UVHn8YtuhmzNsuokH3Djhjpm3c2YvVonQFPVeWebEwzgxhadaXQKx8nYJKqGYuh1WdxNtPDKc4gUKKkYfFtwFDauq4jisnFwcevXISsTa58Rt9qO30VCmJ4ZrOciIBxR2744P/Nbi835WmurK78/aldjrQGhBGeFhVErUit6nZgSCcH4J6R1GUAMPIZ97UiMrbDc58B0NrHownNYmK+WXOU1XbrFKp0RFxKdFkQkZsULZBbediyUNlmO7wKP0eqEsKkhoW3HZrWsmPII67ow3ieBQG/Lf22FeRZvn6IHU9YP4agQVi2g10BM4WlalNG0tT/TgIHQEzGOykRqAEi1Ky7m9ZHjyiob0WtskwoQ3mDqFBf1EKDVMtSq8jqeQ7afSEw43kq6PqCgMuT2CONYrF7RyyQS6YTUKgYtew+P7HLnuvknxbIUM8qpUxzVt050earZ+W86ZGewJA0Os/ruBrSjOzGLryYrhOBCZ45kXIKhSxAa/Vb5vF8FkWVOGTVTAHGLMkQFNNfZ/AjaEkW8saKNUbj0LZCRZC6gkeQloiMmtHU+MnPsDVY0csInc0Wt8rMW9DZo5MVQb97GVmLx1SLDl2mukKLItwOFc7rq7Z7rtQzlOHUqblYCect7ogEPfbwU/8luCUgsK7390tdCJXPlODaTrLLIiiikMIDvjn5Nk9Esg3eeFiFIB84yB65eUy8Sb8FFSX8EyuMcZ5ObJ6TeQxm646wp0lokqsVh7CTSxE+4vZpVRNRCwiVBGmoxDPD1sraAmWn3id/7+mvsF6+A9dsQ/4Dxa5qSygMCN1vs4fPaRtlszLOmaioltror9PmB7aSqtgkUBstWfgY6pP21DEOjgDAHq35LeF66jRgaWnSsVCw7s05VwQ5G+eyB8XBwSeLnF80A4X0Pcljk2Ef8r67/uP1JW7uppKVYJmMbDgohplAOvw8RK1XoZPMaH/Z6s4u5mqTJLfT9EJzV9J9PJ7/1A4618okGXCufQDrKCHQ9XLYOm98MhA/mwP0C8a9pdJtm+zGrAlyL4FD/qrMkq0eKUSzuvvn6bBzsr32Hfbg98q+LtCNc3EbAgJps6VZOGMnIc79Wd29JgYeOYkR2IrjnPyTXBmJpyLwuPKVluKd72BDmUDk3E32elpyAam5z+tq6f3gSjwxNWcOJzUBLd9bw8QePp8QNxJgtchkKhFKisTTtItBq7XgGzP7WByXV6YxtMj5MSoFouVeYz/QiN/i1npoU1B+Heqk1yor5OjhgtjqbO8PxdnCUlJIfvbbWTGt8Voe9jJ9i37OE0p3e8tIvhMDu4KsHmyw6yc9X9hBmcHLOOgHSNX6PpWbSp5u/E2ad6UenZswG/fbKZBr6X2Gkv/2XmDzbOEMPw3XnLphLyGWANjzvEgk/g8PGS6Skw/NJbRxGjCY+25pgaf5t0kLNrKDsoyrfu0tjQw2anh1ZCdJEQf/xSdgyncSVYlRCxlqljCQSD2yKeV77TBuCg6xZ/U9dhXOXsRNP3OkodUnfB7YXVinzQi8MYHcBU/ex0Ntz3VTXEKoKGz8fZNB3pjpGNYFO/h9PsSroDCm0xCkI5LDHG7NwAaXe24b5k7jZLhUGLZiRps91Z130047BDF2TDPUQ7rg0o/z1duy7gTj3Rx5Cj9PTB8TfPvx27dVzUi3Eou0KMBrHhOdMoL+hTVgwEG9ObcLHYBniwopwZoT51gfx3HNvoKlPy0c//2bjBlZH5auJbySI9CBnSfozVt9Vzl5wHyt/nqX1w8vyQUwmbVi8DKMo507JVwNN28wqzL0TobMDmnB22L3MZAFcNVb+sVKRDxnKPn5G1/iC4VClvzpWCvtKIXqQeZ1LvNqzbEFRC/SXzi18dtmKLPaJwk2TANV9kEObTRH4cxtnNJ8Ya8ZEa7NSn+sEXOP4h/5/5oDwPCM8C3z0Pt767dwI+R79yqhlZ/rLXu9KlCwCLIwWOfr2ta1f4Fnt2QoKkCH5LnK/TTV7qYFwXOWGEc1UWvWH7Bbq9UUmA/2iqg0S2AG0gDG84m+cC/fPzFap8tkws0ivXK/ivUyWI1HHvPEQ1xFJRsHa4llaMtd025jKsYGYCnuRmfcojBcpEQgOhTAlVvbW9BPuqdsQQy0RZH0hLyyidRkvFjw6WpsdOsxwvXJFwXDp9Wf0JF4eO4Hzr5gaDlZSFVGFBHs9aSZXS5My6K7sfXiPXMNJRBrQKu+Jj7RbRo/boiMUUlWEPcm86h2v3Qo4LZ6vqadDYuAcUeDGvHuIZaC8hlY0tr0GigEO/bLU7UgWQ601bHTX8hzD+D3KANPYQkhhYE4Zm1U/Pnd9oFjgnjxdr6LDFP4nqR+woMWoQy1MEx/HUep9W+3gNw4Oxet3norMVdaDgImTcAo/Loj5ieJjy4N4/Tv0I3DHVDpapXudCPvFTgXjKwlEv4fDASRx6wmgP/kkOJDrCEqCTf/G+8UKveqrHuA8AwTJ+iI1NxsOydLaWptL3Df/kke7L1ip4lADqBJoo4SQOqxVUbtJHFC5nmOnnAbVlmmGgN3ATvzjYy9UWs4Ien5bGD4swr22nwOKQuVOfW4U00jw1ab0OWBtzW5gZ0E6h22SPcwnpWN+3o/DNpf2GZ4IjmmCiROpKEvldGh3paMDaQRjpy8RkugdEI+p3prC1p2etAdWcbpto8tXpGAyG5zrZVxIdGzNgsGAUMm1RYMT0bxcEwVimMkjW1eLx4LVxSK2sIVvjp4pABpAojjqx61bAWVpOUzTUMPwUTWnRx5XkfBjVuj59mJFCtb0VaHI7eauGqwCZAcOd80ZJ9VSz7DrW5XU13HhWv9FSXWYCQIouDoEoi9c96wGM0N4tFeVfbdzYejuV9vJqoN5rWkdVKQ69uObB8MCH0sZWlXFY31DAhuZG1UIcnLXeT5ZZ8TNOVKAt78bBbrghI1BZDlHXhS2FE7RuXUlQvqUMKHIGoaGB/hOethKQTSgsmk/9NhtO+Cw9XC9Tsy3hLmtTzI6rQLp6sdgXcjA9mBPvUw5VLHrEoso6L3qy2OFHPXhOalSCs+Ja89nAeZJ7pmJhuobSUuHHBN4lzyAgFBPmkrd7gf4AL1q3KUqr3d0a/8P9h2WA5x4JCtwxaCUlLNXgOTskD4X9N5ZsPowzyzbz4A9oZPP2ik+ZcSO9+mkz7OHH/o1WmDq7S+cVBz8jG5QY1qxDFr6Fs81l1IMmC4dMqLZFJEw1kv3XE/aAd3kGE6S2rA6eUf0xd8P4ByLPBOBDQdGLObNNgrifdYrBY7El872RKET/olr5Kr6pHTi1j5RVS1b85eRPdviuebWT7IoSwDZz7Q0Rjg8tc5MHosmX6kcUOgvgLTp7ApgybnCsehA/XkmavMPbBHwdl+B/QjDC2vZjCAV90E3bpvPXati9CeFjf5cns4PeUztp5rMsIC2a6zcJFBPMYgoExmAy0GKqDFE47vUEX52v+EI6TJUhykyooSGNs5FKRCXPMa4WB2Xkz8+40IRutyljXtvxy8h++PGlaU+JVRxTzKbWmQ3VyUF+zGpoLk7h50gDKm4OzxcHXRSlvPa+SEcj0OL2WsmbZ9gac+WtFcY5zmKidqLhVe7SJ+iihTiORsaUBcN7qajQWEqgWAn4/EnAJ6DeWVBg0pWMuR3vGzg8k+p6tgmcmnNHVGc1K7Z2Lih5Xp7WllBJ9lU3bxygtQssJ4yBwspZta1T0DJP+bOXwBABiKjCYvGsMjwr799BGZhKaeMusflu9CW/5Ugo7VskLuZGz2MAmyL5rzcG08or/mKEiA+Fishk4HebDcxoVUQHxhRGkHCpnERdz0Y+adpyDqvgm1kRyzIY56d/REUGExXrA2pw3Vc3tChTTxGH+HRfbVBAsnO1/fDoU/JRX9gGa/GT2nwTtToOL8FdlcTmo5L9dx7CYCvGIDv+p6zIwkzNVlIN72pDOY7eJAY/t50+XvPvsxWegXv3c513gnpns2Ag98Ry61q7jJA42jPVrZimfEiXGY0d3/j3VypjaKRMuaojchsAyg5xhk+wFJ3SzBZ10pgLqLxspHL7Wplsk6uoMKaxwMPvGtoVQctsDFfG0P6sm51xudKmb7V/qYUf9CcCUbaOqwTj1wqMGaGgkWUl3UfdHsAEDCzM/Lo1kVFkQLaC/u++wDJgNCV+xfGw+c3VrLUGtdtXvwHqeoAq97VjrgyjQgCa6k8Pk91ilbQqAjqi8YCbBgkJJ3rzY23uDG92F2dqeyyhbQ3ZQcQvgqtfnh99Bw/YE+qvg2U2YWyfU39oikOs8Cmp0i9sxWkOLwrLM5TmRXfP078Eun56y/A09j0w6t0QfibaZuJMhHlQWOq51HH83Pq45j/SxCc0SFfCHMnXqTkBYqFmTmol6w8vG6+G2OblsBgC+qnB/fYZNGhWZGl4amoL20wu0/YQsgev0ZS5H5D0R5LpkpOsNUmEugW/AxP4l5n+esTS4etvZTW3ndd29tWd+2RHnYhNCIH2uv2jfJP311W3TUjhLyAOwua3/0tjGdGP9s/bdm98SoUmNhQH0dn3XGYJ9I2CLzyl+tePYEK6LlfqC+pABOcEgn1K67KfuUqW43F8sA8n6xTK/tLKytX9Lm2XhUnijRMtsF8aQN9HJhcdOon3ifoiu8Esh7IRhPr0bcI+trZkm8gQVhKcFV5d8q5Z4XK+nL5RBcNqvLWjskdTt8xj6c6EuE3Ak6uZ6UFGyJX/KzGOnSm5rTlW8fNm4x66rbdJpENsyJEbEvFREcBSP2kBu1aWStM4dFg+rYeXXllB+JB+CiMhUrfVL74FEOmxSkReTI2baiGX5No8FhOgyhl8X1tNEZdGzDDnJKuLIb1JrCVgbn3DSFRrMEMIhLTVthGPJdZZ/8rzIRITWt47dWzo7enlrQfGEypWhqPHC33Ku7FaDu7zkaTD45rZAQBMYGh8//ws+GVZmGCfEKP7JRckDYMQoT9xT5S1ji1TNWuqfEqkKA8xHaEarUSAiRIZjXnx5tmTBBO7Ar8uVv7Pd/vpsZR4DdxLvFFMQmaxwDGEhNLh9YQt/Ea5YiQY+PbZppIS9bX9C5bN6vp2gLmVqLBvtxHQeMByNSqSy7h0nVfg0we/YnklhZS1tZs3y3TdbOMqOyVIH0ZnDLBPRKvG5Mm/PmWgboZlYrThHaWzs9FgG3N61DinhES1bBw1i+N/a6THDSPllUMXsawaWV5zvwrh+RFHwLXYBQoEQ52gzmZ5vO9olQWOJcdp8rL0Tsc2BlMX7OOv9MvePvNFNp77+tAPfwiO1+IiR9kjI1uZ6K11ip2eTkyVBW1RFgv0l301c7TpLnaJDVqB2AMG/wDObJQGGnkd2lJyB3GZNBHs4PQn4FCear96W1AgdAxeOtI7eWYR3pnkvFcIhYO5ET/PwjBULmuPu8lQmBORVOYoYIKygbxQCSjA1MjX0TBu2GWEnc0xRmHxz5Biyrcv7fov0az57cI0NnRa4OIEfcUkgrKsMnPi2EAseNKMbkiWKGHUGCyJEDdzTgCg3r0gy8YBmRlxT/zu0Nk3dN4h96+IEKjF9Rq0u7kczl+ZWc7SEpuqVt77QTwqu25G1FVOaqhG4SShzH9Md4pizn+PbclUziw0JfjOpghOLfDncAOOefpuVnWlwZ9kdZmukLfClRyaP7tyBvnI8Xym/SWKEn4L9PHHxgfpZlCcvgFSDuiTv1RA6sNtt56l6Ebf8euGz04oOgQl+TnEfD3m36E8262g418qUMrd6/NyZXsFnQa2Y5d4MFF92lTeMiA6/mnqISu8Kr4OPrJgZU6h1u5dWfnPXwb+3WODuzeE37doQLk6U+dwzQ14eg+/B5OI8aMNLs78X0VRLde+fjvrAO29+HmJI/rSXS9GWLTmKq/9BsQjYkQVbmNnHBvvJjgslaW+gzk7rqxs3jV/IM3K40huzw0NGGdwdMniM4B19axNxEDXKAIRfVtb1znVPRHIez5hbFOq+GrN6WC4RdiHHm6wvZwvh+FWTVBAhMDFfi16RBf/7StyaAkXVzEu9qMfFrqK3RRTCPrkVq+u3osC1Qoa0hMg7E00DcAcucj/L9u66/W6ypgXGOr3D8ZsWi6ak4ZAnznH2Any1kbZ5xovM1/C6SgYQpXvDpHbdQ6bBDcbcgsgxyLWCdc5q/VF2AiM33JE+DW/4cE5w/nmSvkJji31MhC93Le9u/DIu9ebQKNQFFWEccZYQaUiln3TZVFg3U8S2LluqKmYqqCofR6m+b0xKpzN6SfLN5I+P2xP6SljlhvX8YtM0bQBPtugatWMJiGVoUPE2EitpSBGdC5HuBCrR8GqmkQ32AkmfGkTHz823PjypJzDfOUcjTgrGjq5TENqmB1Z/zFCLiVgFS4jbAe/Gy0QVkSNjQ98oMe5g7JXxb4O5pRSaQKu6NdT4u73HY+nUv+4WSBUG5c/vodStaAiiS6KBUQPN08ebuumHiz6jQbzz0xHRu5TKHbfq/W+nvbQe5qo9jDHgS86AuOQuq45/BK7emFGv6uQoFio26kvCUlxDyo3v6ewYtl4cVE+W/GzwZh3lMKPwxl8JAQhAJhsckJka4/k/5ko2lwfjJ7v3BBqWIY5XvSRY9UHFLfEWVpKhZQDIzcwxf9ZPf49qlWB6BTyBvHtndyzAENXr0x2TjUOLob/rG79juXZgcHH3tbCgALP9X9mWVnorX9g/P4ClLbBjRe4qT/npqAPTPucxmVDp/aKfekJ8D2Fll/SK6en0dkyFZU0PmPGvp8FpUXcaJu1OZGFMupI1y7odIQTI4YkKkFR4cxdrFSPjirVtGeK7We0kRv4P/tuXj4kqA28xxi8IHUNwxHLeYdfpwCIxtKs9cI7toNgh1QYa+8IbRQ1gGSTJ43T68XC0TFXGY3YS13mofmntd1nZogGaNfQldApQj7bvuu6Cq7hjxyzXn3qCVgjc5NhJ1AMucZ9ae+/zP+BKcu6TqCqWi59r/d9/Ra2+Jrx8ihW4RRylW+PvZqc+U1AUV1TSuvMpgtmJoPB7Qx8anTCbTUNUILexn0ZsXusgYakh/SP3ik1n3R2Oe5HeJeI5km7AvrkQQsLMmqzedBKzw0lHhdDjEOJr/hCSYE0NikIOdi0/D0SKXncbxKOPkcDkC0NPHTyVk8ggwyals2ofs9J1lMOnD10z6gDD6FVHQfh2K0NR7LubRy2zUqQrGFBaH0j6YsRD6eVR2vVBgtNXCxRpoJGquH27HJZi38Bfsls25kMY3RAmkz6C4qjDk1nPJuaKl/OvYA6OAYaXccd4u0GI+O9RV1cGdigodCcnJ0hHraTSsN5FatDq0uMG2AL650ri9c1I/PNIHDBoofHqMS0KcT5pWVDNyByCW1/1lQZXBsND7WK6lboPCfo70jVS5y5JOywuvbgLzXJHWH+ufDHs6RBApxYqm5+6WHULKqpMtMTr6mYeYyDeOQjBjHCWqb4kK/kXBf2xq+38lyC1GrppdoHY/sIlB3vdFUayUquOGNszojK6PKOEosYMyl3ITyCyU31q0Pb9+rTz69ZpFb/BlD6x0lTWyJZnQFnpSZL2UZoqECjprUhaNGQsp8T01vy78eNjN3npMpNmzoWyW7VDXU7gpUjTCkdXe2FJk0KmvbFgJ+Hdiv8CdDvMR168OGtwEoEfbGXb/iSWf5X9nfq0l7TVAc637QepKKs3SU8ShQIlKjNu6/Gav6KTu/2uP6dXyc4zlbwpdhvOLf3R/8pJckvoxJ4LJk2RWLjD2VCgHEb7XDO7yxFMzgoss43hf2cGuYW3jEdG7d8tFagmLRbNHwBR4jbPXe4qd0r55k8n81VRNtkq2Bx+0wFKIzPSoTgdpf6Ti3I287aWsfbfWAQ/8ZB3anq2mddP2pF76WWkPI9/G4TQ3yboneC71j7wI882pcd+LfWKeznb+q2EqDGsIjjQxsuRv3UWdJxkyHaeLjeZuS9XftYgH9ph2iIVhyNdBopi/r7Xpk7x1uHOyILmr558TgiBHnmOCMPvRyXdRSOMtRbw8lMFD4MBHS8NrV3nwLOwqwdzH0CLg8JW/n5AdCg7bF4Ja07KEiOoYIj3zz13JcfZHpVqa/3peo8c5FOdTlaSGO6NA4jo9ZuFbfRAg3pTYSLtamhCFAiKCZ8Txo7RvWkpGPmqsvZgitCRam9vN/Y7Q8QmZ8cHIfvwFI6qdibuHOmacI27SJfkxM4ZEqBbIksltcujFFR2LkIzeUWVvvXiwblSi8FsvT0LNlpXrOfI0ANSxGQrgn4T51u1xYjlOttJ2jl/5HxKJSmT7MALDjDy0uzbQikN/mhs/UlXxE3x4ybkGIAs23qmQUElM+mLNa7pLVAzcsF4u+wtJdDKsW/6HojOfZov24WbJlWX0hCPo4Q/TI598GZp/BrOV/zdNPgqEiphK5i28pF8CwRUwWLicvfKjXm1HNb74kQpn+wmraNVgGnsmsdib5TspsMdBeHVnSyqYL7lsOogVWLlzyq/dPHdexX119zs3M6uPkyly9fj09Bk51+cFNHvJQISgaXwAJnUEdI9dsaurqtBsEUDi3j3sAoAw1DJyA7SZ1qIhyCfr/fLFnCSpSwVc/Mz5EJqnqIw6kVBxwTKIQBjnO/sfPrAZO8SQUSCg84t96Us8hVjzIgMXeHhiZMDB009lqUisHjgPQC3dtp8wTx1gxwDusfy0n6UjGjrDBB8/ylCbI+QKzhxOwNfZgOO7e1Q5/ULGv+KRIJrVSW5nERUY59V6WQLqUauC0GikytNbU8VZQ2nJOrK7ifmxQyUeW8ZBUQ6BqABvNvPlMuS2VjgWMTC4GYu3da65tH5GJkoGbOhZ9C1Harg+SEqADCz8jstur3mbaqSj38OOKboEsBsvvRUPPzgY2SRhNWz4l9mEOrdlsFXCXNniQAAMKDWCPSbIP63dTxabrMwddxd51eBoROq96g7P0P7lXACgGuzbCr3fk8qxQRqENL06chAR0c3wihDx9NH2tBSoogdAoGSdYsI2iPRd0FsO1zvNbN+c0xyQInMRMVS+4pCsORtAlxxQHpaqUL0zOgYGMV4iuNlkJd360DNt1ELAp9MmR9vNr4ctjxoa94PQmCRi+mjLfDW4iySvw5JoXVXvY7QDirsT5CQbpgxUyCrHH6lQyhvVhn9x8158FSJf5Zft28rK/STX6NaWNtPpcJqrc5ly0K8SSjrke4HpMn1QOFFM06dXXkSJl9MkvyOUw4AYWjpNqLj54vzlh84QvB57NLfAVpphu7Id/MgHq3hz7qbTDoAXianzxiXLjCyxeS9n29GPb7VXZNsHDutL7KJhWeqUFBP++mWZ0Arco+QW167VjbnGcTXiolgWaDYzVepXGRWVseQzNZNqm7MoSMrsxbfh2TLqWZQX+1qs6cjH5Y2u8mUsJomUOQyIsHAaSD7ssMobFqnBjlz5qbUjU0b+ZBNCaEquWHjONGlUKR4fbRXRN7KN3S9AzTan8uSeiAqR0QMjXpVCkHEEVIrVYqLEzIR+75cQbcHHFBh2dF+JnmejQRA/5oD0/xWPezXF4CSI4aFkWQ8R018TtxLvZVgEAsu8FJDCIsvLyWh8ZGQOQwmdhU4YGT5n3hi+qELbzzcttO28hneFPT9u3yX1E+DgBdfl02JCLuu7W3XtDfvZExHoVq6985IhZmuSzA2hh2iFP+HDOhciL3x6Xp9Wt1UIykKubRKvVDybNJOifDOrSr97webeEHCdJD68RJ+YgrM0T2OGd31jE6jmPpcb2YOmQ04aO10cDkxinjPQjnbL4V0/k9cWzUCf5LrSr/2vPz2QW6rperjtFz2rwSdXsaKJU3Z36HdYfsZAG9WkDC2UmeAE4zCA7nFc/suJez/AMoyP3AhVGyGngu4ltaRm60pfbh8LEKerZLl2JR8S1LHw4qLpoVDJBYFvQr7nqp2I+NMaLvBr2uACaWfwmiNyJ13KFhr/Cwx8wMx3JtsiWY5LL0YhsSx1k6q+GNQMrBz2qQgeSiWpTSwMWNUNSMVhmDlmmbiTgNhwrI7xwFCtwDZJMZdQv2NvY6qVV/zw+5otMLifSyaa65Kb1an3xkJeKTM3Zo64xuIOsQNiDv/9BcyJ7KLGvAu0CR1OQtNmBCNrw78PebqFb8n67OAPC67Lzfx6QBnDgyO7L+LG9/jKZ2MyGDTa1s2r4nTUmarWCMa5Z6JdtC0dOKwGbklZfp86yxhnBT6TQKrEWFxvz6keeSpYZOkyBSKQRhl8Ln93gpx25PmvaRuBKoFBYcOQpEhilgCs1Z0yMjHYpcaLiHdvB1kyhG5orLE+9PyIHhF/X0zWTuJCoknDv6mEpIaSPRjYgohCjaXdZXdcVHTIYGAgR6MuxQ82ZplL2emFtQ3xIvGN7a7A+dlxcfHfByigHFN6J52ZJQVl/0mhIiMrusbGA+OaykWg85AQBvqNbjxmy3vM14P6AXq6YqQJvlHrHKPpTnwZ55g23bKB8BFgLB3vYwKrKDPBSihqWcAHQ9IfyMVvdDedGl2rdwPeIdKAN2GJqgUs1Jd9udAM6tkGpAmQrIcBoDrxRLN8rIM1ZfohZ192btP+yVo9XHm9i3Be85ozMEG7Q/RF9MusLEDxW1x0i0N/mfQNtmyneNFmyWSOdXorSR+FzuQxN8gc/yODLlxUHOZvUjunKfERZB8fOxzQxtjX5Do3C24gieA1CpeNmfQ/lccXykY0dy2dUWFeFjDOnSpNekDHJW27H8WRlNGHcDveP9D7X7cT3qc0VFbFhrwPbRJmwVCcf20PjqSUa+dbW+PTUOfJ5cUAg3TBSErA1M0J3FHUI6UzJsbq5tSjX6F628SumyVWeDCbyWy2SUqbpkUBjeA6zNkxrFI8cJuwNiiGLyajFDjnzOg2Mx4zgfCAcIIfE9tdKI+hLmsNzo9Wa7Ehn1GpASPB6vVBj778+Kza1BSXdr+puxbI+xcPJLJ9A8sNM6fVlnqNGPIcJ0m0MmTDZDskdujVbPEVd+hJklaQx1XDhdVvgmQVS/tmuoUXT6rd92DuubKgkGXGWVS1x5lc2iWy7wFt4k5xCgoT4gdpraTR15+6YMui28ajAvRf0gMHSuXtQCnqWaPHfL+1u6Eh0rcGQ2HEkIG2ZS3dNUlqmPkiJ0LAqL0NW58D36uRp3S9L1+hVDgi/+dZPQUSr30I4XRwAZfZSy1gLPtbdShrdgN+9Mv9nWTzZ2r3Udlvk4L+pEIqfQ94m1IxnPivAitcLp/ACPVa6m8wmysN4XGrbO559D+TbncfOrSfnivAzYk3pTErQKyqxw/OwQiDYsnsCgrrWJe/v/ElPaaRoDZE62rahwVnhNY1dI9Y6Zf9/FN2vPO7XPylRARDBnwsexV4h/QRrKAgCkAxnsheZ7iQv5SRXdNubNenv/6wg1lPLboyI+QjkxEj8gGrlQqA0s9SaM1uc2KPTynM0/G7FVIYvzOBYxSgGaZji7RUtBL905tcKi2SDHm1Y5sWnCklWYF9Bi/6E7rWeVcIK0KtWtnjpMztYUa1YPhYqGQ78+iu3tL4tIMsev9f2fu58tIl/X8zKNYDlfxZRkl6xnsKmZ88gCzHrzb7Bqbi7Qp2cZ/q6dH98wPlloee+soQdwwtmdd/jdCD6Qi9Jf3g6ASd4/xub20NPxl31VaKH0sMVyefpfY+H0UgggVRxdxD3t5Dr1X9Nb5jaFoEGD2CdSq3+uz6HjSEG0PbqsrBhsZs0ABRe4Kkefo02I71ngDTlY1K7lx5/maC5YMTc0+UtwI5qGUtpfXgLPdf5hg5Y9qxgddgON8583LbDPj+LTMEhzfpgF2rOpZIgM7Hu98UmUlGBxNjDDSCXQITYk5Nw/vLdNBq78LJCuVbMTAI01hkgmRZVz+3TgNL099EEeeb9uSVjAQZktGnlaiL7NmelPy8a1t+KPN7uxP2+LLDzRy/zcJI/R8XvEgaYQ2GDiJNuELfRLQ01M/c0kRTqxHFJ/QbTHCbfjosf+9bvtZ5HXMHkE59UuzkRK1xYu/tjIPWGRtYCwDF2BOaD14I5VD5ULf/9zQVRhF8i/GQOcDxlDf7Xs2pRAjZh+S8NVsRRMOVNEjMma7CRv4gSlMSPB82R+uSrKGYknExD6vCCdtkVaOZbx0TNz7F6jTFKkDC+6LuuixD0sehWuJaRuQ4AurlX3kUNhADAIiKjV62rHcfANCOm3Gl9xT8pX3NZM407QcglYFNoix3WUMAkkpZfn+eyG8vEKNI3CkR6exl1BafXefdjrncmGyg4aaPP6r7jSUTVNbxVadXMEU8tih1xGKAnHWUKi576YPMjvQ88yWgfRtroAuAQUccwWQEG/xDYsfCgeFoZkKsv0Ycy+g0SGygCoN5GFWrWPHP5GTojBBhLCtNiYt6OhfvWi2VnnBL28U2WK9aJ8Ue+PzIk1mFbokKslh9MjLjP8QSzUOargphVsnfU/ybcodJsKBz4/azwrrsRvdrT6hQVRTnb9hZ3KmkCNZ0VDSt9dhk8R0CYQapO6x63Ma7p1GOlrhy73jX87MRtLeHMv9z+oVFiF9Xu7ZBdLcDeUg4HjgUMmC+WhrPnQosYheBjbLDuw99EGfDI4aF9eRMrdf806aXdNa9Y/VyCeC95l//8vtJHMTBPOpi87WPp0mCgg0xMqlWNdnaSDYaeq3EXkOMCnbUGblzRzM+TTK7/hVNzE5Ecr0QevOvSeLAAtSERTdr35s7DH+a2oAG8k9bGzIX2p5FhvASzLUstTik7v3Q/JrR7yNemKUG3NKQqeQli5x61rm/YCz3T0+YqD70uYdTVjqU63ruccoQcyRLq48J5/ilxhxniTEG9zoeEqq4YvqGZVYlI7oQ2yDlggpMpIJWksuWbhDSx3Ckkds8Yjz8bErmqXDxH+TI8o8AD9GU8oHcK3LLDFE5iJlIQZZe7Re3agwc0HJ3gW3mKnHdNwLSC2BvfP5y1CsvkVtSamu9zncqHDtOPOoT6tLYgzNJrk8YN6ZEVgTsuGLycENtWne80G/6VYwE+JfHe+pGZTRgndAw7lFXvCHNfZgTFb0B/f8XiLdM8hJ9PMhPybj9Wg1hJ7GEDOHkaLcDefBrY4VGTruRtG+cyHjzKaZzoMjWu+eYJThMmu5tvnbb6W4SIyAC8FFwbXKOudL/QqoFlanJKJvhgfn5Aae/34FDlHOmZD6uRCNKFkhI5Gh6WIDV/eNbI3Tp3ci2IiNHRS6HOeMvsHLVRpAwfZgHe2tQ1ufrblaGUEyxJtrveHQGXO2Z/hcJJZBxsGCHDnIMsltDCgq8LualfGYnj6lnGeDEUC/QroJGWpCBoVOd6cMeGzL/OvgqG7SPXDHSwFD85sCDmdE0DQCVMboZKeepC8lmGFPDLlolT8So+IGcTDN2E9WDpm2xnzUko0CNwfPLEar+p3cJvtZnklsejaKV8YV1mm6912jOZjG1qh0YvlMktE+S44AShHueO2EByWvPaHvjXhRz9NM45gJsNlFcJlz4JxBbUojGAbXU2+uMHms3GOvPGm3RFwDo2Oo6xn/OYDjoAWchtJQRp68YZd6b/tBvGPfeUei3BeglysTAqFy2UoHTPUowFZoZVRmhMfxrkOWcUCWVlN8P5IgFo/e51il6oB3FMjscW9bU/8RcMZc+ZyoLYh2VByXMlK6avMF5/olp0eZCxKjiE+5CtKOe8I4qlmTI9XwrekT+DfFx305sTFbcNh6wfshfsy/RxVaxNiIzG4zoYA72emNdGwu4b+5uG/T8bizKO5KBA8XJ5xKMogTJHCKxtYk7YMcUO+wH+4LGOXUaXDOJZ8AQClbqLyNcIi0zphHmv3CF7P5oHrCc4w5ue4h7p51+G8GywdTUGwbHTLmFqli80sZgSUuvRp3lDyltZTiRk5qnXcTR6QjLJmlFsk6Z0H4JneEaHA6c8Zyk6T9+HB7toldjfArHq3z754go2e01J55gTqpM+Qunt/4nahgNTotHauWmbD1o05lGgjFQV27B+NoilrsCEC62X1g3y3EMhEBy76iMWOBpyjxbyrc+3RtqzW+4lYDwf2Z/rcml/Omi7DYy/l4Ghb8kRF1fs1T+ivCUbGlS3bEgm4XRLVn/Arxv1vY70L1vDMHBXdc4Iq6vhrRDyh0/BBtJfE1C2AuJkAuoKjOs2/cZoRcxy7Qp/LAiXpoWgn/WMNo4ggOaPWruxmqvLgpb0x/k9TdbcwQmzOG9g2L4GvQZSI7eaZbByBDDOX1PkEGF+BEvNASYcvhhwOP3mx4OPjwfscf9hQ2sbBma3Y+azQ36hsg82S91+K3kGEfVOESRmb0GRijBreJdZj1Uc4ExZaKGRt58l0LnLKMSz7d8EZwjGKOy94x1XRdZAO1eKhRhD6Po9ZrlbA8qnDY/NzDP8wLOx6XopC3mjT0p6W04nSxEyJFHdtta6MdlonDet86DtOnGuntR49gY/seoEwW7x/rxT4XkAJ7NKGGiYoAo39kDOTfET2XBcop2JWdY9c+pbchkMKI43745m5KInqvVf1a5l5I/Jx2ClldeRUR7dvwVP5fT0vMinV03oxaLhV0L11cMU2uAr7ne8y5/LqfnEo4FGRz13OwPjvJEuoxV1pZz/tHT+SRkk6qW3/FP/fiUgIdyrCLevpt+/b5mV2rnSywWl3wvcrltMEbW+476sg1sHhJE1bBBer3f6SRGjwQmP6Z7j6nRvzJAO3l1GaiQeWMqN9oKmTIP6t50s3Pj35jSxAXfHMfcuZj0Ws/jfM36pX74u1scBzVNGlGHWBo3JqNvL21HdfmdVvkfZ8dQFYu+EK/fG9p05iYhE0Hv3FlF8kGF72R78YT0s7dc2xVw5k8D2mRKdz5dUSsEg1Gx/g6lM1Cd1U9fJ6ExzNuHCX21QYdZlQMV7ymjJquUsxyEpnXrikK0eBtiN9nL5uEiKn3wJ2wvqAvd3N4Sruk3TG++ZzAmgahnZ8wi/0z1iAAEZuiw5myh3EsYUNenw2RSLNrBtQ9x7G3yjwrFzcneSIdVIR06AdoqkhE98g+eVaemjI28BxKJyFWmNK+aY7VYg1b2f2j9aw3yRc5j2cTVTFH7XU4pKLkQN0GtxxWOTsKkOIeL9eZPcDBvX3tieFA4ZCGDLlNfX0wVBgBdp0J8xpOJAXTpnpqtawINPW6vWIxppGy9VFWbW9Z9X3YVcmAHQ602RCkWPFsKauuWVBZJnUokg0hOkdbuHHjk/cS6ti/yIotaigW50A6S4GnXFQXjsNXmeCQ4dT3amoL0gZL/gjemdfIVmRjBKz8+jhLZ8r3tMRZvoTDRqXIs1RFTdNqka28W8iamv899haEz7No0pB/BVEEMQYybuu1wkY+/Tz9ccA2nym1IqaUyeBJ6xGJm1RKgUQyfm0I5iBfRuyqy89suU1wb8w2EDf95Xb8mBaXk1xiuRni00mDPDpCZkTElZFKEv5UoOUfO5Swza4Rk8WLLm3+03nZvGjq1tXrHY/ilC/kaEqPdkL5BCTJy+d1HYyOp9b/CVqeajcskPvNFFy2P4WreeGFDXcLBbvhrrIGKUljMr64hAW6izLTWiF4EhR5egca5H5GffJwWPPn38722H2aFFlJrPqWsYiKUP+kCD4eOjD90NJIz3BkmmMs7g4yhAHenQdrhiAIgPFkgOJlaHMs5lzJAPwAyklQ+BNTVMF1zJYinTyHyyo4rAmJeh8ULE8co9VBGRsktXuEcLnj0JTnHcXwGtdP54xVy/KBhM3llycxpDOZeWRhWuaAaRb3nRfAZamSt+nE8OdOEMKysX9UfYX3/byAUJsQI9nDXdzt09T9/iYvGc99ibZb3hgZK0Mq7Y6YC8Wjhsy9OhCt5XufQ/86HgBBZ1SzR104YfOZ8vTb2YUdCe4U85cVrseo9grCre+wRKuUq6ahh4hFGmPm//ob2dePxtpJY5uZHtTTDCGlhA5c/qv5vXPx23qsJ7qkDYBvzquTMOlnrD5IT9G/vyKmO5kXgCEZydBq4fwyjfL/nNQTHeVNp0FfCYQvFIPF9Dd1zgbDDA/KzcleBFtNlva9cpr3bUCjcxwXJpKsdoSaPCEDhPXLQC6tq07sQF+b7k4IvYxUYDqZGQ9P8juKtga1v/c0+FPwBmUnI6SpVzkHPt5ZnhYOt1iyPplVlfwhL1nGnQhc82MrFD16XOxIPQajTt02paeAlWoA6jkrDDTEYjqnnXltsCbbPCkaMW8PGPEKBvZxgHJJPonqnaTjIwi5IL/upjg9RJJBLOGKqwm8lNxBlSS1uo7xubD5OBqNzt1p8Gb6H4iF2oYVTm9ZrBMz0yVbq/3GJ7ROOGe9zIvIQGtoMhEF9jPCH03nYNaPttClIwUphsey9AfQvKe+do39N8D+3cdu26kRHcOFNfxugvxlk57eQ73bYjs2sf+BPsMcqM0KqMuJklqs1Vp7dC7go9T8oSG9pppYXD5lnylGTcZD38tM967h2GqwATGrnTLTS0+F8XNL3qZ2JLkYkeOy+KReo1C2dqPjNhSjHYYpAuwrb8pSR63jpwgvaPGi/JCj04RaP1FQutniTT8OkOJVS2pGLMTLyH4uITBCtPZ4CMfTlHEhbA/bQPW0te0vTIZBE/RaEqQEOju3+6//0sHrW7JMDEkuXQ+25sCsSolsX+jDxSMx5hZfakU5Rcw316RylXUgSXW6HiSb1RnzfqMQah0QJ6O0zxg4QkYipWPBpNJrVXYfqapM7ZfFyOyNGOJqXb5V6EQYGmR3KlomdRB9XjFQmUKT5TLPQlCkFS4xDlxMsAgOiGSGY8s+yUT6x2fCjVIDHR05FTC8fKH1FT96zF33EhlP25x0HcONhmQX/eJYJrows/lvrTbyD8uLFcmkG69JUPfIccUwt6ptpuqY4ho5AQJP0L+E95VktsmRCvaQzxCjUvAar37D7LjAnWnZC3MBhXh7Pv5RjEzZF6S2iRZkMjnQsEJf7xBddSqo/dQXqPoJ6lB5pzYh7LJTn/c33Kaze4VjQ3wwjwSkbEKkcLSnX5j+uovoOhmdnRFvwZUWd6RmKomuf3PKCo0mkIjhi9a+CgRGc18uDx7RGbbjltlvYlfMLNnHk2dswMDh+hVAXnByJ/bDz7GhOcvOiH4cIfq+kBm0CruMhykjrXu80VH5/6/avNBl9VZfBeGh+PmP/3DvV578Ery63qtOLE1Rb/MqQgZJm1expKVo4WsZWQ8Mt5MMwVAt7IEaJ2+UpL6oWGbcaYePtvnc2CT668CZHY/PSJBg4oTJcjA+SMzosIkq/ifyTRVGiVjHfge4FS0r3LKxip5JNFU6mi4xiFcNfIPD47yUoIeqjEfGsgLzL678IOVGBWNI4CnJuqhDC6UBYvBS7F4uoFrfa+TMbEY6iCKanXV9Sl4qmZ/0HyzTdf0ZkBdiL9UXRS9zXKl426q3XPSHPBtt2kvyyF/BZxV3r8ua6jsL38XHxLonq9QB1sOmJDDsEFqfwWL3GK1GBmzDOWcz3On9R12rVQKtYRUfhtq3Scq6vTaeu9p4S/wQtMMmpraLTkYMgsDYxkXXvvfEcfw6DeyVDbOnW5ret53az4sURUXdEGR3x72XV5W5uMgSWGk2xSpr3yCgPsEuS5sAKFKOUBt/rwsfslwjjpwEtIPKqKO/tUukqxmcNZ82DegorMYBW6/fjX/o1znvejb1wPpja6Guj3PiAMh3A2KO3m52iP+zCWOjWUh2WJWKXyyRIv61Pg5TJcGbNwREnyur/rAGgdCseEulLp7zoRaWsWvt2acMUXvWFgBqnptrrTEjH3fFVs7HlJkq4MwaqirBOMRamxndCDbPhFGoqdlknyRqcmRbdbNtYVqU/APrC/JTIwZ1I8JE2XdMLqsnxIrZpQFOcIUNCbhMfiy/6OCtaSJpT5r6IzpQto926XtKqzsJlxyC1zQer0erR396OhQuwcV+muIMMSbq7D4Mj+ROma8nWRL29WNkarXDuqjEQMEkG00jEfBA2GH4b2AF00WXKNljuQeJyJenj2M74F7JWH2ertabxLqehAlwXSb4BGSazj+tSKjirGSdFq33klKYutTKcrv3vTnwd2DUFpSpn975grk11+h5VAf2e9aj46KbBAdvy4auhR4+1KzimCIDAJ2j84QmJtqHcQqyWurVrrvsQRbJ1OpXbn+0deJuEW7NhpiwrQs6NebmSODYo92QLS4OvLnydNuzPeJB9hQWRL3xOwKuCIYRkPUfxIv01gLTKdENuzNp57cto4/9LYQ6ReqVT4MmD9M87MP0e1sPknt82t64Yypue8oPbrUXsoldWA0pPrSvoccwPERf1ADK9frN1ejDxDx17hsPfxHnzW+gUd/uoGSWRtX3AH3btQ7+FNuEJqcAg4Z3J6bwMSO8vYDNwZsVvsRa0Gw5axUFDrS5ZyZgx9yUslYtf00GXVhDG7S/j4f1IKpyavnEn0uTXF//jZiESG+q0cGHEaRGmyLrVR6E/Sk5RXGP2KZGtjVf2KcU1VX8lJJD+2WQomE2Y8uxzrq9iiKlBLScHn6VGxUEszTv9399sObyypwiRQXUfuo8Xsx0cheT7QVQRJzmZttU4W3z+7olOAJPn+Q1MM+4wKY/qlvpkCC0KceZ3CeeDA0yzDyroov2+PyKMpTgzGO3IQhM8ZE/rHGY04srZxVpPaydpxFzd5n1cUSlK1lOGBXZQ6FdaXgEj2NKVAWzyL36rYp4jmtJQ0Ft/i3NMfddUQ+UnXQRGm2K/DVEkwfml568UQJbWF2x1SiA5OZloN17NTOVGEzplxf6ntgbDi1QjxVrsk2+AWWt8RWaZVfMEJtfFGBle7zVjCVARE2ViesDEmCile/CfvlVWAnq78zlmObLSpDojLKZIaX2qHKuSHrIErUWVaa73vR0W3aOiIIgyvyinPdwcIfc2E4sr3nlx+KknU+qECct72MNTMKnaCNdqXg7Gz3ctC5ONNjPyPigt9/sv8L8nucjnYCictniSNo4ITxQ7eCIU7wh/4Er+bk6mQdTE+9q50MqC8tktzrMub0K7nepMr/mj83ttgxU4gg+nAs04ZlWsmUnGJfPwKPfkLOYNu73ke+gV+G1gc87QnvoiK6FHT+us5AlJMNH2dk7iN0qvobqtHcmZkedrdIE/UsQOf1fo8g8B9BsHCkjha9r5MqNbkJJBKNB4rtizUGAHOyQYDQTGtB60L64np5BuXzo5+0npbxujrgw70kyrc+KxrCuRI/WElPRBiOCl5WYzSWbB7l+tpDDXhVwAoevmEv/HbtfC93CrzzD9Ndi4/ZG9Wml5xhHEQcdKYfONN1ijMe0IKeTYjI30ncNmwY1+UcjCv/6CsTivG0JCIFT+dQ1OGi2uXpPdZeW5wERoLtM5DwHupyyvkqZv42wOPrPk4hFUWSiSpaj28Kzv2mardsa0wCNqfaQWBicHKsg5sQFzT/RwmRJpuFYehhiV/dcqPqUskwLpAjw/CcV/994r8IkPTdOQ9BlCQUnZjU/wwRsFf1/jpVJmZBdltPSthQ67/O6qNeDeVYRTKMVq9mvgrd99aBFRVVR4U1BbvC2j3JXaHOGjhZ+72ZHrFGSTCZqy+F3tjcfo3UFV7mjvqNm11g4UF7oBf2+ZnPIol8jq83I+60e1V5ZSCMX6i+CRoDx+7ltpvMi78dY5IFSQZ66WrmnxMRJ58o36pZT78DETxaJ1n+HlHL26cPBClOpJwfiDZLeAZxaLorzbBN4bmkB9zTIqMuZEVYqL2oMc+CSoGl8ngY+hd5d4AUe7uHwWP/EBcTgBloHqTO41YUVA7sR/1pHU8K+X0yJAfI1zwu3njSQOVvNis6Fddu/LgEkaBw627I2jO+1eZPkopXfITVU0Xx12S1a1sZ7V58w5aJhwRf2gvF++X5B+F739xI4rHRaaG2sUo7IWAufZdh1k2w20l0sAG6omIjT1nOC4X3hu7XwzQATzktYAfRWrqwtYN3Lie49+seZMC73LnAyVD5hk4M/7tlRJZVJuerltDlk7N7gAPH8a9/78MzYh1K02hFmEjtmNeMCt3tK2/tR1/ZKmDSMeIRgy6oxV0EFtwdQvU+6DjRXTAaTCqUgY1Rd33kkD9N591POd55/cq/SXp/lhvwvvtp+5mWUSVoULMqAp69R+Wm68awiTrhJOuITfRLpWrRWlqN3U8nwirErfgfPg8ZgigdWG+A9SkUVcAp735qEOZS41FIbSv+Z8wwQbE5GVsEp+SZaX3baVmFZ8bj2Im2E+9VkO5y/zjh+HqCevb3nFhmLlWjTjZwCD8xR8KPjlUo3yS12u0Uqr+/ioWJBaosmSlEv43FNmJTe66XNPXD9MnSV8vkdBTr7MfGSS9o2ShlMcUEER1AWKfLtO6Fp9sa+Pt4kzn8qdUcCZ4/b2cdtDqQLYS+aizXkwQmAM3E5ptzTQ00Vr8NoJLBxD62RZqcRvALAp/eLrPLEKUraBeqaNOnQwaiBhCu4ZVkKxuonrY/zmEKtL3mKb43gVq7w+FMFw5FUlgGgEF6nGln2kcF56kDxjwqd6YbH/3Zp78OWliXHqjGVWEpIrS7YD8vlpv9qzWt66pxmuKgTfKRjtH1jqIXx2XuT/n+tF0PGJtbQKnBZ2lWiu/9IShpgyhDUrP25ZUNpnFZpVwF6pwyVwfzloMGqeqNJRMh7xI3CGDhYWFmYxJTyzEyjcgmV9sHZYIb5b3/95OL53hQmqzLEW0m/HWOExV/ejJpKXOS670X/67aVrvhbRhQxImPv5aX+X3sPYEscPtqkX1++4eYtER9pWJqpKkCQfUXozarlTDOMPYjjexis8X3JQqZrrlSK/wZyaIS52/2RAzaZmGrWFTAXHIa1R4fFPtWfw9elw4WuMDQQMZsSvGBoOhpvBDs4V/NmijRPkkM17mNiTuSaf5jg+/lY8sqTcvVEihFuqVc/EWKUJ/TFNFTuO7lcfwQ9dnlW6xtVwsbT0LGy3KBPkzZzerNnlSx8RYzmvDuHDzuGyM4lD/WEne3yfpEpQ3ELVg7sLj9XTnmct88hdw4mTUqPVr2RrYiv2enHti8KglYMdh9an0TX9futAnETcnfT48dHJqkFxWf4BobSrnA13u5plqhwpU/3JeVqs596XnKB3k6lkhNlFGCPBEwMIUkkN6BBgsgkiDf1TGe+kwtawOd0aRcDoPty6h2FfkoWwQmNWVjJNXFwgHIZZqksdLLxx11MtQxGSBuuAzg+ujtIsigCzovJ/xaoZ8oISg2/9kJ0LgKT45joDVuxe52o4fV1TqUWRjL6K+A1XK7Z0qGMsBBWocLDHLcYxEDqs08/yD5xsa6AVSGbLKemOzTgaGY3Bi7swBsGTU/AWJjtSv+hRiM/wvgUtGhl+/S2Cebgv5ougapnqK1X7Gev64H3cRhXOm2CagnHJPlaOWUQOzBj++3Ub8Z4Qx+fvP/P4Wj/2gQWIKGXJNm7xPMCkma1OZI/ZqJTclSby2/SFbzVvQKMKhKbR/yhdBP3PoA0bAjohPa+ijWjc819Ax1dRHm64d8uhhCH4i119HVP8t7kHxnojPqyBGXSq8sACrMfTxUEzOc8ZDA3kHsxItrtyMNus24SGS4qdau0JfmyazwDa9vMicEP0OEpK/q7YYd+2+yuHJaguM7uOy1O7+HeVYb/0SW/fm2NE+XFUuf3sY26FXBXYXD8tKHAU+gxpZA/aSfYs4vBN91A2Ht9vdSZDxnIseM7KeAMpCxA7+RmoyqXPJuNVv3TznrYbhXRABoqXhvLs6/tLbCS5Jf0y9EtrfZLePM35UVeGHzITIUP/ln9t1Fk+McXOVBHCCZscdbk6zeClxfP73heF2YR0GaDElftjbmi3OTTZAf2qTbzW0LeI6Ev0AseylfsviRAJB8Rw7am4Qaf3n00QNQbzLXTotOpz2Z8035flazzu06tMCQ7/r3BYAd3VOBKvSJTLjOb271UlDA6gFKRRbZm99NJl6fqNeQ5q/Mt0XvBwNiHt0kpfZcOX2WhfxAUoaQcd2tZB2+9Z6HdfpoR+/3xzN93YsYVDb/Rk7ibQibqTYMkTQdL19J9UnexiehezPRdTJ8wVpBktyTI/v7RtGo9uu2bNBIVkf+0+1V7AktAG0BqWHDtfLa+pfRW8OGOe7gWZZz/dmSFix9b6eIG3gUt5L0V5U1VqDTKN5lZ1K+JKTllX2z4GnYlJ8q1jUc4WBg4tb64NukYiAlR8eSJ4gvs717R/HLtpTw8Lm4n2F1S6oe3HF+qmv3NPbZTZROiOC+jzj+wUpbFUID+07GIc6sKKWD6sZy6Sq9yvfG1EbAn26y1qz6+yqRkbK2eRPdaggNNQiI7o6ECTQkJ+QDRoLSB2g0wAO/NMcet+NshAQnC6endsrV2qrDxrfk1Hk6JipSH7Uzvjsfdhn6l2S7lITL0fzUJze7PQhL5rrwhNdaVt+QqMQ9qNSFl8QTljKwpq6xLPRTZhZMNnxdTl9cl33YG227MRBzpilr5V04O4xx0ADYsTHm+a89wvjxhP+0mO2vFwQ3dgvEJtwxvoGwJ5+LK7mdtBfNFv7bBFApYI556czvjFrxf1BSGOV6UTtpGUYJBq7vaKu5vLD3H+qotrDwhkxiwNK1Hx9NptD183UFaJiOHZK/YHjWxwyg+aZ46Cznblk/XH3bBaUfL1875SUeUk1cUz/G0QMB4IILAyidbVQCnMfr6rBVkBvFMwXmxtvfkZRIzA06Lg+yBMS3h0TvI54eGFremszvCH+gSHUDppJpnuZFtIFknhMrKBp8QIv5dgFwtcDNdSR1dv7rDmZrc0lsFMWT7oQMSN7/ImUI/6jVHsoZGyqEmi9yKwZWspI5WBa9mewkdyaWSNx+JCdiJT4ay7lir6DwCQJCAzrhtiYVj1Cw5//F0FUWKP/9JB3BBvl5WdQma/KzyK+dMDuV133Tt6nTPYt3/UqtewCxrvpb0VA2ROAl+t5ezZl73OeoR4abI6EWvQTvmUyhrEbukYQk93hHubYeA46qGl/svd+2ZsxkeNLHKh9lI1aw0t6rbUdu/qwh073zjCUqyy5HPZQjiC1WjPMcxrkoB/0Qur/RhBPr5J1HAUCTuWz5WaCzZEq63XL/W6kZZW5h6JFVrixZgTAuYMvk+rOb2IMWQaEbO6Kl5GJ6DdoCB/ahLY72jdhOOLblwurlNdekCT3NcUNGMtykgFHkpw+FndNM2KKeP1BmOnZZRFcfX9ooNlg1aywCuWBXkTZtSX9ZkMLD3LBGjWTE+Vj4cv62k5/xX3eFa/DeWOHrTmep8Sbgz/9W/J+UlurRDpGescmP8zGZ3WbxYlF9MZiwrLsJcsVuM17Ify0NO/28Kq00Hn3RZKMB3jJSb9zjm4eYUASgWMOiDJnZCXXZeO+pwbEHJJ9HP/VpNVSnmAxjL72OEkTZHLUOmEFlO1xT4lMeWyaJlZZMLo9ZW4UXrGbfjGaImETSTiCed+UXTQ2iyFT6tbHtBLufZ4zthfW30RoE8Uz0mapY9zxCNjl4LRo8+VRG6mg29Ga8u+QkMOgnxU3/CfYqAl0Nv2DSWOHvW5Pl4obT77OCqTipYG/eZ6N4vSOGgBR6e+ygCSTp+4Nvrs2P3GOI5+GJkq4tz8L+v0QCBvJmXlhkYz2RLnYo1JRDeHIaGau9+sG4yFM6jVJhbg9vg7IcNLIClQ79G5HjDuCFWcPiANYrnnPx7ZJhhpyRhtzxkpZD5VyTstnI9K3WnT0C7mI3XQEuryheHXp+2ViABjYQZQzrrQIvtjYShH3Uig1WWd2ZQ2TWCPrI5siRzFokbiEUaLb9uNOJbCi1zzFmjzc/en8yoFeuG9Hg7ZPGpYwXwShbDJIUaLaDFLrpVaLKq63Dy+/TnfuePyofvslKDsJ6gB2rJgbjD2SStUC39lGt3MqlRlneYequBdIbT+1WoVpQ0LsN1jxiu3VtrYsucX3z6ToYydZBNkliY71EuG5JdJ0g6QWnpQYbNmjvkkds5BUveEzIMu27bv/ZRhH79gt+XjHgL6zeKMfx3LpApfYanidMj7EDwGQI/IjJMSsLqFhLkU4sZ4r8KtecRXCxvF8Zbrl64TBYnUSOxIxve2q0gFflCRW7I42LTEfRO+PE1VgQaQ3TwUVqT97+/vsSFon/JZu4TA8yHUpcjAfmabaMm0+SZBq7s4sFpMOnHRXt2i+vmpFWcjz2lCfJAbvfeCPcYT/q7eYRdHEtdL2Ts6j9HH+xhrNweS8+ehUV7V4S4siNDCuHA1UhIDTf/3up/sG6UhaiccWfN3zQNZo0j20y+RsqiTNggVWDbQfxo52PArXVOeNOlF7hi9MFJJMRshhpyxMdhSXixGeH1YNMEm6E9hWlGNCTOCn8VJCmL+67ntPHZBRRrG9OB1JLKc2S6+2SNK+M7niLxeYiXhi0ZJY9ydN2RZUhoQWjOOVAPR4YWRIJkaPgtynzSiISaRwlB4D7mzxieNnJ7DDvoB77tmTz4lXWR3gEIO/vgbRmvfs6aroNBq2n8mZTzWSJhwSTBZD6vUwo0iP6G1WBM0zWdTLbN7Pmbl59/iQJdqXHCCAYUKAcZukzkyPe5wUGWYFMROH5p+67vZfmBQUIkN+XvfbRwJjc+2HkBA/8hGXa8NXUSCILRWPTkHalgkKTy5bybFafawQwsddLMmFQD0b9tkGWiZ0d8Cr25UfLiEdF4accjhofJo5KUcjfcyHyujjGKD8OMJjH8WUbz8YKkRfKIKFfZuOfQSR7J8m6iCczXieleFbHMM+yUxqlr3bGenzPfLAo5RB/Tkw6tMmzD9lngiiFHjVlWnqyEoIbkgswWNIp4xyrS88I0817DwijSKALnERtydxVnmTMuHCqe6nfezwr8wiacv+aQldz01kYTcWRECDw3n0xL48oZLVcbskYWYQRr8KfDyTSaBZewYWSBZFyzU6Iv6b0c7VNVHL4CpfdWDYB+ZBH/Yyk/2ml0YEYxCB9pZXRKyp0AvxJPBZaH+9OzgGwsaahH6wX1w4lMhhGO+HTNkqItFEDW58wpxogMDADI33alHetqJvlc0ySmN0xRDjTQK9hTBM27QkNsoXVeEOPF5a7KoJlEuuR8Tpbz5BRew5NUJRBnUZrBLBVz1KkC1qPcear1Zpcud+jaljArnjwbLedhUPlku5BuaB+1krFPtb1eFNqn1XOtgpXZqAptkPHFOlizuMX3X1pJIE96dU4v0lXub1eUcVfZYY2DxFIUkjx1Q6VgdssgO2PVr2fS1+BDvl4I/b7ZTdXDoyMwYAAJErLoXUh6Aj5tediHeBeIqUhQGViBqkjMRkyWTXMYJ4itVJ3M1xoZM7LoKn0qpjmFuroJU0jh8SjGPGjPaUMk1c9wPz/zV0EJcUtZPahxHe/2YZteN7ZUgViFlWZmBLU4dij920l2iZAxQuzW4VDyPHsgP/xRoG8CgTIe6zoHWINGsS68NO609sTwzGhWC9M6to77THci/uy9h9Tl+Ye019EI3IzYQ/k0vu1Gqa0l4rVQTCYlOxM+AsOAe3cUDklkZpmOMLem8tjj8shEGthON26/p3HisN0q0tDmZhgEPHR5y3RNfh6IKLh43COUMlJPJomsrQo7bJ/WR2wyxfSdCoIefq30IvZzqVRxDo2MlDXtHje6byhOCgKcGHCNXW5XkoVirAZFqEN7nMHWAC+tsHFXWTq0rugtuoZ9akrDJIEfYWq5SzHQ/KAUyLUre2VqZytn/y+L2jeoRx+pwSp41Gj+lT8q4Ks3+IcSwFKPrQ42MgfF+PBIQDZqyutk29I0lsNWGIG2LAgcnE84KKM/KvnTa4Ut+cF712Ih0tYzZFqkXDbEv2kx1JgpPmkS158zSaekLFBI4y42gQQB4DpzraE1iA89pwydjKLbVqZAybahoCd0k98vCXzsGz2b6q+gOuBlP+uyEz3OlDr4krdyZGhGRrneHio1qaP3H4QOxHLpq7+IscexHeD0C/jHgmlKOlHhsjZv2HECudZh8bljJugAO2+/D6GBQ1zVUQa39ZeXNRy1DLem7Wm+QoUlzeI9CZg3EIJbn1ytef8C5uH8m5ae0Ua0ZgdIPQnX6iXA7/4UG2JYeBlnlbiy9N4zQwE3bjUrSzKxOOgmwgTR3VM4jwGZvCaPVjqNoPEB3BhI/iemiCRWT6JlWBdLgC3RHDl494Jtk8MoTq1OYzDBfd7X8aThlE+N3vwxBURrWm/+IYxQMx3eLW39BMofEny88xVhFZErUVdLX2Zke/sPY5lAt0fLc9aWKU4yLoHhio4NPWD2tzi0Am74M18+EmFYFXRPXgU8EvlWfrgpZ59ccbunqAPSkLBbshW71k9DTexJLxZPEdYlh7GQQIwofKeD5L4jTdp3dQyVL2lO5qm8h+NR5R8wBQxshxqjCaZBEzXEGbR+YuVIsaig8Izrqbfr45IDW67vMQjK/JocofWb9wX2M35Aro/OYS4Vqg1XANckdUCH3H3CbgSXtDzGVMGIdjJwqCqizklbT3nX2dH+SuY/s49AOjlg7iLHES25e6hniBgVE7i3Axw7wW2A7MiX6vvwmxq/mMd2ykqZreD6Dt51NwlsEZNhflvXOIGpySR/3sK2jpSKTSVg7lM0u0A3THn337GW6cgBM4SS7gmtGGRbNPz4tV/3OPqumOcGhl/UxXfd8Qyc0/Sc4OxKTsCG4HGCdEx1tOsBFTbRsmGmbzT/+kP9SerEl7Sb/Xf1UeOXbdnMZwZ8QhAhc5vvgapsujdJthEYR7/svhUQGMiQlVu5GsL4MRXMTEuw2XsIli/BOGbuAkOw7gswMFGA6qn0BJ0iRNbZ8OSN693zHg1JgBk7G5cD1j7BBNNaoQRMbI3lcRxbjfadJrxklHyLKYD/XpfY6nMiLQ9AmW4m5PuHXb8v0vKUHcYGWTBIa8DBjL8zsPlqiBAUYyR0aZaIKPtUxq1N7bf4O8Dpmm1sJbJBwewQ57nk0t5JM4nqeFBQft7EuN++aAB0zcXPNtKOK/mmlBgcIOeK3R32R9cFmByyj9na6ye1DHdlXSYaOAm61ZW6Q8wk/9/lusBqmvVaGLf0Hgwy7mAtC7Di6XsOVU3ybQI4KzXi3hWH/Zo2UClC/1CnWyy6IRcMgCNxi1uiBj3U6XTH2BnQZpQiWJuEYjSW8K8QHlVBNzO+3I3fveYeItzlzZQrLQgjO8rr/c1xMDiWae78lFT6lTh7LFRMQkc0B6d4teDIARgozENmKyvByZtusa9j/1Or46uKHwc3GrRlASJ2K+5SwTI0Czgv4t9CggJZCQK4ZgJzlPfALB1aIR7NzuhCv9wHzhqNaImScy/asH0WfOwZbTc462DtFwtFIzYI96mVGn1jf+vvs9Env1W3/MWSk9GnxzuyI7f81/LxXyKbOd3vDAn/Z+L9KliKLWn0zFWrI5SRbKvA3N4t+aARIbvSeBqOBHxBsd5StZpI66qP2Nize40+1q3MtNcuwh1XXiV1CM/mGJelhZ/K2MHBXPa02noQ8FI6afTkShUGJlXzClhOe2AAAvq1BpRqTeNLDgFPY6nyxQkihNnq8eJBe5t2+CVW6xvTT6LkV4ItZs6/5BKNprqwOVcDOGvH71bhQDopXudeVRuRMiDKXXJVmdq/i4/nP/BgFZk+anjGP3xd3Nk/jUWX7RmXEJ2rJat9AbMR76ex6NmbmCrT7e6W0tgAoOOPvpgWhBxygl8vS+oRwAMMivMIUOMlU/TYeu5Ar2PXnlI+Hr2ciRnNghI5fJTdPcuvDPZj8k8MMEwgtfeihI8ESiCRCYi4ePkgqiLWv7dc65KpsGDsHzEk7ucMmLos8Sq4mgjNWJ8UP9Uq9kRpjAXthsd8GA92HZFbkt9P5Q5FdpIecnUVpCw8EBZV2zyAqCGaeakRKu1uu+KSnr3or2BV/FkQS+6cYmrdgBBYEXtlfdoUNLTtwWK3SrZwPSFB8sP9R80s3g0QR701pBs/e00GaMm9py06QNeBXI7BognBbknAcAS5HBJD3hQ99ArQ+zQ7R4dFvudGJRhAS6FSLv5ilwjiCaVr2FI6se+zjazQWq3SxTDFDo9iwSMea36hDY6XDM014gVYcqUlR0cnc+SIjDc5tvG4RoRJE5ln87T1UXDdLArcviF7tbJYQWzrNgHgqWtIj856wrWl8QAAs/KlW9qhP7BwR+WEBaN2tFSryCthcfwwnxEPUCkNIweL7dgayAoRWPyrKm+p9pBcvmCmXK+sF98W3A0HCZrX/Iz8n33DPMIqQBo62F7N2515sVB1Lhz2FmcgrPgaGY98CYnEYfVoOLMvzjsERtUhaIZjtFPd9LA7XUEnwsuiCy7jTLV6J90GPYoDQrI+ZdH/6T3UfLwZvSjlan7yRfccnQVUr2QjuTDOXXBPaaemVRhG29iJYE2y6CY9MqWanETiohCwgG5eGG+0K9O3wW5yAodzFI0q/KyNEWVBtF8KAI9rdiTkvEyplV7tjAnMGFjl57BU3O78andMuTY7zL/9y0PIhr6myrNW+90WF64iXBQ3nPwIDguswfB0Cu/yq3VifLgc5t0lkIQ9yuLTThaWnN0HqL43cH24INRFXzSwBWxxNwWpoUuAxakWYgZ9U3uDJDQdGOoEXjnQtO2NVwa2qOFUNeEIX691tkBGtkNUYe8wlCaf66hZJORQE0sYlcoJMY4yQhz4wSKLdHpoYkA+TM4nYQJ3sH0bI2zOqEXowKp/3KMP+cZwO2J1OjMFY4/bzWziEvd5Os/OZjmpa+N3pmbO/Bq/V9frQx2tSdMDyN9V54ELNE4E12Wc5ixUNPGa/eaB7+ntadWUUPlicepJh68FP2lvEdC2k8NjOGBULFdCd6tl6AwbQEE4rfAws5QkpwvViDxdykWjacLS/QtwLucznHEdSqpTQ/wW/ETzllXLRtZIaMQYh0oy1YxbieDZWz5kFT2T8tAyJWP987/Upvr9uL+KHh0baqC5pmoMW8Bv3RXvDbZsPWNw04qY/MHOxVG0SE9i4B9QMCvLshO+HvJxc9Ph4o0efVNCvL47ZIWno6kFXqKtbil3qNTEa9RyyzElw/PJyrVJpgfdndvvSx9iy1qWvAS1T2YrefQkX4KuUy1XshdAv/8UtecVaXvARjVTJ6R4xykqs6+9SzaJUPuT+Ne/Ij3/8Qqy55ZQ0jBTpYtzMXvMDCdztVHXzZWOeskHn+PVSsu3CtP6ZSxxeqsUFuJRLLDkajDJTJOU/l8Ma3NahFTY69JRiLaFyEtl3Tby81FNNSfV3W1P5VjAwqCKKJcrIvmA1pY8gOe6xw8qDdNOWVgKrJ9Oc/vLLl6KwJRBjYw/2WICtxSFz9WaXxZzYkg8pPWKfjPjvrPhVhwz0/miE6OeOjaYPq74ki8ZKvaVNxXfTQEWGF8oqWz7T5hBz/4/PmEWD6DI80k3Zj4/WqOpG4vm54Id85tuUI5z83hIT9MkC5jhY29e+2nC/OxIoVNlFzlbVYtSGF9vr5ncNeSS+QTEUis4eR6vcpiyqUvqOg1rkqFwnBMRYpMlNpca4l/uuaFAIhPTd6fBA0y0ffxXicJdcgMB4OQpQV9p85YrfP7iE+jaqnxYJ0Nmz5g+jD6AAUcCVRWyCb4cdhhnm6F/u+FwjAgWPNk8XVBsXLFzl6sdykbNyTS6NgHzm2JVxxjjVfXHdVsCO3fInrtHmZWtUbDrdutLRoCLDlaIfiR2VE1gkEzxKruVThdKLtUUN/4CqLUD/CCHjallWak7onOumMoOYev5rDLyW0rvBH5/scNYJRZH7O+OZVUZ+tZzVUz+ZTnH0fHYAPYtNCU3X/Qz/NiMsHbCShSeyuuXJXS5dxPV0Hd44uNTRolClA/s1m72YPq2ImdE/QkK7v0rqfnIglj8vzrhvFj3gKuqZaKKBM3L/ZodHzILUSfxVQh/n3r+nQQ+87jMgt7APG9EGU8P6GNE3NKnqY6xhQqf9Pb1YdYSkxSK5mjWPfbDhkk0jq55oZm22vu5e9YiyLMrbKMO653TrICjWt4toU2wdGPUQ9sMopYiJXgmGCA6n/Km+8G7edk+o26SJLuW6J4uzpnJWSvvs6gJ2tCcbmblRw+RwQvUh7v2023Y71oKAuKYjphxI+teZgYF3EPB7VlUvjk7Tcs+wgADi49+xGzw+1jdkE7amevXcnoTQQkoA5EaYj+cLIunxva4YZVgnlDe+npuJcFQ63p9SoDzuoYdhaf/Y7R4rCaJ/o4js2zJytgE/w6JU9AaP4nKEr7LEawb40NVvfZSxg1onhQDkuVVb8+T+AE2nblJSHlSh0hRKU6TDML/8W322UkgEocBzMzf3XKRvOQ+LJ+WCHLXCjEU16+UnFLh3MGOv2JUQ9lnU3zxUfVmeuLh31AQpovTfI9qRbpShStZLSUfxoxGb9Qf6E7a4EuWtm8i50d0pZjhcNhdJHde5YkwVhktyjg5GalfwUPEDcW7zzu7cr8UzZcTCEVgEL+L0gNbkau7pGWcPZWkMn1uuiXVXyufKOpoV5sGnG1i8OE3daG+fwAnWfyVZ1Fegwy2yuhOuWBoyVn8fZ1cq5SkFUFYAK2O84a3pw1PTO+WPtIbqQDeZ5jfuXMbnda32+zmojVsZBJ4gA5m2QRYBXomW5F0X/Lq4Gl4DlMYVyOR6euoVVPWp5Jsa4sTioDofF8+inOfY1fOWYqzh/ZH1Bll9IT24Xd+92jGIvUBUgVdZ4NAb7YDQq8HVPCnkZpDd15cyeemy8smoh24+mRiBy7XSyblxgaOOijqrDbAn+SpdbkO+Hy/7rD9M6Cv1gPmXDBJVVd8c0pI6bL54OFmTUC2CexX93NNl38Dyn3GNUuAoTiBWvwSyEmqHKAPKETSKnW6/KF1DL/yVBIXFSk5PI/WFGq2AaTbmo7pTwZEc9zrQjehsaZgaApNCIGJkcJci4VfrYCskAYwX502Pq0SdqCsXKnU9c9kHqJA4vhcfX1CRBBIwD5fvuKS00s5zU7Ax4MenbFn1ZaIqfP2z7IUKsT8RmhrQyW/sIl6iCbHGfTSh6AYyoSUeOEqK6coRBmxDutLOonDl2fvlj4bYoRVpFwh1c53gbRSxwwXEXLPEz8/hoSeQjJaX62qofTerCghdxn/1shOhx7NCEt9B40fUywJFEdIyDrUYgtcPuZwbL8Q1wS3RQw9Cg4AzWS/icQV00V+r/KHi0fxTgncsfNRSZMsML4FrZTjzSbSbk2e4sb6dNVhM0Mg3XHy7nY7GwN8fU8a1dxE1DMyyD2HLtgvpB123Y4AHZnm4f9vLyVvR2vTtj921CiCdwAGLTNvAJNs1AY5Cfdc8uOlGHFeuQb32ctO2VLbIUzeWS5o1KtAjmgYsFmUDBRoV6Cs51bP431Hkj8MgDH9PbORdSm+VHqSnoL1w9qWO2wVzBZ52u9QApjTQM7ZomvARD067Blcgh7F6fWrTaQCeZ2QcZm+cs/gowPejI4FSdtehw2behHiME/h41DeVp4pDEATu0H1YSwrLoIWFIasXgIgzU7KBbBlKobitRLBYp/vhZFCtlnylo5sbL23KnqLiihHMbTt/z/6X0an3Jqb6xUOtI79eXA8QwrArOEvQoVJlFwgwjtFySKg9wtAvj5x6v6Brnk+b5DR10ywMbghdvZfQO6KaYt6/Xe5VLTTspJgAUiJORBUym7mK74Oo6RyaIz9a9I8cPGlv/nqhNAu4cEp4MSXquJClmSYevIq9gR+OeXSKrhkkE9gjI8eHjo3rBOC19p7DiKnw6L1CzS8jEZ7+vcZDR97PSy6j67eZXACP/Tv+Xl1mqdnRbbLRjhaAg3A4QEGqkDVACoWesH3z7K3rIJF0TDn0HgQQ4aI3QyXFY4T/bTtXqfpGJdXN0+HRyg0T8ONuDZb3SPibDtpTkvFd+1en8GpqY/1drgjcnka/k6pri9ptl5SxTqD9pwld/2xC934GLI0f5/crNI2wQCAdMhsRESfzcvYsfvxGX1VAaevFPAqSdEW8/OJ0CKNMSP0Siv5T51TVlydEiKMahXCVznklXahPKMG9evFvjm1r3RkTUIH2CelqljARnlsw/e1avG+/WgUDu9wx5Kbt5Kvnm8VuFxjlHg5/0nXdIO7hQfgbfQPYc737C3YVE7twhDP5ndvTSrQEksJhl+igJv2fN/1ybi1Pg6Ew37o06PknnMONDKk2rbqMnOxKhiWjz+MczpBU5LNHfH29LdEiAJQi07X6eh3wcpGin7RWaVRfoH2OA99L/lx7GdVrjXHQto59lvLsUvPERlq4d40+HHZVRfKN2CIvxjTU5i7JRJYEmNMWoI6vq7D/oP0n5oSUZI5V3qAY/9AQznZaefA+XJ9e8GScRaMEMy1z3PvBQXb3na2w8Nk7fQCh/yHBIolKbi7T3vzHulkEVhoy2ZZEFcD+D5Z7nz37w9WzfnUD8KZ0qxh5TIFGhl7gpH46BfVCLqSPz0LnRqKY/tfs5dPq4t1z1/55eqhBKOk9fsGMvGa5jTOSIqpXPakmp7wqCOXVB8bzscAunky5Lttnoy1sF+TmDjTS54/4zlvX3+Ts9pdGRj6HZN+0293VQq1rqdrgnGDKQuNHC1VcGYQNP3upNLIVLQeV27TFcm8aeAwv9sMyh8tKKiBQCKzVdVlZDhoDUH5d6uqwHdeUY5XFI7u9HJLkbPclulvlL9Ula6Mkr/0oNA3eiRs96FitKr4FGuu8J9wpwOE2tEv67GoojMLg/8IqzSeX4m0pVkeGMpwjNumFp49JNkBhGn1J4CeCutIWFR/WVoGPE4Wxls4jlnieJeyNMCPO83y1oVWdrLtRgxr/46ENVO8eIbu/3MR7Y52EgAsaJ++WkYXoq8TpU5AXN0pCjIQU501dAefwENDfRDaSOpVilXvAp3qS1nFE70JyxVOGcm/qQo7tG05yl7N2PGYJLLXKMVKHIJsn//0Nt4utHp6bsG/PNUQqatqkCqNUEEKKmBI8SW9HK7DfoZ90ag/u96eGaInz1bnboNOUrjJgD79D5ZFVVcymfGzAA1fe+qxeE8U29k7zEdob8k+7YwNwM0miqaTRX8Ui5pS5yCW1axYX3m31Kqc8FsZIV2XtODrapL9xh0QJWgdR42W86+VGEbVO6n0ibR80Ox6MPmppp8ipDoANmkq89SBM18EPIu8S6uIiXpTC5Po2lOQVjoqEK89Sx2YDiBDvojXXfUWAosqueNSVeD7fw9A2A/aJOeUR0Vmc+rr/LnJoBt6jZ3bAWEZtTyTnIOdC4axoex+9NzAz7T/l4Ne6kRzc0ovhAJ7oTFDzawZHZRV6E9wT1Ex6P/ChQMx9BIWh/3OwgCVYoUxF3f7QEbm58yTW4dydtikyw2FphcLHE4GAjtvfkGE0E2RngFHeVj5ElwOGxOMI42P39u4LjILahPKPuWsk8kQWf1qjOUB/LfkrV3y62l/H883TM2aBnXjz5YX+BmfPC/D4AQiDkSsc7S9xHBV/PXcYA7uD174Rrv156Zvts3Q5PWFUYbfo49TlsDQ2Yi4mn7EW7LYDUy3snekpmpeB9vjW2VqZC0rywJJap9GWidO1dLYRRpTx07t4GGq3ttcBjySiHqUKYMQLfJEIFfVhj57DrfhxKauMYu64eBIjs+qBgl+xpXM027eleAC5+tJEFBwYZDbJHyt29CiBfq+FfXo0pWnzoGwOkHF+KTNJsQ49lUKdePtae+1NjvDYQIwmIpe5xeayLoyO2cbo/+Zcya/rXsrwu7TtSPvjvbtIu3OaGlaxrADgxUznnn7/LMv5ezV13iitONJjcPZRN82cQe5Rvv4lLmE7eU5zUNj6ocTMGkWpSufjc1OHrPH+CsUC5u8Cu/twVoDmTswBehK7jq/YRAtJMIYUMcYFMo+2RTAMnjLcPk7dTd66M0UQbbgSwie0fPy4Qn4j9nFOLEs4GOoBVn+axFxe+tlVaiytoMd7XNz0+qTEUxqswcKHAJeU8mt9/T7UUXvZvVBAmGI5luzvcYHJ2GEiGfSjt7Dar2k66UFEBlnPAz6zlQfAGpQ/6Y8vPs4/laFAs7U9/VVZRfzQRo5GoJNZNAuJCkA58+9gbVS5cWwKXAOS26dmD01biDjNHfO3pF9f2nikWJKvpurMWENfZICECh5EDBHoloV77b8bUL5bLfVOe9yOknsobE0Y/rVW4l16hZon7JL1+J6Uk998SP7tL/Tk2vKFSgxuFjexDbxE97UQ6P6TxdhaxEeqVV9OPr6DCcDopp52rN4tTamreqY/6b7LA7GlXLEuCqNGicIgi6u/yGl4Y66KMjQGyqNngwyqg+cLhoxWMsaH08pcvCnyhAsi11fK7IGVlQfshIOR86K+wiWugG2YrJ38M+NILnimiIVzNhNlQsPll+3Uub4yUqtBY8UnBv607GljzR24S9o8hQwjqJNa3HsEWkj+SmtPNUeWNWCPFHs4myh0gFT/M06A6rE1TPAaFITz85w+Iby4Wmy2v40KomR2SiwPsghQF7KxzCVhu5AjbOsn2LUBNo4XNvyS+3TsmtwJgXMNoqrxsIDnwJ8A33Bnr/Zo+SxkuSzpMSEW1KBq0pxT7178RTbeP7NU87XLJZ2H2alzGfDjF9K+PKaa8eHg1iyTaz24eqidSgkooJC7YydfMBsCxSR3g07BJH7YSiSQ9pEoRWDPYQpLfVYa8f3Beaq5Age91p0HSUSj3ewTv1lpZXWMPO0u1GUGztujoWgAjqh8U+N3RTbTz2uRS7Zi/NbhEbfR9+uoUJaq70iGZC1FwsQEeIOPLTYW+4XerMNMzsMa+kymc5OAO+CPZ/V3ycnOXzGaXeFOndxmwmUt1MQz5io1bcjoBgZo7gR77OcYggHChI0YWJW/jYeW2Kw+KPVKOVuq02cY+WXCCF5yI7gLCbg30QqU1b7Y6OrGclL3Nvq64IGd8lYniIZseZdYN125XKPC3cJrun7amc85cK4B2/A2/3iBed9JYHYcLt0GY5IybEKwaGkJ9hWt6o8m7pUr/JWGg1x2+XaPMUkXbEJCUunTBkj9j2wdr+pYC06uFBhQ4uO/ocbL7M11d6D4vXn58YdCQLybhNZxESeKaWPtqtLmg4MyZLZZ/TM+DqUXJvBY2Tp72ttZB3uGtyVB6XEUeu/R/NdLNt49VWomHf18I8tfwXmTd0/B5kw0JN89rCeANSJyrQLpvNKo9CFAU6s0gJU0IVfpvBmcVCDYUTwLyYmgAZX4iK1IhKJxUUcBa1LC8yVkkB2yhlerbNKQI9OJzV8p2vKLf+MFf5D5GNSSHoMzBgiQq+GZZFagnPp6RuF0pn0fB6TSkIBSowAdXo2bUxOeUW5cXY8jdcos2TBK/XmrjR7f+Y7xQBAifZw4w356ZUx6IPhs3AxYIvPuT6QZ8esU3fjZauBEoPNNpjbMrHdVlj4oG9OBczK1cxbm/HV0zSa3mmSTuZtc4tbO05EFczujMOIgPPAIjgu4Nss3EbHETM7zqFPP0vkJqrIqn6uyBP5lv8cerbz7sHq59ixGErElqm7gG05fp8QM/vqZzcaONG/z+RU+efYyB75dsJd03daTHnGfzXQbjcGkxiWI8IBezau95J0/IbEPoz92XimmeA3ZoLc4fkvXvOlD+4HWdBLnl5nqcbG8mw8Sl31iXN4gEJSSVoCJ99dQ9sOd5nn2XYw2YGV9ADBLl+xDfbkKludDam+OvuuoHbVsDfK4n7notreernf65YyeS9CuHBUVEndKKEPAj6diX5aRYgCw/0x6EBXxLASpd7aN874sIUteSiRGmNS8EIC5Bv0t8cueFhdhwyT8ebJHhStivHua48fODtBF5neNm5qvCOeVP4y8//B7weXx3FSaiiDkDOCVMUOWKvCehGg6m6vruo0ssX0/8b7f1NcK0JiFfxjqSEYIwzNNcUhAovroqBvPgTngQMKPVQSshmPqNNyxe+cO721MKWqfy3XnIr5/70Y26SkDKS21/8E8zlIiAWyNiM8ZRHdQcVBeSWAYkzN5NXAhgbG2EFmEDHNFXgAi7qXkYObHQlAif5xQ6S3VRDakMO6kSYHr17l/yea+0MwQmRHC3FT4bzE+nmQ5H8ZdoZR31wDQxXet/BdU27WZU0A9IcEhq0iu3geMCq/xr0M0XpcTDiIrn9fpbYgUUjcUWK8X7llLpystnwS1BVyINggEb4aAkZQA1o77cBTJeWMKvbY5TGFa1h75VsEtlfBTc7w+x7TFqg25l4zGmTwNc4ly01nXPotIdkFEiDxrSx8DaVmc+p4FAIGSFvzO0MS2ILnmqqMQIOKQwmKr9heBnGHxRzIaOIc11YOv+ALE/cdgoz/qqpi3T4XkyzDiAA5ncH8H6nKL8Q2/gzsYaDeVfe5iG9HzOJBPyN0Q4UcNQrpqyWZxFUmdPuo9x1sFkbOXPYn86mJxOq6Jf+dEwSde1n8Q3q1iqw02kgzINqGQE6Gxf76J6Cbfkr+58voQd+4f7YZl8QbYvKPq1fOnBvceAik+380TAPt5nARx+dDmnfI4BQqxWQjgOsCohZEviNIsjbEavUKiPYlvGpqG/UEyf+KML9bWRrl2vHhxIIz3ubMnWq9Ub3govUfNoWy+Id7QCSnKqkUQly/3rxbrjl5QD6Dqck7bVWuGlJxxlCkYll0wBddAiDXXKLAXqwY9sGnKfBdu95sNmSNqgLdPwFc6z8GfYHAdd+KErxfHaH0j8J4Py5MGabMayjB/XB2kCif94EdO6RX9jVzyS4ZwxEly+FTOiRib9t6X3sf/AXsUeFMBBUm4YQT74KgaFWxyU5p86vO4HrGDNYiHQlMkIPju1gOpbjXJJlUt0SDfqThM1R/9kEbTsjC6CbSefNxAPC4xSpoII3NL98BnZvztvU30cGDxbYDjv4aK/woV17tNGhUg7aOZfkS/LPsLwo5ZyRgMqqsi8kZiLW508HHgMi14aedt8JwS+ubL+aw8c20nSdoNbDVa+wyGQN0dAd6s7V9JVRn+czf1yphciYScdo8i9lKoCwanbEnr2W6wLi7rnGBJSMleyxGMrCI6mqZhyi/cxMhURY3ZcBihOfvSQJumxn7E3CN2VXlXYL/0YNQ+/tONr5jkHXY9IKaUVaCtUh6PWjOpjB3TZ4DNTF8fxAJzE9rTPVMY7yKsYWTd5RA2I4U+NDveMyL7b7IV0yEjKH7AFUtFBzu0HxPdjNymByy3Ap0rUxr9C75zyr4k04wuMZ+1XvBx1ty+Tn15PfpYfCUQUYdZ6gewCkkHoMxspUnVy29OIBar0B+seDcRN2Sl0ztolBAK91f4SZb9iFa4ImxrXL4Pfzr5Guu845nRPQ9smoqFo7tPuvisXbMxD++4cxLYKBEfpWHdDmSoESqgFpFi6Gb15bGNmjt/YBFih5O60lPrqJb0QydVFZyxwa7KdqriNHtj7rV4nRdNZlC5La2IwAaKvR/jPKeljV9Ybg16xgwBplXHBkqCJrxQ2KD327iRUtc4PsWVEXY8nB+p/rYk5NxcQK5k0Rxgi43wrrQKkbqlOTEvRmoj+aaDJHcViIiG7VGUbHQ4dJAeXMwwWutFgfPYoMocBHKFxesOolNr3N2Y4DD0zutFIA134Xz8+Qo2X5lMckDphVlGRdtjlbww5o3XBkL26rKrJqir5CnFC+riRU8bAMfTGICaFUEbHzYq7cZAY+aHDdN+vbz7YiH4zeFGRJyRblkuO0q4l/cafw1iC4HIuLAzL1HwItqKMstptH6sK+J/iM4I5/QNGW/eF8uhNihyqvr30UALlPXFNiPSaiNl9XgLdqEoC2TkHIQrefPPyJOlJMj0ZqQWRdp1L89A+tdZDok6YJn35khP3wb8GfC4JemnTtSoauykDys0fqlvfiN0fVZFcqJ8uPVzyiK1d9CV+lOxV5BmFqNqAL594Pd/y8slu+Bqvw6aYVXSy7ZIaV9EoRUK/qj7f+n3Zgbg9PzbV2HCoduICg5+2BP7SDu18jWOvk0oOiZCkx/WZeG8RwrXTHYQRBH3sQp/TWqhAnSyqD6ma0+GIrKwInS7yiLAdYuQsj6seadNliTnr71xghMsl3dWNstXYkuEy7cA+geLngU8nsha4iXWg8AS9X2KcSOipzHJiurilj8AwvoTmY1noGB5STksWuwK3pSApmYFByS+/UATkMiu2nPlN4rPDriPAovBWg6N+HJV75WLr9x0WEYZ1wLTNsQuiMjS3X1JjFYUxbmPJxwDxYORICAt5GFGXeID9T0BHTq0EpCnPfHYhmIJPljY9nUxrYMJ9GInMX7e0Gd2lqReeScwBRZJMVOPx8+aAOh2x0OxNhFsSM6eyJzKyhfVvA/ic7J+f7ONASCyvvUp9sMF0Ra3TiADMEWhFhXUuURRkG94qIfXgJ1ZNGmIkg3q6iaUdC3OLonGGOrZNvZETVEtiTk0GK1JJjHUSdY2Kw8Rt5LLM00b+7a0M++FWl8o+SVt73pfrWRiTUep9JzfKCvUxNvBvvJ3XjKgNiYZwnwreyKwgopASgDTYn4MHcsj9IUOs6d3T91OW/w+WYIP1peBTSoYQ8LwCXnsedBPn+XbiUZJWi523/jRzaFMJWPK4w0fqlgdfWJWv1QAPrG3vc6Mkdnjan3wC56FgtlOVMaxBIUIZNPofxmlm7sWtxZNQcWTKMjbFagd5Krqj4jycR/qChw3bzE+oaC4qiFyaMEaqfoq71buh3mtIHocw9zxuJsABjEqyZkVd1zP1tjMxl0KKUoIGfLJ+EQFV/5FteMPldOmCbKBL22Uhzgphbn93Hlv0RvYZDzaj/azif+J4i0MAV/bcisguS27TgbeW3+TMGnLXJjK6VHcNN3UHOovvFub67/mr02PzNOjiMOjcPwu9dHN3GpcJEPUiisMYBaEEiH16A0Y1mUS2Mr6Qq7ZZTqz2qVW2FS4l2XDsy5tZT7OiH6dtH3Qg5oVviPJBEz1EOzbypP2/2qJioY17e9AlK+HlsAm5kl9zsP5OE9gYj0j0bAHjJbx0766lj4uzPyFMSDku7nI71hMc2I6b+sO9uCkpSYULCwH0HYiDF/DuylGHdJtUhnKZxqmJ5uCG6gWjNTQo0xmM2OITMRC0JpZNOzfJTTYIY40yury9sklZk+vFeCNkzMh4CrM9a8wF6mxiHRRKLWl00VqeMBwrGcSvnEH+durgXb+s2B0QTxRZj9MllQZQso881lc94UHKfdB6g4798JHG9hUMcDCJXAABIGdEYgq32UyCukiwCKj1ShdDStlEpN7hGEYksYkzjdrw1l/LopqotSYhYwGrV0imWoriHg3c9/Kir1/KwXty/z9C2XopqKmJQr4HqYJWhkc+1cET2DX2rrTXEwFqh85ebQvJSA4t5R3IFyNunbiiXFsncPfLY7SSRF/pyCAKQz3aSsxeuH/nelV+f7WfzXyeQmcgvQSUxevvDP4u/1RORK6v7EtJ17auhZ4GyhoJSncXhXM871czqlZK8HrOFG4H5rCQlF01521cYBCV+EgSXHqVHPmLR/4mB46K0unPubE9drTxGfVoilZt0KZem5o2lNDisupr33j8cRVBwB/1fzXCSEei6p8GYoSehXVNnOujD3cfVwsbVNKxtytS0Mnpiu54MwoACySE0fo0SLaJm50UiQnAnQgi7hG9dkjCtQUZGCsfJCNtXkHkMwtZkYiWfVrciOaUoGLXvhZNICFqGI30dhglF6R+HipIsxXBx2WBa5INcXaceb97KPKV3xoYTtxB12Gvw9djIURWAQ+87mKvr8JaMADzM4CqIRU2arTUBlqbJAl3u1wNQBW5soJ6SHTWnSm8RaWrr7kGzaZfw6jo1xloG7WEENyfLq2oxVqh3mgE3hnM0gRe/fI+mKcngltBChmOn676In677IRmg47CMI+Md9r2b1IKYcWU+2lakFedEhRhgj/j9wzHGYGMb5G5d2mqVfd6fODxGh1P2Kua1oQT+TzYQYcXfZ4WacV5f408hjNf+OQEjwukasHqu6BMGGkl4RINcbY8y5oHFKXEzLwNmngJ39LQKeWK8U7sRWRz5DYve7bGtEv5hPT8063NZHUnNksjC9UfWwf+5EIjwD4hFrsJqFA42Tbw6V8j/lI+HPhSp6Vy4py2g/tC60pDvBTdTvsFx3GlDO/6L0WFkafZkB7xHdXUFkfJLhLCf3l5Qn6RX2w7yHA3HoYYOjoCYlgKSVvZNWRmxfGsE0WeToTYfmj727aaSL/MP5rvA2bcVXViVV1MBNYuiZerZOtZaa/k/abVbiKqQkutBfqsLfpzUmyFQcFcXtuHD2wCWxvUSEpomRmueiRwferkdioOiR3joKpwCzogEZzvTLHFQ2c31rUK3zJBRYaEab6enwYE8tFSmdDnyF02/wAu8Gm38kXi2gvxSnagMFaACokk22rGdnXIX9zLAt9ehX/M9yt/q8ZisNlI7+el8K+UegULK3t95RQsvuh6gv1El32kqpz8bRrd/jewCi6Lar8BdQZrxO90cPTGdqkBml82eqE6nCLvP+NplacVOTQtmyjUqnuVpK2SEbVZfn37NLgRVAv60+5pUh5GAwxfbaLo9d+rCcclpqgFqoFHf0EV4RlnYJcfs1YdxMQErE4dFJ7ZGDZKC6L0sR8LVouezyPlqvabTNKoqssMv3WlA5E7A/uuckZiCbn5agpWSuNPAwEZp1X4CfQqLJsgxU8Ki6vYvIfX8KPGBQlmg8jRP3nQ91puGUC9Gp4vKElOE7N8CLK0FuYZCaPyhyt78ob0wa9ch8TQKHeQJXKtb2RI1SU046w9QxZi2uYvCnRQehEdye2sit5NXYeggCUCp8cnSU1Bwv8fVyoIt9JPg6o1SNQ16/ByBKBo/+OBl3yYETO0iatg8nIU1En5qiAwJTclEv5B6G6lC4dNjctgH2ITaVUDH3SIdU0nW/JivZF9qLRGmbZMw/ExcKfqrkos9E9ygu2qDCU2tH6nT2pFxhyJIYg8hQZ4uew3iETqXWyLKBrZUKIbQMC9jQsHepjb4OwFO8qkv7SOn6eWe4fpBPEZeXqtswh9ixO7fkiG6/M1e7xRX9Wtaq16rdzXUYebDIjGaTsDnt1FfJ5MbfpI4cBtz46BMuAJh94oj8GQ6MfxQt7VZ2rp4KX/aUyfboSQfAVqNDIq59j3/27EMGuAPKuB0H/SYw3BPNaFT6UMlRRfW5WHTp1sQRfdddp0AI1IOloLdDXpb01HVaJhr8Lo5RQ0UyfT/cZGVCr5KgUSWlpdO1QxaDrm8xP8IoFgpe/lcmrTyOxTfla1u9sYmjpazKcHP7G5c32wtQMyBXSP01uRyEDZtzY6SomlvbGuu+fE7epFYHPXZLu1+os1Kl3E+pTP3Lfc7aMxII9sx3BXdQoBgOxaoWnvwJU6LVp30k7HfP55+n7QyEU0GrXd1RRJ8ZhdCHt7Ly7XYbP6hRe+TKw94nh42t/U3TFK7xeGtLxpYs4mAWnieA48elFvD9yAV2asuDzarSGnvAJ2HeyTgJx3tOpNyAg/Ji7DAA9Y7vklO4efycAHfXAgkStl8ItVIfIsb+0vdEZ823NzQ1F527bd+DxMljCGUv5DKPU6m9aULnCdLMG8/WTMp/tEpGKwg3aZ9Gspxy9JwlptEeXICuzH0cXQtFdx5G7eMFpEyMzHTWEIb2+Jwc2J4mdX751sAEVXEd85ISusaWQPAcQXeF5xA53W7RJn5Vt0gS1H2wF9qmPiKDo9uwBw4vyUPDhOfF241wJImHZo9Grp08WvsaK/ifFgyWxYxF0oqOLjMvStS+1NVttvyGFIF/JGXxT5nczbrImviaVmqYXYEmQnD/jWpg59+SSnRpyIsiBG0wlA2aRQ+kC9PI7aG0CjXP3yS3DoP8YrOiKnm5SFUN/DkJEcoTGOGNmhCRbLUGmBFX9wobcr0QENmBz2cZePYXK+Hl3XCBOfT28NXhd5zzqiz9GVdrezQoutK6pcCwZFtHqq5eNTVHlQAFpa+zGVy2bsn96W/17Zp2RLCnK+x4tHOlpJmKICXXLl5CP6b2GKxxHHM8bRn9sfl94Akrw4xAeeFIK1k0j819G8MObmBYbe+q8jP+nA3fg4YHPWYJO/qNV8++n3vvKEj4VjLLUpFGsP6vjYu2jBtEWeu868fYXk/vOdpG9XovIEjPAq5/9/g6raLJT5uMbDDgAvvy3MxOUiDhaIE+N++/pM/OgFaCJ9lcDWAgdt+nzlEHlicI6a0a2vexlJUiRwk8tmOgTUtfpLFoq2HIOHadsMln+OLS2IQqDhspisAB/FjONDjIXEbGSuJ0QLTEOlC7aMOubnLfkjj3I1fKx8rfnVbkrCBYckFUgu44LxntvMTHD0MJ8uS3fU2HDtYfcgB7kX5xQat+eUmB1AihRyr9+hg0njJoIIUQwmy+w+ZuYfZ4zJHsI/xhzkRg3f4afMkZONu17rUnzkEveXkrywfn60g9m/Ga4usLxUz9yFDQN2Dnulq5gwL0BJqUSXA2mb/2q7t2BLrMY+SBibmUiq6NCtOYKB4u/dM/sCttcREI3e8QcQrC6y8XK+pNEFDFKQXKNuOlua+HF5FBF+Z7kClKo2XhOCl5+sg0zgrEdK3CNck/ljypyjhRPfbqcNJCYKNODhmkcDONnndklNOnEzwsCxNVO+7TjT2pG/M7U+oAOBNZ6z29Mc0Tdf5hZA+KHRu36PakSTvkUAe0IPMfUrKY77qqtaV8AJQA2HqkeGt9y04AWakGvGCPKNANUEMh7OE6+Jk061ZAW5rbhGF7iLaRdRcKdwH1Zr5M7PYnfOzKsXmxMJ768P9tGQL780YCscx6EdcXpGjjwLwlB133+EYhZ/ArUmFwpl5eMyrh5CS4M13Nafw0Zsy2dv1Su1cl39JHdzxSemBROJ3roo5e6gOI/evjgvDqgBs/gFW7/gDoAVdQvYesKhi48hGSn/MerSZh93ikspswYk/R/EHO6LxKqMsvDWQQQqWqPot1Y+sEHsBvmXhtpP574Ip3AxZuVSjbUdZA/zF0h/Wl0tZfzW/eWg/rLRclW8e3WVNQy4JBt+5GW/Xuhyx2BkOyg30EbdnXvVNSlDf6CTTXyVxsZg4aRb2Sf44/zYyZJkEGFnQPV+31PZauV4z3afs9awa5gMqRHeGA5JAxeL0oeKvGbJ3Rzc3WGxTiNG0FrNCKXvagq+4sHcBfsM7yURartfjj8EMhfUAEa1k1jKMEnWpRf+2gye+VEVRmrMEnq1EpIvYjl9jL6PBXrVF6NPPMxYYRZC6se3W1Td+/UkaAT0luTZIeaj5sT8jz+dDv8RgB5BE2Y5lBWTZTAImDNthQL6XROhheyHDKlm0bKlQeWdwwIql7unTBeIMhVg5MkmkVQGQIfYqgFtBjTsVCnvURD/zk2BjHjT7aQDmplN/7XwMciiya2BbMAjvVGFeqJY2LZNTXQ6HrQWM+K/ko3D1mZDW4+EcAy+SF/H8+ffyE5mSCG6T7c/XT7CROAMjpRxMEFrcgvt9+IAFlNn8C1IAp96fSva22S1TmgUBXw8rrL8DmqVbszjFJmfcTZuAGqJIfxdaW5X3G9vdjbcCp6EpoW1FVCgkpVYbmezi3ae8FfhSca2CLh3WpALPA+xbct8G8dA+PYLtUehHlqThhhTkLDD5aGbfa/8IfViwUR5I7RmcoVuWlgNeJ/o1PC6mo9LbnbZpemClZIkLcsyR9SZoOEWX69yfiWV1LqoaeLhut61+3FGM6lyF7YID5ijD19Aqn3yWks/YClbwf6QOY4EHE8iUcqHM2jYKhybk6bP7PVC9aF6cZnoOyQMf0WBoO7NLqU5kxUxy3Q8FKgo953cP3h7DFsStJ9FbDCemLlnzrHqarmkHM9WKO33TgjXLyuJxjmepM0Pf2oZyndlbGfgM6D18d2hzsfmDlhAy4xStWt2Se/h6AxHXX2hZh21dO9NgxUDw7TUQW5zHG1t44aft/8Sppcz9hfonPYe0+VxrEwmBrd6BcKpHONS/ilsgJ+FqJIirggQqHBzklFNZ/nveRkd06eTOyczIGz8bJ89DcOiJ96Q9aF7alD7K7njMKugVJEpCfT+k5jkzrDjV7Chya/DlDBJTM3W3J5Pii21PSDiKw17vtco79YjmphLkdFNZnZ2fdYkE+ofNRXiRmSZELyuyv0BOihaLENLiSEYyEJ3slv/lKpNZBb5naj7gkh+sWRy3g6sxsqhaQwSoP6J1eCJlO/WIt/1Ttrd5amEpD+ApTjXmZ06nogoe5nrRIeL14ZG9ytMtuq9PFAjwKy+yST6UPUqfLyAJEvABq2bfkdkLjBPZJazUaqyCjZB5KyYmmQgVp2IiWoFlFqkgkML/7dUTzfiIntATvsARDC9Qhft6F9yoWt9pgv4FpHmrzAEMrJiRAZ/Ky8fRChh9jB9EXwVpt8X48GVMkE6bOn0YcJiIFc1Nm+Jv4cL8OIdU4HRuzU+g6FjUWNU20uLx1Jw3ZRGxppVKZgBmdt6iW1WbyqEqDSnHlweg82RiyDGQREPbBnNk5oCuBRST2unED8HB0PG7DW48Ve7LCIqYH6NoDU8vMoE07hwCMmm73/pX6Lxy39PpuQExXZPTGXyJnB/fXCWlNB6JPGR6VnOaADJ3U0DAtODC1zZwjE+dh8TFZt+WbPOGkDX1aAhxTg91N/esDxyKCc58yzOMgF1UFkDaBUowQp9qaNQAltfUrrT/TfqBCRaVmHg9mlWYIV8AJD9mmUkL4AXVOnAuBteYjcefn25gUfmO0yXlWTkdGGeKr/8IgULtVaDsAbYUr20T7RcqcnZeeHUU/Bu+/JLAa1neFx4XiO7mAXi/zbPB3YZpOklxhmAWq+xDDFEMQmngunwvY2n3vm7/QxR5TRErQIxARniIPcU1gE8aGIMaoahq6ZrDNbXqPpz9h6d5+o/dLHH4PptjHDLZYml3JaC7yIjPmsTlwNoRKMalIJTelkIJb5B2ilWtlRD7Ix44c0VF05ntO7xh+O3jgP93dMgQPPJanw8X+V5cosDbJC+DYVKL/fjUztLqJ7WYoip7Usm6BkVIwmRFVt4SRrd+O8GhJyhYJ04getcaI9xlcq7IFBx6pXWwovz4m+1wUROtrgRBUGW+0cYcOw1iPizL7L0xmsg86aCRz+H7pnR8dhJJt0010d4XseAe1gddOyDJQuNJkDn2VU6uKWRp7gvaZyPrhrr1yf3IMnaVejIzEgX0GgX0tLWHKG1NwDGkpu7ftuT/0MoDxF+OaIiZw6R7jJz9DfNn1rWp/U6DAkTxuLfF6bpmA9s+7WDZqPj3UYUuPYteVMWjUniZFVpZrFIU9aH66FfCShj7mzTjTpMkUFhvDlaBaRLVqvtiQtIz+mKCJz6pNinIl1lVMYJgsgubHzCnf4sSEJuU63uNHG/cAkonMcpWciO+adctCgIHkfjWAnMDmVlSzFjpZ7P0JVEaDd0y3UFQHgi1Vt/9nmL0FDwlpwtpreJkQiqFgrzDT1UgPbwhbn2k63hQHYD/FotebtLouchSdUHMaloQmtTRRfMDeiENo8yaK+oT6qZvnSitFvZ39DnYh4WFEcx5zZnTBA9clZtK056Bni6hjFAl+bLq+o6EO7sbOy1zkyIm1h2vT3mfkAhkMdUb/T+czeU0A2mUykRQrsLikZF94sBkut3mQgTbKnoiYh02EASHMxbbQ4oYKF+fh3kvNaLRHHsIq0yMaPc2y6ZiEV68SuD/t49dQrAe7mS2o3LtuvLZzhbCtJS7H/LEo22U647rixJpUbTJYyaJo9LUeFni1P9lR5OY76YXdytryDCdumdzJV8eZ1297fMYieK2yS4iBumI6XJkoFKybzjXYVw+iKu1OXCEHIeQxJb9Ep2zJ6jrGcEDTAWChaE4iPwxGbXmiZjzoSIdArHU6vz6xFSHe4bzxYlLNZbeMUlroE0WyH5UXd9oCY6xfwDob1salYH1E7BwzxihHSw4DySYvnHbywqTdRzGP5vanAkcYkWhi3mHKyNzGR7dQRCqJ/Sya5A9mAU4IYUjoK5uSUx5tvKkTkAOkN8bdZ2+ZZL6QQU16aQ2CNFwHHNcXB/URSicGpOkiW0qNrtFXej6if2huNM79Z+ZbML3af3y121Gx2lyTZW+luxn7riYFb48NtAmaU7zWjlkmU5SbjpUvHeuiWz40NoObxJNdjZ00RkKsq6laiPOn8tdD7Gh6jqn3FHd150ALGxPRcPlcEWYNH/jwJHFsjOwJki7FYs5mfZ0QyG6ilIDGcsEsgqwE68tzM6WC7gwNiqJdoRo2EAUi0WcSVGHyXEdV/kE73lbxK5jSk/cDGR2/KN+OpWEGOhqXcOGvb209bAmYxbDlUFSknAds8DCdzWJyYUS39MKrNjE+AHduQVCpGX7WsfP/GkPkMhf+V+oken7MOm2B0qERFsWJmM4NzQa2mNohyhYqenRiryFA/yYhVWlUhWaz+ZBY6vzR2CbEZhefsDG1R42Nh/8y48bHoRTMt1d67gdXbrYbhcuNjsS8u7YwEN204Mbg5A8X9ge/s4PAf7wOpbqPrhrUAucnAblkD5aA0I3pmkyRDSSMNFfQRiWwSlnhWoNKTvWExKJ5vIJ3uZZeRBnFuye0Xdbbt8YMGswTO/drxFehzDZb+phmJ6t3XgPCIVLtQfCIF4r9Q/5bYw+lSpMrO8Uyvp7Xe2aAmAvQ3afD4HmbF1UQDWMkf4UTw2dwAAuz90BzrlCeYuRuH1GkYye8vKKlAivN2Vj0IfHJw405I/Ro0GrR4dfoGSJHq7KkEEIZHjeURQtWwldBXZhOfpg4Rt8gJh1G6F0REjzWHd25sxBCesbVSCIx8AP4nv7Xfw2uop7EmWC/tpVgfYzVFMGa2hpafgRYF/2qGqflxZV0O24EYTwchH7yTBYCrrPyh9PimNeapgfqFk2Zju45jOtWhEH0p7qPE2VBbXIq+cKSm1M7YaFVzgXCrtBRESEDirRk23j1/zijgc2k6NriedsZBNjZ+IDfEPp7QSBp+faDEVwwUrQy7qQOWR0EdsPL9JWi//0UHqtpRXK9RH8qw7Hw2JahLru8M1Cu7na0mWAJgRGKEZvJGJY4gjIcoUFGjaxygHQBY8/AVO8PbubV2zjGtcf3rrAmGb+9CSv4Ujnf6KJdyC2nt4Z4avReRCi8mo4FOJZHn/GJb24NMi8G1PpCdgmmOXL2dUzdmPidlbINxObDJxlZFUM6owfsVo6hDLfO1LQQfZa5Wj5yNpe+JO2wTh1veDyyDepIbENmfhEUSeemHAAdeedJE9MeVpwqzVwUYGMt51+8waIpfLuHrCOzkXlrx+/sGBV1prBDWINPnRDlppFCAksIXZW1P31mItNrhrGGVN7SdsTyKKPqQGOQCLn19Pp6cs6zoGc8ZSOXpImYdj4x39tJjdk+Y0Kp1YXpSySQK/bnOBK1QJgwokj5oow3v0mks0l5ZurEGaWRvKzvsnf0gGpGtLi56JPNS22pb7oHw/su29wK/FkhlhwtTeJeVNk/EEie5eOX0Rv34eylvW0oOcfgw/qjpyvRY3IjK7FJpWPmf6SC/n5tPMZV3xnmDj4m7Mrxk6LVkA5WMaYbwwwT2mXVLEbB3eT01K1aJfkPdD4H8oioz0yOUwmWonoJGgiuct/rKdRNQvxB0kZgVFBOocKrCzdfZqfb4Iu4uefmU/jDgbf3OUuYvbzL0KaDkql0XQYeag0rhjaLhqlpJx8+dkQ2r/uUx6SEmtoHs3lghbp7ZeE97a11bIHNVkJRe5oRaMKGeP8PdWzECrj3kesHvPYt10pU9sob8/5OokHW3ahuOrNjX6iraakCBloZCfZcq+I5SiAcYXynvZlu7fQrtPeQOaDRvxg5B/Z8e70/p/2hUH3ykVnw7/0PtL8b5CYqTpIwFk5CL2S7xxKqPSCGssMiSOBrW3se0PVheFFlvRspRgw2gY1oE6CUPsgCCG/yjNaQa5DoExcvTFxhUf26hSknZUfMs4hnERuLQDBpmQjCDZc0eJxH5NtC2lXDpCbrkWsJOZPW6KEGYtvGXlnq5pUF2yj4faO70Fs2WTOKScxVBnaUcLqI3t1yGcHCiiG5CgBITP0TVlaJE96Gt3Uulv9rCuNUpEyw/dprHgQKFZ5AD9i+kY2skY1M1fL0UFNKsyLSAzqv+68ZuzDIzDFBpuve/Rc9b56O/3rS+RpOw3XGW9rPrd7/bVdb9CUO3vv1sQQ2SsaHq4qNu8iOz3Ropl1B+Pv8vCbbDpqIQGUTD+xJpl/NWUXPa8B7KM/keGtOHDLPrHUpgXL9JJ2E2CwUwYT1aDTO4ZdxWuWnpREXFDLAR9b0DAEpDEDpT8dD2ltreDgbLdOvPxZQeos5YxVWOYIVJXBABsLrk9+4e6HowdLDp2V2pFLDZGbgo5QnFnHpdAOjkJV5lnVMyXV5BVkJmNOWBOiZr7O29of3A9S9ihTZi52AElPUjIvBPftx/VZJd5y3SYHsrWJZrjPqHjd+NItL4pfyuMcBmgwrIdlqKjM0G+NdyyjyyZx7k0dfOQBwS76wagHhvUste6rqU0+KyuiXZ/Kgct8H3e2J0TzSZP37NKM0RNfk0z06SzGFCKXrI01sJu1m94qT4bgXAYe8RLOyFVM8PZnVDxBGxofLUI+z08wwovOH5mu6MBWASdRF5LlRSBhEYzJlpxqa5a/eHbQrLAwlmE2q7uhSvwTEWyZLOvqVpNW0OGTCcKHeiDrWUlzhXRQjMufYnBJ224AwCQx6+EEdld6iArNjessHV2evhh/uzenARa6m/9o9iCuWRJB9f60y011PpWcLBCKepQz6Te08stSuqFESQiSSN/9rstLkAip4xjLtBTnYU/HyF93Vmcfba4NdN3+jiHRa5Nq/kRRsi33ORpXZnMADJF1IeNKEtNqT5yCtQYnkH0CPJYxAOT+4uuut0X85zFQ12cTaGA5Ipqll0sMg8ciVpYzm5ZMhHN2orp8GAnJj8xkE9geBbI7DsBl2JVqAxk4yXz6UGK9AGVBhx6w30PwhzWB+FRjWQJVEBugps5g+ZX1KK1AEo+y4q2h9+6Vpqvx2sNUhSp4Ee4VGZXclhPu/isleGyB0RmttRL7xAkcMUdJ333kz9gA/p660+cZAHPr52uo9SiDuYMtJlJpJwk/zKSk0tqZWB/8hrminPfpRz1KUi8eWlwKHAPHz7XQ05YM7fOvcdZnaESuSsX7REmaepqbInttCkD08JS/sODwbfvSmxzhT4HkVxmp5BjJzNdlZEUq9swpL9a6pSIKfcDXkfnkJjrxnKtsF/fqufyozrZvCz6Z/3gk7dS+as9LWkE++52PjdqFuM84dPWHrdJc4M4BMWNxTi/eO2uU2fpS6xTIQ/EKhorpsM9tliY2sHBdvNbAgKi1kvbA/CzONBfamKZYKbOny5SpMvcIb2G5/yIn8n0JfPTue2cJvGa+mcv5Yq4KivIBkAYCROmGYbG1EddKfpPFdOwYacQCyTajQNNQqedFZld7yymueMVR+E6ZoGluPEm53Hwc2/lfabxJrzrMPTzm5Up59lGs8iKs4STeXip+iJ6BiuF8ZU+V1Y/aMVqr9mBmzaEtQ4d1mNF+E4XGguKCY0EWkJ/CojvxiEoEGg5uetvsdFXWqTDkJv2vxgmf67wu0t8KJlpWQrzsAfRAR9vFhkH1Fsp2G4dD1QLf57bcLJOQa6RnznE7KzUaYVohOmertK4FuhK2jLd+mIE3uuHDKwDOA0hcQkPX1Xp+++ZCcvXjruO3xqNAXDuZodI4LHuXnwehkX5FQeYF3uM82RR10CK1NfE39ZS4cl7e71TQwLOh29HHOBNxaktKZwaMcaBQdkPUZtnwygIYtj0zZAHLLyfryV1t7mPNqB9nJhltRtZmN0NYONbfBeZBcI3anaz+uNoANhzq5nWeFk82ybRZN0ZGRONgv2+55Lski6DdZudZJkU3D/foEdWhfaRGaavnjYONRkiG0yPM4udsFmM6luh6kqboZ0YT86Amv5Z/lto1oO3kGu9ilE+AZvs8UdDvx1oEag94TY6/fklbxfa9QaBHPMFPE30PgtN9XHgRp80rvZf4gfKUQOTP4mK/WJ4wMRf6nZZdXOKgWBkt22Z5FeFRPZasxxVRD5bYB+I/5OyG+TO+0J8wZnW68Ccod7zHc1iZRntAl/Oyt43swjMFOuW6/lkygs51y6Yr2boy7uhmUszhFWdA2tXGqaDnU41EjuO+U50Sh8nRsWPc0gjMY+1TRiM0QI9Ew3ITu4hIFyIqTeoL85Ky7tHFFoO0Wc9wmi00ioPk0iiKkhnArZeo+ua77TRluz2PF00eiiJkwD7nY2eM8MWn6SJKpcHi9FlixcMKNhBc6Xp/2rxTJYrESt8smU92DxUNVyUBXnXL349KJe3m+AJ0SJR7EHExoqVZwj1AkwHUCb6Pf3V1QX291kW27aCnjfaIMaZWIZ6zMG4MIuu4y0FH5jd2LiX2XG0XTiuGYrgth01d8yTVefKSAPDfVegohT2VQFATgMpC1iWninCwo+zMwErQelBYyMxQlINoCM3zUNK7fkV32ZR8SmJbIFroHbZXy4aCLSWe3otr47v521UPiHaeI4K2htR6oKTdMxz4uLcqUw6pcjyoHP5mEAA2tDYlRF6etidq5K8cgh7wumW4o7A8oLRik1Tx6oywD1ebWf5apRgM/bXKGrGXMbN6FJiBn3Ihgeym2RBh+99E80FiQtPCoGW1xJVHUMtgXVqDm5bzQwvhNxTUzDFoxjjzZC2fZQNayCVf/lrRWk7nB+5gH90WvmSy/8lqfzXkq42oYaCdGUgEDsd3293gNm//aZGKktOikcnxzuLmrkkhI5kJLMR8BgpL7tzu9TClt6YyruMdrNhZOi66JkxMKfcqU44OmJEY78KGfg5iVinro/fLRF2XIHApUiOOKjMzP7DGXcZbPYFTfHxST2qSBQOz9eQjqpZRBn/4v5EEO2r70IL2B69Z2k6RDG7jat+1XbmKzoK7iyVH1bbPNJiAwSIaE66IyaGmI3MF8rxFDZ86wHXYgqk4vMma0S9IobrxVFYbH07XTwZGzUQRXL6sq8/ttfN1gjxpXCJagOhO/lB0oZkhjS9qZhv1dEVkZp839Tw1pAqPwii3uQLNGHMN8etEMiGHt1wve4FcGj5s/VrqiTYdFP1wkC+giUoeyJKFqL2joEPz1lms5OsgLId+ctuQRxQgS28p5dvMtQkdsaXYstDKLKn2U53aYa5k6j5+PEPgbBrkAMjjA8SFa0lOp9Es+vjTP0b0Z8kh3U2WMsXwcpgASeJEyGnxIGnmS+cM1+PVwmiD7GMBQiIuNJoYa2aFtm0ZXxpCOsegVQzhaYXJLDl31O7A+zK7YcaLLhK/jxZgHtjRSVRLO/Gvls/4nkp1Na4dHP8nmgW8rYvn5jtNtB2tz4QbZP/xuI5iGTiu5LUgCYjgMxSFRLBlqWSt5oEyuXvwcJecw+CvP5sEc6dQdm0NUU2u94wmqHXh2JwgQhjWrp0RaD9FJ8P7zpIVKbnigFqP7Jit93grpibdZl5zM7d//sfVy0JbIgIjJvWskJZhgv5gi+4ubt7hFjlByMoKxW9II7Xv0UAsLguef75JP4pD3WTcS6N88Q0/90X9uuNpKX/L6T/w7hW3WLQ6uI0S1DVfz3ri8sVMBh1L2xUnkIzkpPqNAWvBi7tmnPVd8WeklVQQPHEEtYCGfVf/v/fFwQgWjj4ebRPTXTKwcXI9ZyFNALb/M9I4djQC4ymgnYVpRgsqoC6ESoVvqPdRLi2oTVuLEwEFhvZsgYkoRlLOVEIOkVuYuN10yh4ehU0OC1EYDjxrPhJ8n10Zr7qQz4zDmvH4E+zjOVTZWRVn+YX3iWDPRX3Hqe6ggIw7kJO97g310dlgsNNJ0tbwc8xtO2dnUMDKqgZ5AHTQ0dBb3SuTTi9trZuFDOaxA8xJWoqs2OoW15avkWVK5CRs0Q7M5RU96SmM5YxgdeAvBH486pgNVdndV3ZtVfJ1SRBPmIFEJbxQfiCfQJFICCXhxousZ+cD4GfEZFcLUF4nXwkeZTU21xuM/MUUnjk68X4yHs5I5QJ7zNAlwGAs4dypyWhYDHQ4KRnJX8iOeaTe7xW02SchX7q80RrmTWf94dq5PL8X3zKdcqtgjw6moKCT91HZe8l6xWf/h/gzFfj3+vudM+NxDHEvlgp4WevMEuLA2qHtzCM5Rr92KIGL0Cr7JjL3Q8R9ZWEkMLRT2nMTMqG0FIJqeG1kok/pz/gSJUMW7LgTGwW/UVJibKket6hyBK5wV4kGoILtk21dkASGwjxmU7eFwp3VeGpsmMpWAAhjHHtJaUautu5OZVOTV3HJ30ttTHcXEvDbmwsmGXs7KbJcxVWdwgJDOvGUaP9Olo4Y5uYveIUvTD9lapL758vXpkUOUdC0U6wFc/bGzI8tAT2WIyjHhdqwTTZ/ctfj6Lr4/u+kMDTSjB9JaZim1LXKuyAPOTgPWCxqWPFahabHNfq2c+sIlUp/lmhWbUkCBbH6gN2VUgfq3Nh48LRSw5TqpWBxxlUtuZ3vPgj8uVHdiuQ1X33bo9k/ZgBVswt/PiVh6linlcJjICcwLoFfCOq9ZhoWPZ7xH0Qf1T0XX4bdzET4rdv+PHliCv+mbvYlhVV5TnpmpKvWbQCaXtj7d02k9iBjxwQz5n7A2rXhSyM+xGvAK/M2zTpMl23KTix7FoXpwREqCLQ48/2Y0Sj9xpBlHC8OY+Sta281F9Jt7PoaNmiOnGJdDgCdDm1NfurNnB4okoYSqVne0WxLs8zidbOmDXCj+gaLWVEbLT/lTmwthbYalmeYrAOI8uV2Clwlkz6wV5GWG+mweUVIW1ZWWOyOKnplpbX1B1qaraxSyBJK4txB3iOuTU7EBAqsBFlK4BRAFuS1K3/LKrMQF5eNAvx2/IpLI8oTGDVLTKg4Oj/RBpdAZEpPmZYKDyhSarzQHb8GX1Fjh6Xu1wGM+mPjxSivlKdcaKEHzlQbUczMpw3niIRFI+f/+fJw827f1iVanjqRslPKELSrrrA0vSBosij14TA5B7MrZkrDVWU1i4rBbWq9f6mYH0G1KopHo8qRrmkBE0wApD+gKSyrMNAqkwKHFzZzMrOIT0dhHj5zs0Yhz43/M04tBtrUZA02Z7pDnqXPMjIxIpXWStWhRLW3hFqMeQsq/qoqqfdNU4+0z7BJyzmEazVk2r91nWzYS3zq4JR53dBv2uuQhA4Ny9Hx+eTn2kRFiWIKVMkDAOjjQbSo0oIdOrNJ7ruszg0mRXNZem4OWR/sSbRnNEvsoiGhlWcQ/GwWJ7FNf6resP8XY2rZko8RkxhPXSsftwEuFv5RB0wcZgJ5DpbNeyj4EzCatcuutCtRbJEa+FvadZUQUgVGSVdQ8HymrFf+1eoYlb2xCMcpD6b0O+TzV4AZ8AfxLcawUS8WorLWbqKxaJ7eiTr1ao08vRbTp8HVVc/CyOjwOT7IbTOXiHiKXmorTGLP065fbSTGvqDXZ/+I5RRUFGJpDPokvmp+1+99sRHJGjRu5ZbDWXoBFkiiNM1ni/HIq0NMgUXjK5rqPNF9f5JlHdfo3olmI/d1KrxYwF7yL+LC0oxKgITLST2dOzxEezL4n57mMAewsd2rEbschxkuElAkrm275eKM38Xg42QdfZ7kqigw12+IftqG1+ZJ9E/JDY5DfI33be7fVsXTD9hRLWddypetPT50yO7gfr93ffM0hHK04Wn0aTUjdzifzXuuhlW+yuLF8RGYn5UZL5OkSpIECmSPvmS3s+bhol/SdXUha+ALhykXeqxZ+4CIkbZIz2YkZdynx8Y/MjvMddy40/1AuXAQCm0T08KyvNXLYs9yKFaABV589+iQtRFJrrOSWtLEEtvKLe24q3ucqVND3k5cxZS4pQz46Q3MXmRxb1k3P3qHYYVsuZ+UKMNWq7tfXzfNa3mKERepjGahiuhe3NT54o2zzXFWEg7V0xDOJgP+S4fTXW/733kiXVi1WRZP2x9/knPa0pZJydL2gGeU2Q+XF22JMLtmP/Lx7TlreJALJAL7ZcoQYBxRemu+E2QGQVMT2VelAnIT4JXi0qI2dJnUuIs0iAKmF/1fWHyTcQk2vMH0TqdXMkMCa2fwdCUhn7OEu1I87EzHHqnO04uelq13l6I9fEaXLIQ+MCKLWEux0K/GefL+lyCGQvOAThWWaBf/W8fBwPIlAvhA96tw/CRvYFqR1qJps30EWd8iVqHwjDFxjOA1kui9Rerodmp4E6jmhpcPaIl61SwYILGTIU+x4ikvLEJ3qeZJkDAxlNfRQ/AEegT4KWH5qtSSn/g5yvyk33dvOGc2jkAdrYW2OoZCe1/MIqbBuiDkPgAil+AaA0ba4x/ioiRmXb454ujsyVNctvLc1miztTn863yXcNEE2FHbDQsNzFuoO2qEeMK579h1zI6N2PQ2UTI2Y2lydhTSuu4vOaLlI/cLCdRlW8TfwUiG5+FxBcjzMIQV1qPRr2LRjVweAzODOjmR2oG+Hr3Gu41/XWw08ZyyyR5uQNz2D4BhxNQwuzKKdafcd+MBxRGZbHm1XoTD6tjMyxBgMamVhN5/vjKpOZMBY0kEj0vLIsQkONoJtjGcJJef8cTu6ZJZjE4jVYMpYsmUuLJvpzQ9LwNy05ozehBmZbxvu9jiY7iM+IentdLvRR/9iQeQnui/Wqnx9EHVrebCppQznMVXMAqHeIeTqmNHmUhlryQSiA+CERP5V3lYq066qJJDopUsVD3AyGlXsOEfp/1K7tYU71Kus+6TIBAnrmBo5/aNyUj8wCWB/mmgE0UnBptCmidt5ic0oMDLtqznakWVEzsXEiYJpnz0pvAzvY0wjq6LVcpxvD6AnnRNeI86YjuCGcfhWEBiplWhmmddIHAowiz9jxMVyUnjaBEgJ7QFTEUn8lbm5A9xzvx8fjuPNmgi+Fg49oq/CjtlOdPsBATiZRAzQ2fGwKjKC4RaUaPkJarxQIaEYoQr9DkzAToBtxjF/vchmJHFlVkQBCA0F4XqehiVhEhBYb2EHbSsfmwiCDTp4YwNoV+MIag2XEABdeI0cC9BSG3IHFmDz3wtsKGULtSGSrO04VZPjPQmw+pynvJgn6Eq8q6/E9hzgDnTcF7oBOje3N5mHcNjDN6VOozcJoKzBxgMl26Ih+Ismk4IxecMCwF09Jpu6CcUkb3YbBa+6/fvPKXsPgBOl61lv1qLuqvzmROHCbh1+kPt8MEogPOTZPdU13HNCCAcc1Jh7F69+lA0bM6E9Ky6s+6MzstRLEjyqeMBjKL57Y7v43OEVjmiyBe8MqWQlQanyc3kC5NbWQejISEZlBRRR7pPZLXX+qB+sU4M7uhhVFryOPTL7uA0EVFERiTeQy1hakmuon4A0aNdSTFQH5YInQs5eYsEJj/TM3Xug4TMnR49AzU44xw+B2jc7mmyw65Zaz2tEezDE1oLVzR17D7e3rr5asEkWBEdJgFCrlBfQ+xVxzrG8vRUx3eMkZHmJ/NFgt1eSo2qaTb8SnFf23L4u4P1aXOu05qRjQX2/t5fY4jvTYGYZbm3OKbI/sb2bRroQzdvzK1oxwuBlhwU+76JdC7m4Tek92nm47Z3nRbtKrnzGEuIeoxfm+oRzFnTEVCX0flt1e/+XifelYo9PQdJjpmPZsfRDLpf59qyxi4w5cYlCEkkJxarB7uc4mSwr0K8LCz7XIFCkZ9/IdnwqXCCjUmRQHyN/O3Ic9+HKerRp8EqjykdraD+wWs3SCRcrTkJDj7sxj2lY420WR4jsuMRLcH8qANr7PkN8cvgMrxtStyHTHJmbqine9+Xizu9Xo0LSzBZ6gLgsxdEiPhJvKEcqwJxoIKwNfO6GJACI+EV/UR3khFcJ/YqFsdRat+MRMKqUYSBUpNZVRjJpE4FgV1nc1WEDL1ky6htCcDUyOl1t1MZM1cCrnSXAzgCKLVhnTbfcc+QwlTkkjN6FZqf5lGQyA8lfXfkx3NXvKHRXaUPoyY6s2YQV3YF6wXl5iDbDrEhczojSdKP/u17FVNYcR4G+LLxQArufvT2MdljwPe9B2uZmQFlCfGg+Xm8U1atnH/vThmsiuZbZVljqEc54TFMFQ8NYahRJ+u5UIhq/B7fj24mu8CvVDm4GRqSyG9VVdw/9JJWK2Xpwi2t0sZuZ5AuYoBTuip8JKkWaHg1H4PmjFL5MUloXVBSWQ/DzBwAB6QCH/DekRLmONE5fiLrKxLkdNm3vb4xLJMPH/0CCwS1n8ir3Bh4nCvEtUlGgga13zZfZAvqQf4fLHhOLJFFri7XaJqvTXUhd7JIMgL2y/qHT49WmzVe2OgOyv4JRvIgL8dLdSd7PZKUG3QHneg4R0cgX9QEoANDPQ9xcgYeE0my7n2ZaPwxfYy3PwURogl4Jc5uOMkSN8K3OKMeO0yTEqesvYwcq94LuR9BdPLcso1Q9PKhkNkp2P1/mpDWFKl3gNbqRh4CMc/uMMaGwJUuLiCON1SlZl/xiP4bMJ5v8dmyvK3gq2JSlbYnTmEZiqEca2PZW2HWzi5OO4AkmaaH2kaitT1/4jh2BIJATxd2cAUE8N2j1Knme4wgykzB16mfdRzWvbAuogtxRAo5Q7qsqgRy0xF8vfzg5YY/nkZcmS/IuASTuPKzwhXwMF6zp1CI/2/lMW6XP4lRsfM20oBmc1iDqkwFFEkQ6eE+eAqTO6hTv72b56/DhbUXyusZxzHKSxJPgkZAU+I9COumT5mEmaKWt0dw4+DETESts+rLJCUqrL49XCK2MZCIaas1KlEq6j89kJgxe3cxJ0RHKicmiNPk471wTdEH+6jSFRU8cMR80R61J7lgcOtWd0bBZ9v74eYZqMJ+o4pY4rT8a6KRGaPs7K1JvZb3utUhgJIEcL2U1E/+LviYhgRyG/3pB4xI0goUMhYtlSxcboXyKtDbgsNxkHzKCTkUw/JBS9SOpwB2pw45Mj/daGIOtyXDPjLTvdamBsPbWOXijt5k+IWP7ItRKXFpI50VIaWOddhmNui13yLfCAJ3HMAzjGVYNi66m39kvQvgnSBLju4G/44PJ7d+Stk5TPOGsAYHnQ6eKRmFjeigMy9dKSHU1rN0xlwF35ncvCeIzVgVfDnCG1ABcxwkOhluNSjSnUWpBxER/4NgMj0DbMp8AvRl+R//7IcMYkdQnSZjTQPmQx8gGujPy/v8NjYoBmdP0P+vjvq7IjWWNASSjjoIpV76nqg9yy1Du/npleuKRIv+gCh7TCfPZdVsX4u4cxvZTOzR7lOqUFrjhEzRWyOXQIWfRCoJJ80EvQzn46594YmuaHoP3snxHJUyyJvE/qQjkIBXqfguU2TevxggbN+ki71ceudvftxCZcF8/ccdKBf9ZOS/xH6pqNv1FhzUg95N2gs2rnkeAAJNAlj0e8h3MEjg9F479VzjQkKiW4fsTYGFvbzAGQkJzk7lCvCzLOP7Bg9GI4j/Jq1LHCBh2tpPTZ7U+YPbOn74JDODOHG9wLWBCKESq37BRO+BqRy9Ezlduf/0TJxpZfKcUrKDnPxMGcuS6/+3nCfkbn0AniH0PULVw4szbgLv+rGrNVC/4bqlMVguuEGrPRG72ilJYYQ78VRscKEDBckG+ofbHl394ODKSUzw8nft77o6Fyl52PXv3koc0LuyWqG+tMiAUN5KGvsAyz74F/RT/naqjhrqMdj9lb9WGvCbG92uHA9Aj7wJ8oi5LAwig5b3T9K6ZAXmAKexULeLgf5dzBfRNm+L8aKXf0vKrlRb7l28TxW5uoGSMv6hpjcipqYHr5YLBCxDRU0adGYcHHLuRuBByGdUJ4p8B97FfX9Whl0Fs6t8Fqjgx93s2VfrdlFrPD7Q+3ySSpfkUHvPZZ/0l3r2WTMdtt0fwmpeboEw0/UoKacCtTc8yBHiCwGSgdIpwk2vET1942YBpf9oiP/oFWToqw8wVAP0CvYDBUEoQjY7HAXE0EAjdnxZjCQQCyQEQEwPv/HVPkVRZqQkSLUwCrZmgJe0AqU7JXDtIeMw4FUR+JntZxkZZ4Kf/BpjtXWQ+nacHgWApaWaJdULi1UaH93uDQ2+WqXF0jSKNnSfMQ8R8qS3hHka67shc0xSgvw9eLWWV4wSTCPH4/P1W5HQdD2iODlDDlajs5akO22exUyC8gbUUM/aiTK6ZUaPIyy/UxAex2HllnRsUCKNnpGkqm4kAE/ogLHF68fM0/IXVELf8DVXeibRimZ8dgXE5j2IbT0g7DeuZqCMF+YHWsIuijTOjUetBqPFyPfIGEBDEYS9s9BlVlyQ6bFhgLUz6Mo8HxSoO7D0YxccMbikzDsf/4w0CAjv/JY2gAp4SxuXZxIG74tXx01esn4yskj/O3VEzAr8IObpJzaH6QAt03K2QrkuSSUaQxCAFWPUsUs5N7mYd+uZT6mtqvIGOqjUlXxiPNMKgNEkwqdjXHowwwYWUcxiZcAsNJJQ16bxLS8zRZ3QdoL0KxO/x6BMz1tov5HRjrwX6GtNWqpi/8XBvl9zJYRx6ovSAVVxjVMpqccBzD6IgBGcZbMXwJHDFkTi7ENDQjn2drJPvhijZoGsTHlsPDMAI6Nd8ybi8qnwdQMjQPDKFS7dB3h79lqjE/zg88/3R0ZcasRPkWrJB/zGOO4/6kTNc1tFsrYJqxypDKw5/3dP0+sfkUwkBChYWqTQl0gxov6oqESWr4MndKi6/qP91SKoKvPQrdxigSHI4fTWzQkXrcpPP2HiY58FItSAcRHIkIaLL1+flOYfaRL2FewgOszCoefHH7L1yNTcnbhvWyzr2p7KxLtXZwzxwlEEWBXepCRLaXgy/16+897uK8C5/asrFW6f6eEUnsFYkZvXGQeqthn+HxY65yg39bw69VjH0G2HJed5OgKPwEpV56es96iC4UHfM8FZERxDMUdC2wKObZWO4Op01QvhYJPqHwKoOrHc7eAQWWs1d92Qq6XjoBrIW3qd6DVAynjxH+/NTX1RsS94ZUgwjtMuNO7B3jF28+UDDPOZ/vt/S+xAcpA2RTVFTndppUvoZXluOVx3DGaf+GV30xDJant3wc4Fihd9fuitFpdonh0IzzExv2u+L37qQOk4sp6/XWEc7bOXI23OnUoOnL3c5jSqncWEUtB8Qmfn6fNsz8Dw5f4VFk17xaodIPGi8uFgICg6TGe6gn88vEMcfZ9Iy8SdDGU3yUVthF+4g3n6GsQtC+K5uiF8cfhsBQi4SmHIeUGK8GHzR+KR588dF9g7XVaGI1tSewcKFbTCnKdkLNezb4bo7+K/t0Ke3VLVtK3GqmYEk4j5+XM0xWSlLEnO4xBK2Zxy2FApskXCGmPfu6mtCGGKZ2dfbuJ7B3J0zlCDmvUiOkmQ8s46PuhhiQylKW2Ok5oOYifbAP/MXcnSFQ0V3WzTGSw6OUd42r9Tbt6A6IZlaLBqMmlYyUtiKdmw1khwxa8TPOoFQF2LFZYrDJm3yuc11HoMwEIaTkykd/Kz6j3VSeHyn7UhaumZ9QdVmgAi5nlP+Ihbq3eraFMjhb7I+dwXsaw1Y5KnBC+/me1gF0etgIwq6kJdi0z416vfIxz81hnSjWmrBTiiWNnpOuAxS+OhK2TejZhDWrVk4p3c//eea6uHXdTD2W1vJ2R4asH9XyqKbFMBD5DPd7u5I697Fivj6ZNbJE0M+OUuSfHERwEpja84P7DROkuce7SGvsfUnOrspIGEnwMMBtcME6/bQHp8v/496bOp2UMLYaYSLa4ubv5+TqGNDM1hk7R54n0cxRw9HdjUtM/jJVyeH6evz1XszxF7DQvSQqVkmb9Yw/3fkJi7Jm129/eZNzIbXfYktcEFRpoPxhoGLjk9C3L6qEgNdp/EYpdqbFfTSKK/TfyE0x6cbZvo5FO+zv+9jBjGxkrn/2TOocXzqzcdwVZHeYxgTsdjwY2t5O/TxhTt7tCZY0lhW1QEgQie9ZLW2fn3jf7bdzT61PhnhcUvwKpR2aSF3IOsBrTlV6GX8wWKkdldi2jAmqAGPSGwlVGi2jwX4PeS/wFhmmHnVSDiA3RdUEKurj1w/x9BJgLlEubTCfitnmAkyCnnW8lh/vK8QC3cV6WdEkRkSori8qKaI99yL4Hh2Q5RM7kQOjqYhbg+VsOws3icqkhH/mgjtKAUUoqtqA+52r5g01uFFCHcknisQBqhPgYxkQjEl2dCvexOGShUDUlevwSda5BcY+LZoLNyqwM4v9F9nziMfkP5NVHCZmVMUve29+Qq0AUZl2JmQvIH6vsGp+3m4+5s9mpAAhskiCfCc2w1a62hzMGu6HSpvsL/oJzrZl72ScUZE5jx9lF7A0qwGZEgyzHjMcg59RrQNpiifgctuNTQktTr8QS0rMhqFW7MRIUww54gSJ8EeFEZM9hNOEMtKRwMlmA4E1nZA6oSLN+/0SoAB1JfUazNCJaJgXpY2JZdHYQfJ0aioYOI7H1TJ/gp3SHq6IlEkfneOk7PMUf1GquuAnDZIA0W14wlPMdbuZqmDqrEf5M6hm/QYHCdyevrtjHJk0EheY1vGrgiNeJTPuhlSO6kmB+2G2/reHOsRZ5jDPhXUKQu80MHa8xSpURoNWkV3OH/llw6ZOfLYwf4aRIlC4+ZSWJpx2nySWU9joXQXzNcTXRb6XVCXxLTzmo5q2hHIEfWuqqn2WGl1kVh6GeWGYsSJvFjKLYZlvv96uJexkN/uJL/k7F2nl/EpxEzXMgzLTBNDJUXb5FY5hnwkb+lRIT8HiorHY2BAdxEWnT6v3ELf+sg9ylHavo8xmi6J/vw0xUisjBtbPnpnkUGITmvhMBtPiud5sqoO290w91Od35T0BeL+JkBMG14pHEu6BVPhuRN9Q1g0zv8EotGM6bi7E+WN6hfo0fU/KCBn/A97FGQgLQdQ5Tyf3Tl+bsi6zQ1RByhAKnmswYCHX6kZ01i5bJQh2YuwIpGwxN7DJVje7V7GQtlEsgTYX+t0krJfgKZRVjFaodIdWsq9cs4+Fcj1+mGaf5fBlyVSx3vdoRR0T+nthIWyl3sHxF/yPEA/BWkmAqMJGd63Xf1qo4piQh9myYJpD7dVI1H3IkBoL4ZiJPIsgGXBeWg/Bs+Y5DMClg1bxYuOmUF8YYLeKgYaCsFmF/XPNFaJkQ6MrNskq3nmMWQXG0rLq3QNjk+zPc79feko1WpG2pg9sa2xj2P893+uTpXS7rWbLwtAq928HVbfp3U0GC7HrqUpVfpa2cLg3szySNIfRysoY4BJrDhGWJmg0Lzz/ou5szso32XAhiAlnbzrUF7fvDfbAY/MPxJIORAcYp9Py406buQInTokuJS2gAAxebC1nYhUkkrt/r/8jUkcjGlIf7h/Ug5Tn2KDrVRPfGjwfksTLBUr/Po2eSomGDEdSJEXY8qzwsc5RpXNuhT7O29bBMW7ujk7x5o4VeDDK8AMkkWvFRrCqGygBZpeKZ8fD2qq1C9PcMemNylqNZ7uelU47o4E72ryvNYnHfgMC1A5g6dApwAv1vy7OjY/6xAh6Vuy27C5lekHMB1+URP8jgVcfNX2VYugZHCT1cKjg2owHA9m/+Ma/6njOKBvoHsPlVMEAFllqTPphWjrFMLugOh5q+JeGN580pbKjJrvDf7c83Rt0ccVruhCvjq+sh5vkfnzq2nd7SKAs5bYtc/cexuU4KmAbClztWGOw7KyF97EftxOEtpU/UwenPW+ePwmx4Yo7sXHuCnYSkPGFTXNp9OAc2PSa9ZTMlU4fbjC2BFc4flm2lvCiy//3aTJ7h5SO0V8gx5CSr9y/3QYfByDcSpXt0ICjlApb4AYXNbdWsnCxEnExFa3Bldd9s29V570LESuLG9NcawxWBg8Xy2dLj/JYpCuf4K44sSua2HI+wDi/cxSFnC3tegsw3hl2vVJlElvaTjAfzLvOucokHs8vIEKxUdLWr9lv1Oyuy2kXM8IOOtTxZnMNMZ4yo+S+VI/HyVIA5sb7FF0tUbLziZlWcOTjdXAyhe9t15HyDbOqTzjr+PKplz/CG4vaTMVp7CtXu7rlsTdoMhMdeS4niPbSy70E5FLgUjEkD7CKvhZOpiItVwOLKIDeSIsIN0U3tctfDtg/Rah0LxTn+ig3kUHgSAsioZCv+XzP/2e2iHTxJD53q8OnV076iK5yb2UDud6p6vmo5BLsNcbhPtzJUf66/+HMaT7YD/84wdR6FzFkmqOvjWHZ4vCRH18vyOqD2AQjXOKAW501V2y4PrQR/GnAHi8xTz9C78/W8PDBBhpt9pV4Q/WHiVLq5yKfFwhkhft6NdaPPxIHC+xr9xCdoJWb/sm6YXDIGTmv/Z1skEXsPkq6IJUMw7c0F0WCWzkgCZ5cb+m+vv7g7VAJ7K2UzoqcA/A0C2EJDaljD6/17DfRZEFPgf4VrBmV87XHG6plhDtitAciy67tHNKdDClTM6ibvQuID/uIwVLRNIDiKhFGiIuj5DrPKQmVh0ZOCf5qusFx1ge0floN0zLWiDeLX3dimV+51czyNrOZYfgGR394BGbJuvWgJjSLOSf4AYQwOcwTRD5efTR8rXHRFiAJgxwxmTvPtlQI/rZq4iiGBtXC5THizGrYxTllc6rFX/S9bftjoYxEgu20sLuaCLo6CZQjjLeauLsV6Y1ev0or+fpGxauqBlnPydSvLS5yfzbTU5s/2T0gXLFVUSZos5E+aYgA2GX7YHPRCt3r1kMda6KMl1UFmkKojEhQfObUgUq9du8N1pPlHA5AzCcKfcFYJnQY2F1iIyibqcUJ/tUaoNGvznSSTrJ0h9O68VxEG4B/VEZ/W5T0G4ZLCTKZ6nRtZNqMBx+T5BuAPnt/hS2hhMkyJkm/JXFjpM1/o7EwBbe+i3VaVuGFuhkHCgEHfi0txXFQ5t8FoN/GNaovkb+evoYuE2mAiJMLJsrNykSFz760hrsR8YbK6+bbxf03BAmMWlMfKOpc8ShZQ77I82U0h7/VFdIE0fRMBkUvPaGWurcJ/tFzJ5oZKq33me4Y5G8NiFLeV0Bf5eeqsZsoTEVj6kQUc2hmraPvCeSFPKym3/gK5MwFFA5L3oE8VzKI0dsOPx7U86YpjCFx20IjvGQ6H+KPkGFczB5k/gRS/DnDKT43Gu6X3crunG88MZzSjHmcYlwGS3m1Jgz4uKibaJ9u7isMYLY2R+A1/hevqWgzVmZmGveQ0bNCoCSR7XcaCUROfrLF/LDsgGCmT+7lSCViV+ZunEg+lIn6FIGiDvoQiLFs1pgHPsW4EnHhUnkPP26Z4RqLZqPFGI0a3xaTo0AVjxikuRkkwqruIF7E1USVRYJSs3QYgw4wj1rdEABpiijJszkA55VOqa6lvMQyMJG7CLhPZcFBNhi3fBbGMZb39ueZtatBUHRpn1p2+Q3EoCna6UJHwKziGZfP5qtoJ4t6NyOt7E2/E58hitX3A4e/1H4gfJbSVd0JhVo9mGo2rcOUXMktDnnuO5EyimH9/NgvahBwEcMjMTJOs0bDMAROWINwCGiVmf5BlceAadzyS5H1mtmwcsSbTPkqi2HxPIaiqRXPAqP3P/Wls2NBpLFutf1WVzSOsAmM/SzEA2xwrXQGcpAwA3OHlA0eJjVymVrEu/2fj/KvKFeKRk6HBpzNo4tilKoTjh6o8G6F/LdIoS7vqrdSNSS/YTr/ug/+zpdY4cZD1NsKB+8pJO6wTaMGqs48dyvELedEfOe7XPDtwb1xE6dd2cP6mOOLKSpF2Oohsq+oh4uxNxRrut4fUZkJ1ufQHDhuxvEuUN5bnq4ITORliC17wX7JIJouOXVHkiKgXx3gkA6zyy916rFkuUKR/uie1gYGJm1x2i7n/WkpP4lcg7CNBm0I5c2Hx7wYt1pX5xOPmZC51dHu03Sa9uW1G4/fZC48HTDZVB+gu4/sbjPO7tEsRKYqWYN/QywxQOvSQKshWRNKIiBEsA4wquwobdCXbUu1OyELU2D80ouFF5pGJR5lLMKnjvK41GO9JYcAPicFKUPQQaKB06aC26E+evP7u6dst3l6Tfa/mze2JBBkGnfyJu3r0lhiP90hCDV1CfNHZ3rFlVjp1rKpYRdeq//6K/vB4q5R5d1yX/ICdGuhvQCua25WCx01Rz/8jbIEpwt8AgvovfpXNR7USNcORooMZIK6fwwIyn/eiWxyj11t63DeLbfnwgsvNtASfPIzqwB5ZDZv0BTw6ZBcQk6T6t50fBo1rNZr/+J21tVCjZlvU3MnDb3Z1nM7o0GMTubv4oY2FghVK4ahCHPVslWpiNUKf649fsGkyzgp1+LWzt/0RY2Jv8TgDJJLcklxExb6ZbuCmE192sKP6Z3yMNOPSvNorexVucU+1sVMDy5fpYhhqjrK3cyX/3P4BSuRXH2e7vJ8yOjVSV46YFOmxEfdSEgURBqmJoEYraJXQhUG+562WNVDO75DU0/5kx+bS/arvYoFINbTegBeWOz3ItnMxj9EuNbvnCrAYvL0aVxkZ//Vdab/C9z49Dewp9GTCVO8xH2fQi/wkjNEYn0lsPjyCGLIGoJmfoA1fANjBN7h87u2vzHydvpBK79cHVsOOhogB97B1eyC99wxeDKTjli34dGFFnp4tPfN4iDzS8617ZgUa86uBAbD2CRfoMR194ZTkNp3HJXCd4FqvMS6Wi6DSU/SeCkpo12Bvt0CbtX+mSkrcXusSJ2TCSjA2ocP9uzqHqNnNK42fzaP9Xk4qkrKTSxgnoNfqBvgovTESK/BG/Qz4+JJzfBZ8cIoVL3lZH1RSY5Bdt6BWar9pZAlq4QbiYiF5QNioLvFPD8DTGjAWpVu3rVtuMC7o7Uwdaw1OQmxSFfGg1/mUX5WdZ3QziamgrsEx1ij+EVVlkNNKqcrnaGZcUgvWG3ISgnByqXfswwaeClewkNyiyEoUdvkHpG5B9tSkDAtECDC5K4MhZNLP9CZya4186Q7zBpQldYlTSGwpyEt+U/8HzorGZLAly8HIt8CZHruLyEWM3rvhfWVz0MnK+qDcWmWiUjBXJ8ssxjBrpITJLSxuO+Ift5sR+C5EgT/AZhXy50O3FoNSl/JnYaIu7EEu82N5G3xnX0I4ZJlT/jL77KMDCYFwt8NQnE8vJsPINXozD18yYMh4KgfAi9HooE1hgs95kK6uDlM3zoeytUQja/zcB4pdsPKM5Od3Q1E3hiiryX7sShKsqAWFVFkM1QFgVghm3aM8XPYYZIh9B27b5n5Fp2W0CkyOEdoNJeYqvK3/ri6P8q/3g3hKgaT0kLNKh+m7Z56YK1NMYM5mRl+e39rXUI2DjS5MFBmC7yEtDvPDV776cNw4XW/4lGqazK9QRHOhFRBtqooSmXacX/bV3/7PY9CZQdUVEFnVa/YGPjahwNKRhCwP93DWZ7MLt8WNKr8j9t1irvVvWAXbH2HQtHvtagnBlPU4qMEugMUgWhS/aUqvKXY9rZlDentdHRq9zjsQ8Ni3/QI9rOsaUMxlA8bVyOkObdoRwuAaNdOfh7efui8oOUovJZ1Xp/3oGjxSstm9kMUhRHxWf1XMiauuw6pIbDJFhNfyBqychMQtSrREvgxxsDM71KdaQazLsPPHf9t5JCAqqeXugtgUvqXt1OUSCdJ5TyT4JeelmtmGtg0PAO1RJAskaQukITqQ8U3/ZnNYF0uVv8UToAyJAndmmwOmj+uPNdfzEhCTylxgqECgpb5dedZri+rX8jIAtNVw0kcJh2DoN0Ee930Byon0s4SQKqEA3irBCmYtTsG8f5/l2cwmh4jp/knpv4EzK4d46Xibbp9LMt76ChPHvZV8PdHizaQLfsTX/y1roVT+STRGjGWlPHRjQgEIV8gfC82a3mQgUA75tMTgyvYbmk+89p/VSejpPdugDEzXuxphwwmyPfsYog87pyPdqeQ6Wr1JJMjCIR/FM2AUtgR1Hw3TlXufqNcNKlsFjNmc1Ky4QM2F2g2hNUnTvPOaCJGvw2ejQ6yU6h5I5yr2huwl6vyb+uNfug8u3aLvFQ/j5hYoFcTGE92MXhiRiLrmNV720Bh5z1HF0X/965xZfdctKLbwwQI7ve5gfAFQ0qx3USBLYuWP2VkRcPQKGSXLZd9FfxN47XAycxD0ZY0ORFdXkAL4cGf7h19Um6XL+Tbaq4m2UCV8Epyya0RqA/J9DscYZs78ChCHoM29SaDwR8tQl4ugwagQIfdRS9RiCcpTzSxME3QX8fPmfeAFoEs8NBRnveCAQryNc/s3NJRjK+blS5qFoFzcRPAUB2JOv+n7AlWwlscMmD359gYynzauharUGnin37Ii2+dbmOg+awwPGITIftJRw3iHWFUVhcH4PHLo/KSOmmRgoL8mvv/srYIQiYW5EyhZ4BIYGli1PrSjm1dEsnHJ3RX1otNFkbvvGhiJ4akUzRAzE9/Oab+uVb1zl8iD7ENY8FzVwqEe/8QlqR5i3Vu5Fr6+k9QZca4NkhjH1gvpTF1ypThrK+7PxZVdrvR1az1Ki6+EGnIXlL5r32EuM+sKlEsbLvsn1YDmVfTQR3XnrhjVPyxVveVTcAR4O9koSne+1BA2x0nvC9gw4u4zyoTeFGc9s4k5GexRiYlHjOTOAU8B7sOkiQI4m31fC9J+HrH9cpbKc7Bv42pI/ljWPFoTf/fEX85WB2BHIW5UHiW4KBNN70qZlyb4YITeDo/XG8Ssva0tysHBSJa5c6fAHujyNMIhZajwpDqI9MNZrnNaCLPM+NCsuRxliaTz7b+PNecViyOOrkZERqAiyRCaLsvOJo16pBATLGJSzLcfBK/JIJfX/fAHFhkXXBYHk12uSkSgMCXsiL48OnNW2LryEre3/njUNinjV/GXfbzRQJKnx5Wfp+d06rD2T1VaNGNrfccTY0pbfjHTiVIYQ3EZ1OJfmFBOfXgWyHQSsnTMA2/x7qziNohxRJ1GsdugC29ZcOsUqKQo5BLHremfDRR3XkK8WI6kHgkbjma6TCc65/ltSsrCStsAOBiJtf3aJtwYyN6H9QX0LhPMtjPN7WkbtwzfC4qrU6cXjQ6UxwN8883ImZ72ahdlDk56W/1TfLi1AZXC3N6YJuYsXxNiGp4qWyIpZLmYBTrR5BnVx19QCfewjoY96tB266CBrPXRhWlzJGfI0iqyOIUT0ZmmXZcMjpzf7u2t6elRMTwIk6DSTDqpPrN+IPmONudd39Qb7KocXEW5Utep3SUStbJ9wNr1Jk77n5nF2jH7u4J4moPBDiATG+JpWQDWldC5t/vNtccnVMiCijbhC9h5BDzpyWa9KOmzW9SR+P4T//1Oqaha7/QKbAwKy+6myk5D5SHCZlCpdYfCzyxfOvfOu0P1OyCrJV9Sdk2xvToNFAuraR8MaPfQSDl2ZYu5WbPQgpzsgdh4i6QS24K7CFlcEdVCaMGwxOrQvn8L9oPboQWtMYm9S/8T9fcPQwR4PaLzUfOxGn0APzOiSBpXMizi+IOjFLPLBKDjyOhSDvkVBcUcDO36pxzwwxtY+yIIyibhEwCdh9ip2flyitl4MXEtcvsMBZuCK03KqASTRLdQNd7EwhkPQSPDrQF+tIq1ylNrPsPKLH5UxVwAgHe9JTrdzhOCxrRDcLtA7Rlc08kITWrHNR4o3D161BA49NXwmkt2+4BUPPp7zap86rzviOpGZYsPkzTAmPHp/FeEH7D9iXQPjahPvoicHdDHoHIfQZpwc4Yq/CfRHS7fvTt8BTwkEUIKKpvNYQxUwO5E7hH+bi0aB/9kZqcTR2QwtoDfeGzuI8+8FJINwy8gzi3370neTnDu2M4j1+Pb3vYtE4HgJlHF+vqrjpNmdQu+uvePdHGl0kCahw0DS8pUxuzAO2xrv3uThbmJWu5ctmAlwfYR+0JqRqujrERBOZT2gr0f1kg/FilyGC6yJtXNfwVhxF0eBXb66b7shR7eUdGWLvp/NPm1qHECNehrwhYbKsAGiazCISiItkpGUVpV9nAKZ0N0S8Qe43EgnrUKae/uybYhnWOZMbRCGhDi2Oxa1iw7xBi7rIDs5CHxd704heKx6ojyK3S6H4B5S4Qs9jrT8aZVYV5u+6+oVUalncKp/3oDHBmgTNiuxhKpW13YJdRFRMs0jgNsXHFIvPlFdlGpwZHw/gn2T1UbbVbw5mjooBbNE4fO3zYgs+pGolivxDnpA+WAO3pQRqDDODsyz88xOcytS50r9k1XsS2NGRdTKB/WL7weSPFHssMvjG+vCeXZ5ROdfN47yKQkzUQcoGSaL6subUCwzZAnYF3xOquQlzvcaX67ehbeLixjvv5cZF9ZOxBPjNPEb1bQO56MMJcekxnzWJqFBMv2TQclPWlf7Wxq0l5hrUfQshRQzXwgwurdb6TwRZLH0/UsSOFZC3M/eC98g1ACPO16TfywPexwnvd1xH2/TvxWzMI+u86RBFtzW/YMiclq3CwxZexTvsbwTuTa2zGVb0HNkh8H7T5jxzopKYHoKOiWEv1ro3/SKQEIS7aE3WU2iNsy0gw3038TKd1NffgJN7SEbITDRaBBm6r3RmVNL6WxfjTx3tnO9Sb7C/qbO0faQiR4iDYtaVpYU2bThDumVlzv8RKtEuLofvS1Gsnmk9tQk+mX95g3U20LD2Ht9FAh6KBMT2CPwoj8kTh0eOKbvtw9hZQRN9CjnYLqjLK87hGl+WnWGVRMOtlTysSvxsdmtZ5SuEUdNz76S1reu1A2B0cizVeDm/L6AzYt+EmdtkVvRtEDXzagOXfOaesfMShfT5BvleymlWovpk+2F0Io5dhvQfxXWVdCmz77pR6AIObsNwvQenu0NH7gPzce32OqEx7uzJuztIAyAXLgfTONBUwU8H+rgEgu+6P/S39ZQxnBLqCanM5E+oWic6iOjliUntuskxqyoQjNoOGSufhvAawZDh3XTHeqdgXABzQlwjBRzM++jJQzvpqwz1dNYoWFJd/GAT8FOrUCvvCK3mIXzy+gLgZ7x7DO5YBzZKJoaHFbRjDhSXL0Tjp7andKKo6eYmuVSnGN1oPISOFfBo7fUUNIBgRVtHgF0y+uywXEsKKk4s4NLZASTrMO9+aTIwMpPVnzrhQRzYhJd8hx2e1zvg1v1Axza/xwL2Lph8D9DNWna1o6YqZrPB63QI3EyCptRIyABNdviYZ5M0cxi2FoXMC1wuJPK8YV45gid4Fw4/4HW28pTNNHIgQ8LpbwiGWNYEib9WzfMOPpcA3p+Swqet3X2ghnRjvOmN3l1wymTdo1YJj7/CA7Na7A9qZCiQB0dnx2VCyi3DW5exaEzZ8SpTj+e5oOosAAaIr38PyzCcLdKxrPlhcVrOf5TXzXuZlU2b2V2u73iI1Osk0MtxuC2s7exgQ9eQ8l/tNGB9sHL/5QtrKzscPzyG0u7S8GhFym1nTyGPCPK2Kbc3TxVT5grjo/BiEg1GsOxYiJiui802EaFUg48JBG0XOW38AhNYeST3IMNMHmYUEJEnNWcuKYe+EhfRvCUdB+huYkz+MwrJzIl/9/Hng1PxItKkAN1bOfAWNqFGkOUo+zmgGe0Y7D3AxFALmA0e/B/yr7fIVPKi0LmLjEw9Kh0K+s80ugx+szMXQyRz1d5GJCrBS8/ClzcX6EgiWTsuOZaB9GBk02hQYijhjq/Q9797uLDsI7lPEHeCD0dg0Z3gIy6flqZTzZdXc04J5YJ0T/wfto7m9Z45UQziKONI6jQQt4PFqPJQz4sgnRYw4vae8X3yAHBXpVlBkdNeIS4r4r+3mj7OG9PJTU+qKXoRyWP1vdauFEIG8TcNY8hDYX1cwD9ZwQCJvaOitnT0CkgSUT456+5M1ILKhv9uZGMefVZUKed9MCrang+mYohQFBG1wUFAv3O8J5blMKEM2yJtls0hiarsDwyCP4+y/sA6WeK366IiLALOGKxIbg1ul7A+7j+hQ+i/i8Jop6VpSLGLRsnaUToJL+Tk2O9HEtQ0ZLPQFIyy+7KvV/Umgr1whhqgEOBQ1tfto/Hd/SZ+zYndWiIWBAmdddFavfGmyZMXZaDSIF+dqnmAmssWrNo78vKT9HrbTJ+HPbytfpGjn1+XQJg/Pb8jHPBbfy/kIeD9y0AM3T4KyI4HJXXm2AjS/z+OwDa3Nh0oBvDrS19u3qMgzkqBimDJY/1Ujj8vm+abAJv+H5ON444lLb4Yju3QSkcYbb4sF2YIW70RMaOUH8vJ7Xmb22pl5aVYxdME2oLG/9aaoooOoc7hrDbPhsN9clefVhE6RIJIdiGqXcOnYcRpokRHa62ddQXvpZ7b10sybsyshOAf89QE2JUlfFLWBmpKRP8kD//TuKfEzJZ+st5yC9brD5Ko8ngf2/pXFb0GruIsN7UxGrP2xOKFDp2lRJGWbUUXvGxqj46PR+wHSUphT7Lgnad2hRomTkcV1vAb/RJ9L8OLmEoZ+w/y08xrA1to4qouHgYZXABXNHVglws8fmq7Fqu1Xdm1aUq2jaXhhxmD3y2x6fuNxXsEnCvAqYqhe24FhJM26AtA1l/B6tPWUQkExEgYvUPEkQ/lA+J4ezmkK9s8s8NMkn0AK5l6B0x1GMn9Sn04OVmPB6pbcJ9V4rAeTzu8Ew7Nmou0AkHYZ9m7TBfPE9IHgDlzhlRUJ/SRFleLtiK76askCZfHbilU1QRQrYlwB4i/DgxoQ1qDgciyMuaO8nGmlE3/C1reWNs9tt58GN8KJFffS38OGLXoAkIW/za45/OBMp7TIiAjmFyhdq/dG0LzKAs6etJagsNzI7vq5wj2wzOoLLP+IQF7YaoTjagAS+KKVZ88qBZqlNcWIjyyMoqAtB8zJ1QogXh7StMufUTy8Ka6V06W9vsOk7JoOZIu9sVjhoPwLBSk1bnwQQdMDE/SOVD6k/d4bF7h7GY20Ex6NvHjcG0O+ViAedpTyNj+y5G638YKyr6YBUzWLCwAWTtp06ccqUF/obuOoZPIs6HLtPOVRP3EDZIgg4SIgzIfR+DHxKN7baNLXHoM7U175VkMfCvGcLzfzQwOMkw3orWqaTkxTlNZHILNk9GhOnzp/Ou/eXT7qDIEJnaUkkdQvjBPH5n6G5WfpxLC0FaNmJLSua97ZfS4F+sMe9Wj93aw4ZPOcaX2/qaw3Jipibz2e7Iae+KSWMznp71TKe3EvfXjj5hcY3KAdJuFDtJH7IelFPNOSL0scQSWp0fvFImS/oZpVCtdieuQDb5hQx/WI2kpe4E0cJUkfVhhjZH2f8XZHStZYiHcoW1IXJ2F0CwUnUPYL7i0x+8VbN51b7N9q2ns0yVid6CwBsfm4Qjxnrmox4imensvr+SKAr/CSNRlMOWyLZ5kg3uaEEH+yiryojnqdYL+bHir80ioI2rau1js3K+J/Lltpt660xDtFzRRjNNz3Hbzl2Phf851vin3sKfOLmg9kqUi/LcTT0ESwB0Av6WDQEDhmyl7bb4BkavlXeIGUu3R2nQVuOeyRbZXdkfPgCKqeu/PyKttegI9G+wE4KclFjnybtsjdaLd+FElBrxYJyOQfDqhSUqgmepDLmBKeBP0x/htTffo0uDtXBhVGb72NlSYPLF5DhAA5wZ7TndKUe20WFX9kX+I5Hlvx0SdKdVSpBF74o/PqpBfSax3IxHlsmx6rp1qaAqLj1+V8sm7UvS36mcbtd1qMgxX6vNvy25ZpCsCcf3UhwVAyo+k4xZSWlOw+MnjYzKVQYPzNWtWUmUVgfKg03yFtPWM2ycqnoiOTBRoUmq8Nbl+ceOcSQ39xHi6rshb6ZbtCKS+hgd3UUIHHfowVvKF28heMewMEAbKfU6BT4DNBU9/WqSZ2/DyG6F3wEJaQNyDn8LQEdfAEPAk9rZl1z16Swa+JHGlwEYXiJf8wuZ1TKi01bfUZjaRAH1mEHcLC+ImUoxPhEfdfruzK9RO8a/A6eIsg1jOp3mdp/h+ktPQ+TDBIrR/KWYMN6m7/WSysbEWOJbi3ezYpZG2XVbJ0fOWvwkWwlrw4QG/eO5UNJRDTm4IlfAk4LETCYlzWbesEb2Ds1EtTYhi+HLbek5EbdrTuk0j1vvk77WrRyX2KP/N+1QZlmJ14uABM3ldq7Xb/LavtVit9lhLmCWxFGoXl0wuwMtIFl3xoZxzdkQ6vEbvG5vVARV30teHIhRHRgjZKln1rLQ4dNnGvbtJ2tbjpQJ7sGg8DXgh/nsZA6whyYfe5h/83LcgPZs0Ft90Aiy2AXG+tfwaLvIEz5Pe9765AhA0NdVYN7cRkTF1MtOiNoOfwLpAUfeZRKWva2xZf8TDCZZUaHUZ5NJFM0DQNwoIpz4bESkVIHCRt5smCLVMfmXddiGoc4PtZnbWY5x00atPWv4JsDhw3hRFvONrEAH7jVXCHVKQSqujv59jGg15fPoZKIKP6anTnZMoY4BGFbas9XnxZ80BSLu+uGd2mKVFA5fukQEK20OFCZPO1dk1SL9raYwFTRSgO1Q6zzmrVrVJ+M92y6ngQIJd2MvJ9vizsxDemTYBLnKGGACE9+SRvLAX150rCf7DjZvGYHJegAoILnzEshGiMZtgSNJJHEvH4TImP06bGVySQDQeDKCYIRaE2ji/mgxTvCwu5aPx8zZAra9tTRKvZCs+lDKqmYa1mT+b1lAX0tbWCLhZMPJ4hPhqUHxpxs6PyMYwGNvsD7Mxt34u5UovlcEZ87rdpw2oFu+Q28x6MZ7TULzn+2XOjkpHNJLkAVLTXWH4OcVeVIZ/qmdgE3cUmgjEHzNOIjEhmtgI5k1HJzVs3eRT4/bCiAmMsfxSwISYgqinmvB+MIzTYGKD3o6j1UEYmr7TfKXD0r3FO7SEVGtcuxshtL3P55EedXYREEJHNtr03fBIO6PZSI9L1EnJ+CYz0pkp02LftNM1Jd2FIEEgkTYcXjnUG9Kmk36xyG0tX1Uhwt+u+kWe8V+48F4yWX9zWWCTHQIJJFEthiBB5mv4BDj1im/ixuZiYwud63M8miFG/RQcMlqHjBd/dar5hi4D5aJJbqQjn9qpP/pSwIg/m4NoGdQ6yiEvmRg+hL43TRaFJVx14GdyVNWuIf58FAuqArQZzgsHwg1cc0w2UQjsVj3cZwWFZiLYVjXaQmdODd7rcRr4nJmj2vLcqs0fqaisrTvXR3z4aceDEdW0nCh7vJ3+HlHUG7OeC2aEos1B0QNkCAmal/yO5P9OFbSiVKjiQQ4aGapP1ZHrLvtgLluWop16uoeWSKH5dkmuGRUeYfhUJqv1xSBzDClm8z7NjOcYTk6yT16T2GOZzk0P+5diJnd3J12BQKVJIj7Oyo9CR8YTfx6K7bBtH4B+AKkwlkntaExbPj3otQ+G4nGR1or4rSlslJX9AxJqH7pibStOITBy9fUMIVF5B8CGRV10eQwdXiWuBiThavqsfIwLe5zQrfSVwn2h4CL05flmU3H+uZ80XZFwYpJK17+/0vXsS+MZZVEqpzVLP3eur4BsNNL3lHnzT7zKFYYU3pv5OqGL60KYwtttQHc/3hVfHi1IHLSeW6/C9FFuEzdpFwkEfA2V1y73lR7fH+f3XuOE2b1FgczhfTx4X8bjQX+YX+i2eTqBZVoIVOhB7G51rdNBTfxw7ZYMW1mLUU1M0L2E/vfG6CQoW2Z2F5++H+6kR2oIiis5Xv28USQxKAEmY1HsJx3TVTrqzkfoxOX6FDZvxq75J6lSEP2plEJfKcmY9m8U9kjfH0UxNHcgdEsKdlbkXU3QFg0gwgOPyT+BcwuHcSg6Ojnd9NBCsWGGPqqfFTOtc2VbH7LJ5jOwSIys3djnU6IdADfQXLsF2SCnGu8B6V4nAmeAXUAsknFMux+/7/NXaqOK2tcW5Ht/OX0/V1W84VDiupyVcGzdNyoOeTKpt7JqCHhIiq2XnNBXoVGV8zcjNjlp1k3RwnjGFXBe7RICtqzgO9uQxaMT29nMarmLjx3oV7X/OoY605MefKbmHZcVs6hXSiWDi6kIYbx0zD8Gqd1CR8pxMBF/9tlWibh6eD0Sc0vgtEgnFTqxi0iTZyPeFelWReCLSfCIZPHOfYoA9O/KKt5+bDmBEL5ahGkB5lThm1Hs6xc3a0OTpDnJllNxrgJyVrhxJ4Q0pde6gLP3PF1/j8yMz542dji8NqM5r7juevRt9JUCXNbH0epD+2QtKf707dV96NVBw50f989HLvrTnls6uuLkC84hlwmjnVbbpym7QrYZdzRTXweO4QKVKtP84BIwQUWEqEd+GbTbOuZIxGzn59c6+N+oHj7mi6TXYdIwUXb7KTqS2UMH7YaUiGte/T43hjrhqLJZxWyvMw8yTayvYYrEqXmBehb2DWQMymMNi3CnaU8Vz/aiPBGPvOkqRI3A8JLemrL76QP6cbm/7PwA5DCEMg1gd+eoSCVwhttS+N3Wh5Hwu9C27yLPZ5yBtOMYmBlJSXePziY0G0X/V11AeooBlhERd7PMXJ0MKyvR7oPnJzKPxMNJE8CMvnZvA0dczdANS8WFdNhRE05oCIwHiTjnLOhgoOUHBytysrEnbQS/CayjCHpKc1MhvPYRy7xqvPPy0RtOU03NuhJIfxUYvIZXWZcOVSv2fteSYyhaJpqaCZzza4ZZF3vr8XD09taA5pm4d0KJHTBpzAlJL8631wqXg1f0xo6L/eWzD52VnZMZ8U4Kp8eqK4jJRwDhzrgNN1oZ4aLAxNGa2QqW/8WcWsw6Nxeu7NUrAq0Y7SWl6tXhfFkkUKBO1hSYe0TdDSPIj5z+nYykU8vQTl3vTaIdYFYar1EJdiB2hvICSrGzqFwLF6R5VDIljoeVjiag5cegIamJseUu/XzS3uNnKFQeYux34rLa/A94izSrVDOLsiAW/fimLAwBHZSZDJwhIZICaLlP/VJ9uflZ8y2FNpTopNQ0Vc6PkNmNRW8UULrGkdkTuE5t2xbImwpTcu11uRh+kUTq+DFK+OzVY1EL6apK7jMRzCF//GEeWNHfDBBJgrbgEifOIGFXr2EsbfC8UdPKjEVC80Q+7AgtXnef5SMVaztUkzlFyV+cXrU1oJ81Ym/hepyumbW0MyD6cei1K3subW8p0hwUEz6aH4nxKviogsRk1AEB701fN/iuT2Yuvv6uLg3NwolUqfr1r3GxPPXqJitBDjRWmnBod4S/85M6yVbDL0lqpqm4TvPaGM64TOYMlVQLJ/SnemMh8PnZsC3xSSKlu9wn362jnskIDh/arDyx9EqS13uXCzuYc2xLAY63lIyliUzSENqx0hnHOamfP1xFxl9aG2wHDfraV8FeHiA1xp0WQZsqM3mbzi4q5IG5upGbCZIZVg7QfgcUD3e2PL5qalDBY1Zots2EWBvMXELtAVFLtEbNebcvtfjJIFcMfmHal3apeKS/tsenq7YL66ndtGvy6qvD+mjEJvUeSuSw1sKe9U0OkFMnuXRjLX5jqQIWsXZZ25Lb/b0Ttr7afNbNFXPXkZbkOodvbaNmt5XKJCk764mbVyhXXBWRc6kmabeBbRCXuTaXubEu9Hb5Noo98W9HBtEqxsI6RFVZ5jJw19lGYHMeDsyLHMGkZ/LPN4jxHofW5TfVmbJTJcLtu/Mr4WDHAuoLoAGnykVM4ZbMWZTszXVeHlRgxAd58BFTk8YNN1Oxc4IwoQXDAB9/v10OmE3mHFOFuNUSE+CJErwBS+589HzQsPMxIPpWoLvI9SxGRRbRB65pFSSFOc5QkcF9D/xz0EVysdiRssc4EXKNvjUyF/j1NWKEFNJV34I1IT++xpjZP2jAaIDzHkYyK2IPzpR6F+7gaOD5MHCGRq8tR41XcpaPmwTeiELWDTI4eCpa12a8M3ntojxF9DlVaaifJmLno4+WMQsgMPtVrTCzZcX33E/OlLPTCG8x7kHD2hHBuTk2DWtH5GIVC6DNfJM5NHyxblkUyHQ0Jecc4Gny1/exT0V4nMtIQfe3oqXAc8tNv1ht2QDiomq00bomW0iIwbqFzhWar012STWGDyHHQRLs9ACzj2bXavdj2BNOp/v88KAH2n6MlRyCDJ+DFjxIvuSLVtH2AbjxmnAH6tS1J/oBhllPQ9dgEXlVQmUYsmOzev+GB5Ss+RFMo2xxIgMyvVfvhKvplSd7rhDVp9l5MUA/IMSWZo2NFRVPrXfbWhqBvTTSH/W22MdozPLBL8+/+Ikt8rSjvBuP9yv9zkWpvyaHC9sgE0gXr5ujqUeacc0Y3Hj6MujYlPu9sP3O6L6v7QzsFsiXALF5QGuoIk/7q+Tj7zdh4l2JrCpPyYrQOpxbHAP7ouSrRu9HLYpEZ2jSUYw3hpkE33xNEUxR5M07u9rPkfKtyY5JIKtsAJC3G+xhTNOjRvdrj2NRCAXJTEhne5UGEaV/RXNckIbTYck8PhA/w947yi5DExadwk2bV/eWkzpkJa0eToulce+ERHt9AuGjFHLntXGCc+xgGZLcL/6axQoaA5aD5OUmED3yPLUjeMZTAC2aumDjL8C4e5SGy8a1IvfMzuCx/3T9ZVx9aV6yR87ZkfO3AYUPjtaVI5LNbJN8n/1rqv9rR3VFAyMMgk6j3bMTsUwbR2rrRJm+zVBTYcfI/1drL2gvNLDTWGjsvfuiinG3IKKHkYCs8ttHDRK3j6DQWUWnGVNpIq8UpDVEGWkZjc5NUbaGS2vcBC2X/C/+BtbwipVpdBBk7bWoHg6lov/O5FMKGA5/9yKUNKfpaqzU6N9V5Zmg/aGpCpiPLcm3A9q7liLakJ/SXQykbgqd42JRj/NzhN608DMYryMlcJV0G9+MNPoyjca5deVE/tw3lPEiGBiPEUUx4cufHLvgg7Ezm0kObHsPmRoQHZaCbv5Y1Dny/ue1cCkyIZ8KiprdNLFC9jGVtzWB7R/3Pw9TXVYfqE5Xo8vheGBcFQw31bf4oykfoESEqwCziKQIAWTBC1beq/536NV6+DMJscaVyI9fWI1c0rREGKuvg1/UDa2hQmPnKT1YWoVHNuSJSdOi/euVY+gSJuY8TKpGX82YBzVO2dREKHP67JPQpnw277d0cYxgNLeP++9Hn7w0QnpfHRdHig7QJ7UMbRT07hBJkRKEW3S7czpYOBNp9vj+Tfoe40MfC326vE0YdQQx9W2im3gD3YkshLAyfwefYSFo3FD5QDNYvVyrP+4JtGqSmAX3fY1g1d+nuh2HdKDXGgi4zZI3T62bkP+qZsLZOoinzQJuLCZ842LsIUA6dAPzZQugyOc1YD5u9bpj4W7J6/sD2khE5YVXuIGZaAP06QKhmDFmzCoQ/fQGWRYN1gHoquA2zehyEbCFxXofRTPzxzbsRLPzn4ST8g92Uz5boZ/0nIe33bM/UV59Uk6wag3tUtw/LXkZQU6DkNsLrfdCahvI7sDchqWLTsSBfiiTzgFkvOFA2w/6RiTLFfySYGBOmOa76aFr1rC15Kcgf/Lsizg3oG3yilvanrvUfleCwE6B6yrDP1u5kouMHNysiweK+XRCM8pPHu7gyTV2E83Awez0+23I3hKZVruIKuvfa6+Yz7kengV2TRXfMU0LNYS7crvi1857XsUX1rON5PKQSP+mChRSmGnbhubYcQu1issIe/H9IgB01474PuooBqg97rO9n+rUvExwyj2g47NlpxQmA2IE5oNeZ/5Jn/XoxzNEcvjmO083iQHYjh83OMAtZUft7BPP1vzFdaFbtpqpfzHq3cWpvXaf3MDqhub1+xv35zx2gKXK8XP5qqxaGGG+Ka+YBj+xJHacbY/XfMquoJqeLAFPuF7WJOrqplt2quGtv12gAy9xKNkefLLcdTO16DYCTdDZBi1N45YrW8tOD/lgQGBGCg13FNzIBMuscwY/U4Z63Rfj8DXRF/qzwi17lhdAYqYOW7hCIdkcbqVpipcZaR+DWA3gipxx5ztEkuZ4RXUjhBUMvzqLn65MGxwSBLQWE9bRn0P4A5x/ShNOGPz+3pP6S0vOEyy0zMMLY1jwBcfU1ry1JDQRaEyKeEypohS3GD/MR90GzOvm9+gtdvxk7p9wBROFsZCqio70h+xbT7RRG6assT3+02krHx64WOHoso41HK6whdv2/bHIi4LyOlLxUdeJld9JrkRA0MRnd+WV0M9eWThWGOsNY6363hfFDa8ThbIxKLab28VxER5vL6eCH9Z9iYMPDHEqnJZeHUPauFZLxvGVxcxue6ArzhbxL9m9UV1ilOYxfQHqVfLvyjdM3bvzxNQVEYr2rg7B0b65L0848DMVETg/ytJbhPS0qXmy64TalA83E68YndvKZLY/RkGlLxXDI4gPeGJsMqQ6wVeVzLeBDdSxIeK9jYSbjjsNZhTiL3lTCeDCVj4lNFL10buAXeVzniCN/npJYOoooPm5DrRPP7myV4Rjilwf+jHDdeT+RhQnfZ0nmWOd+clVErBEP+pHJZq7BWva5I8O/5gMiPQeOcP7/IfJOFZinKWavRE20a7W7ZA1jfjpAvmBRs73v8jGucNOvUtZrb3wFh2PzVYamIZEvGHZn5vWWCHdzYKk4hKDFkiA8/1rVVW1lWUfB17s/Wst4XkUqGdgnCw1ljXCz216OkLx94rNrJcDXYyF5FPAXGAqbjvkzmsxVBpi5ttm0++IpMcoUmwILetvq8FIZxLo09/joLjBlqN2HqvPQW2kRBmlG9KFdtpTwcKvSkh4GwJ0EKHL2FbE1t34K6CLCCvTgWIGH+2iSg9nD+/wTeyXdEzcGLOAATIE7OjgtyvKHk7e/MoRXv63y3TsZ9NEkB94EfeICQZNXI2kQUE3xUhEbS1RHwPOBxT6HciNJQ1XbJIxI86Lq9TlvRuBEUswiLsrNYzR0Qxn4/CZZI0G0v5Fod+vkJZX+L3WnkaVuvUJeB1s48rwoK1FXvBYkydhJeD1shF649B0yQTLeCvMUAs+cZIMLwp1vl7S/rEokEH6dpzbfhI6Prn0unb2fx0N+XY/7lw3sqscg2vlMgEDCwL+UWZ8SB1ZJw3KJ4ymZFhgv46i6Hzbp09tgL6IgoYswgY+/Fde+9M3ELReVXWJU4CYQd8USIeTwmL8/hwcchdGjYgyb5+dBhJvdsGo6mCWzWrEiooLQRe75AATQ48q/uDzugA8Mv/+RHB9EoDr273fu5RnzkYDjh4+6iyH3zf8VYU/PVW6it9/4RW531iHbBr2+4U7RXaUnqcBxN+VuiB5U6ydvlbH0Q9Uvqaeswwy6r8pmYnkiyGJaEYXqeOK1Z8ggx0XSjmnj/9I+DEKT2pQCnn6oig4Evl4HHcx+01g3nKilEjIUFtZbkyXtBKh9FPIbWZYJ+hQcqe7OUZn7YJE5kCewMXJjJZKurBtz5DCLxkPHbZh3MU8Up7cozz23TFmzegdGUFoYlXhM1AtIp7DJh8XdbSx5ME8jfg3MNNRdZU4DTVMAXVWmrAxWXzKVQY2ddFH/wi+grwFp6/pFUG3WyLq2AB80Qf6Q2o0RnKVR1bD8XqEAjD6/EINYgi8cBc2k5CTI2eezEK1O7AscQV67MkHjnaNrMPWqy68dX/H2gQtzca3clAeFGPODRuT79PrVQT2OdYf0GMzbNd9DJxSD2qJeZKGg5utf0SJw9FdUOdpMuqf/igZWlNamGX5o5eVhOuKLdRu3brlh4aQgYBfigtiAtwYo2T+ewaJDTgjflCQzFo5+uN1VOI6Hh7UyLXqHip0LjjaVjBzpr4Rd5lFxwm85ew5YP/UgrsfiQ52rAp9oGy5xFVZQ8bTz898W4JDzAVvUl+K3f9XDRUb6l7NY+oT0okCAUu0AqWpNodG9+/angNDuYKKSO1f8ffAtLg02Ng1VX+lYKXT4MtMu6jpU92wVklRANHml6psAC0Bq3i9FPRc8vxe7/CRDnkKCqJTPH+SJgmfcw0Y1j9YtVtEI0p/8GF3/oLcjexSuFq48G2w2JmXhFIo6gVQIR0aJUaNPF1Y4XyVEk8+edWdm6PeROTTV8B6vMj9w4fajMWuuqU+9yh5sE1HjkvB7cqns9IDkHE99jq6+FQvrKGsW9SXM7EkLQYSPIgOClAeGASI6ypBL52BpRNN8sf7+aVvUc7AcjQ5ve5T3Nf/m/2rz46rnauNRZB0ia3ppkMcfNEp47TtVk8NZzXULKIodzuWau317TYxDUahYrCg4jyTQhSgnQ0MgKcyCQ/4kHG5MS+4Wn76a9Bohb/s+4KQ9FkA0d7+e7G7yTk7YaQ7JvLsXYWsFiyLqs/DhU+bfDLpnhfXX8qw2o2j/wp6posCgmB3CSYQgxUJexo4wDMuix7JWkeVxdVVE5/EqsNObbi6J9hdtMAdpmddRrhz6wA42ur7iJA/CVwMI1MvP3usjNPqEhqwteymHfDoFVmgPoAQHhVApqnGx1of72U+VuzmNZqxHc9yTpSSvFCtDbLgngb1ljsUiPndxcItDCrWOoWAKrwxxmpenfPd5Ng0q63bQ0JwOQvhla7FKWORnRUQSrtxsQo+L8dvKYOuzmgxhFl+sugXOHMTcqu1UFXWzMPCbBR7Z2xWL1GyADjEVp6JW1lyshw0hemxpnMZRdCz8abR149XndtOOa0ImjvmNpXLFb5UQ/xkSuA7OR4qtJVE3loLJuLMln1glbvYc25xkw6kk41DCUVxXTOFteFrragfHxzGRv6nog8Dz3DlPV2d8B6qwtesBV2it/Lw8luz2sVxdHpUJFaJOZhTB8awusDroiRnrizqArRiM1okS6Msp8Q5DhnR9THKhdiX2iJ72hq9qeLUovQvV4oR8P6Eq4SrYsIn99f36hrCT4vjMwJY/dzwP1EM+Dqi8QLAcIELpLBMVPuhZcFaNm3o8l/eOTCjHfUywqzpO0q6u01p1J9gOKwG94JjYGaF0kR32wWczc5kc1bxmO2YBntybxw26ItL9mI+/TzEeBX54lXQ+YJua+DjCwuSNLjbZ9kadH40LjLdyVOoL/uKZIyZhHx+gGfWfDfzdaFcW2ueRUuNVHXgW8JUNOuFP6+iesfsJz+Rd8mzJZOuTgFhtBWu2BHs1y4FWjKG6Bgr+IyliiXO7/CFSwzqBI2DTcyOzpEKAfOFQ4G6rmmkK6FeWf7n+h1jU1BahnK7W717KQX8dxO0hvMzcDlgL1ZNYD3NFSMs9VNLJg8YXg8n5bU8EtWJ4olnkdsvXmKOWVJr/FHKqXh4/lLdxSnUahap10SWrB0c1qTPLOR1Cj7QzNPmQ1EROCgg2nl5lbUk+r6CljMf9k1NwkB28knndRUwCqDXW4lmmnpTbL1ASwlRSN0C8fXUOz8RBnNSH45UpXticK7uZDcEHQ4w4aVw7mXwYAweOMd1OgCGQ+G9CQvL070UOqFV1s4+hPVDmc7tMxDwn8jVoPfxhEn5p6seAYsX45yVkXMUNp+chBrbDmXRBa3i2zsICILmjJ1CFBIl4hQAS32zuBZbmXc/5SWTtY/DU+UOElWyReZ2vCXZIGpCA2DC7GQ3StCQ04lJn00tp3a1XPBG6zecGWkP+v4r6J3ET5A696GdrXI/J+8TacbYeshHC+Aqa+el8eRnlYthuhB+8Hbwfj19XJIgceJO6+5ztdWVD19LzEKVUPORpbU5XfHEp5y3JlBBhtxAN84aJijNX4/v2BMhHkNOg6Rnxv6ppVUuuYb+XpdoQys2UIQFGTeIMVPEH1ePklPlspXpEOCilTccdSTi7VMKvZc+Zi+hj4/PU6wB+S7K1YlIWO4no/KupRFML2CEk32E0VGhdnyK3jA4jKnBapdhNZ+4J+Ke9vaIb/XbNe0ft+OjB8lnnZT9jCr7sQxO01TdSZlJCBcQrvRjHJgcPe4/ZBzT3qhQA355f5mt/BxxAoxV4nyVXEDv8vHdnDX9Fj0XHT5QgQI/mJCUh1eIpW4W7fJRxDTwyfR1n/9BAfKFcFrpv5YhBKsPecO9aMc8YGvkeDIFuo9UaFAitBOxZGUnkvBHr0mr+ReziMpHCYPFsEeUY0GdBjrm1221VfxOkxXfUFrxuhV1DdBKIIrxaXv4dsR7/K7BAzGhakZEZ2heNrihm0eZCtzWu6hmfkTWLYAyBOcOeSslmti47JNHZEWIyo6s9P1Vwh3zqs5opco5Gj+PAeKtNS8BEgRxR1orTGeGbRY/nTxTcqzDXwG0poRiq7d9RM295W84+nHmz67dNNB0FuIjsNlNFbUpFL+dAL0BHi0JK/csnNurlj/C0y0wiYBXxYpXD9PJsUsI8ePA2eUmWvjDVE0k5ok8KiJWJKSTkRZx7LujSF8tjCDruuTAl/iHhFxkzSV+WF56f+wOO3zg6Wr6wD1rM/T1gflFkLv938mnqC4ujxuY/+cBdI7se8wQ2YaAa6SGxhJV1LViDUd3aFUY9jZYcFZWEg3KKAJ1jnJBb5ZS9xsNsj/5SzBnZEYgKD/GD+wPm7l9UefNiLODC0Nq/f0d0oFDX438iAM7BuA6xAGzhM8K+XM+UN4z/55vH1LnRsM3RM7CXK+8OoREjB+L4U+yjGQ0FGf1h23RjCTjyr7Kri3qYvlsDBJNxtmShLLX8Tv2j1xyuY1U/WfAK6HeLKFlspRiDzc1SfqekiUjhtJVDDpK1+I818rRtJetwPK/7wcyFZS87kz2RRTEGuhOYOdIvPLwi6lbRyKiMH9ziAs2Yux4Lp6SvtXTLolWQHxFTA9bBdtYxGTxWAzJQ0olycqDsAJ17CDGw8yBf6GgFCE0EnRf0WPZjED5Hm5Tw9O3BHB6x4wl3sitelOrHpcoLX6atdZlKOy6moEw2XT7+35pTmPuL3d6P/6NjE/HtMm2CJfTK1sqO3W7sjHwzLeAgdZGMjFItUZGl0STuwtYthR1lFS6r9uL042CeEf3u9WAix/RPEGvUETfyIpIRUzCRUCgZ4zr722ty1c6yyWEbh9oszagGL4IeBDKzxWaQWWN1RLvTBSBmr9/47nlOQbT+nTiv1t8LoalssJPVCEVHB8gFbcoh5cDoD5+FumXNa2DBec8h70rSEWSD0OEb/m69bghT2TnUTFtC2aYHisB4qWxKXjdfdSECZCHOen3CXNl7aDBz180yDixYINzm9iAYR8N3DbFv9+6ME3DAXsR0ZfJKuiDwjmObi6Z3x+7Seg0KJ1NEODzO2EKlPLde41kdTfVP2rn6iw+eI1kkvF4mn7yRvzRPcUm0NoIHCGlGF3npNIYwx3nx958GqpmNmakgsCuJm1CtC0RsIQVmfDeLU1cMzOAamW+MW8yJsUTG++HctGLyqVwOqgEKNsAC7X9Yd40bWlocprfpm9qYpaMLdNSkfJhRAxezqaN3A7XaqUkvzejg/kyTBB0ghCJ2gsTVjbyDdhV0fzzHFuoTrbAmE7cY/XK3AztJ5UdLAtnDCQou6DMFmKcS5MeLdV05xEUXtagSS4K1MCsH3QZQi3X8bG9tQNeuyWY4Z+Kycs8oROYOMamOM85N/x2T7UVDfjKEo6i2QRh29jSxvT61FHy+kq8zCeGLMcy3R424+7redLFg87MXsGUeNk8yz/cXfsNTBG1rHVQGmn/xJLx1R77XSkr8cTyoYF1uzVe/YoLNbwKuPVuHXZdLyNiY8nXAjoWeeWXEpo2zpJ/wYFr2t8aUGAJSYjGETAKHHKe3iXHG0zZd7d09+dbHfLHD2u03mDm5YPAi6U71kU9ELyEEKp0FGrxlqNmrRNqxE4S2geo1fIDvQMQES3djjS6qql5hFnrWtEq9ejIpyurMLuySUp5aQwrye7wAh67mTbUaD5ZgVUNRjgkYBRXDRnW1yuY9SM7A1Q89egRq8zlPCP0/lLEacNH0JHG58PDL29ILX8VfRcfrlDIv6n6A9/KndsgOeG5Ti1bki2ZgdntrOHLDZMAoLC8Mx4eoweZaBMjinZ2VNWMVda28HmuGzKWNr6lE2mtX6tjMX9tYZeUN8iQ/xukQ4lZ96jnL4FVKNInxRHWQvRELWicUex4XyZ7NQxxTzDJTyB7r4Ys7ekknlDaTm0yGQ7rBxRYw/IahBJWRYAVLqKoC4M95evKR77PRkHsh+IPt57/Vv45MRh3r2+VAUafzOEqtGEqnYf0qU8j+9wW7MBSNJrhf0pe/Qp6hcfqukkiLEbKG8AV2m5m5UZm/oLSRpHKqq/ZeRbI45h2M1qlFZ8tY2QLZL+clcJITQWLBR2oJF5rPouKLzzhZlQUdJ+PXbuxoY45G0zuMnzyFcmHmaNGnYz+ZTZhbRNSjwkCqMJOCU9yPcsMn+2xnfFmE6WoBunucAH+ZxxbYS2zX0GR+cByvz9KjWIfMeQa2JaecGYSyXcLVM94xS0x/YtdUcLsAfaRCZ9HcTupSwFuV3aTWDpuCnvjBH7YD7JhAjjPhlrfpFeqvSV3FkOYniJIN7jOaYhvToGz0uXGFPcaNGmNyReS3rbdSAYDmS2Bm4bndrek9HaE2tarkHUhdxBArr7a+JDoEHNChzCws70sXThrioJAF5BT0rTNWityG5VdlsrT3RrOER1n0maQk8wyuuvswiWsE4dGnw98HHrr6uEEK7KqtxHFiMEolCvvPpKBTOLK2kK9au9yr0tY6NHZGJ/ljNrwvAIsJScBRp4UiNSmbRHMDX3u582rSBr54BfZ0IwJ+G2ZBcqLgy/ZExrmoN9rI1wyej/1zJrnGrs6zgZZO2NrPHBe5RyZjtA66WykMxZUGc3FbEpv/3woWrfKE1A+kSr9OoKH49uRwr2IvoijPjfislrQPOr8tVP4wKvN/14umyQqBXSS++Uic4sg6JfdrBdKCMj6eutkah62C+D/x/LrYAZRjTcDPBJiuYZm9Z12i1ORbgDkoxsD0Yk538XhgUdyZnsYkQziD58WBIeeo/Z4sruJJiLECwe03LxX3rAzxxxoVwUMPKYi2ktqBe8q3BTqpwejM9jcUW3s9eiQyvBMfcrg35fER79JjzZMifnYTYKyOs6DuWeceWdCDBqUgXgoiALJJct8RFKi+ZWI8mY5muplQA33PrmwApxVhA4WT2/ytjxlZAwbK3Zo1Yr1roBWn3COaaulOvTzgEHzbG2QNyoYoFDsDesMvrJp5cCfk1Ii39CYETMPMXAlyykibwI/CmLio7vjGe52ssTcWpbmblGXNuYkfSg4hutvPzEff71QjfERb6SwZkAa+bpD49cxZg0JdgRJOpnFUR4pCuZBL5M2TseuAVr2x3g8KSfKu7LM0BVp4xBzw0UTsd/5/w1aRDpaJ2UMglGmkoR3NvU+cHF3PNAuLBk8AC/pshcHr2UoFXLSiHYRuEdIEbGmhFJ1IbHgaaW/f0bUByevuwMXv0pXzLkbVRloWCwl4brPqaMs6KlNnawdHQ+NuUo8d352hf7rs9nTKVLrN9PtvkDLOdsI3y4SNRMVghVMEh4c4bDfmaadlPdGWmqXlPz0cS1wcONGwRULQDFmoNVnufr3hseOPfFEY3XOg8+H5Qob77ogo97XN9Z8YGNaOMzCsEYdvNYdXV04d+bvd2fbC++VRBAlcXjSZCNm75marAUiKDXMcNGH9e0pTpPc9A7BHmdWZc6tQRrx3p0hYSdAE5mHHSPFUqoEeE3CxfFYKMlA6dXfa9g934e80YRDmU+KcY/4gPqYc2tCE90oz53fSD+hKKwyxwwZgEP5xmF8Es8kbW0Zrx6aLESdvkICCXVygUyEO7uALIrUkH7BoVqI1d0ZwzM5Bt9wcuA3EvjWyKMlu21/iEdbzTacq5Ihe2EeQADuEvcqViofEy/y2tBz8PRQLDWWpE46AXz/7BphU6V/aORU/t7jPJvEWQVnuvUAb1HVwQuv/1gNHQgNaRFCNLut1lQrRIaiom35E6JrDarUt0IR+m++MzpiBJrFJ3ATz0Tl5bagsb1OqXV2s3j6kuiiaV40My1oel0yuocQnDN+eHH719i7zRVyDvOTIRJNQEtroAaGJ5RjLlao6zqFuE98cUFa0p9/pAdOF+FgGkOvsZeUTv3gRRGoTk6zAyBETRHscZavKGpx77VqejF9y7jDseR36i4hdIsPsWqRljh+9g65kxVtjbGVlmKFJ/+AqIDoSepxs/S4YAh3L4nST+TEacDzJcx0ZqyKexazGFI+RGiv4/BfcelC+cVEHr/wcrfqVt758yK5QxwqbJMYdeljJaXzDWD5c7NlAu9WN2IMxBQdxAO0jrl6tXQWZ2Yco7HI1BZsGopFu2J+SpnO/1XON0frPHmRKk+SkpbS0RuY57pxH6VHhJoYSj/eYK0hEl+OjgF2h916uAcP+zYKrdPC6nKtCHZcKviCfRuuJFtkOShh8XjEblFqTV8xDdiE1KU7GQMfCKYrCjSkpqbfrBn7MHtskHyo+GA72TzhPKsYZ/bd7+br95Qi07cwFJUKpbaP5IdaAqdJRJdOLL7vGG+BAMmnpDJFJAGMD+GQEFu7en96eyylQWJggfGYlgkafv38hba4skkp09hNPbhUSWurFkCcy5AnI4svTlv3WWUHVjMSa7rVZ3wbQaPd4iQL7SkUAYWyIN+lWe3gs8W+Ggojg+ZIdN2ds0nlrNSMrt9ZPjReuzemusN/7RPQKec02DzTjZxuV0A9klrzCdRLLbmxJG+21TYldy63QaCag33Eo46Lo09qx0FCJ+//ojIG977Ve0WhsqGF/bez0y+CNH8guJIvjXdqLU1G6P0wEuqdmGN9MwI+KIXeYznUQcWw41O90TQ4XkstN/vInGyLgoH/vZkiUrytFEex/lhfiNMqYD8VGzpd4YM8Mxpv4O7dc7E5mRd/1wtRhBP7sxh71XtvBF3lnuPalS/w756+1qXdSue0DZRywXoHwdv0bwjREKlcFjT1adlBOelbJo9QuwdRDLby6p4Wf9jwPl+ABbQZpqdU90zyCnw0S57FJOZyaEN4Satjynj/JZd1QPa8iNjwVSX/GCXNZwKOUBeYNEUGPxw8z8Wx4xrrUu9GXUDC5yfUp0TuABfzkPVZFHZBa6+lW8I9gkurZuBTT4eI3PuVr+nhz/ts1kO+NOPTQpWtQ6tCsGTKwpEDUP+xYvjeK/ToPp/0ZQaQsPliMSaz9VBjNam15gE7Isfhz1/quEHA/erM00a20h0aaYapmqF8rfZUtQ9sDzbA1CWE9q9w9wvgc5FsnpJIgHMCmf3pJZDr9NNWSeS8zIulx901PRqra7cwYjfuy7rrQWfpjImeqs+jvJZQGrE+OPGIysS4sNn8Oo3r+8+GsUUzmhadxB9pPRA8ipeJAl2miefviHW3BmduQfskr3Ksrpzb1JteCBtbd0zq1UtVbHynFySZRgQA52cjxp3V5nI5qurLHn6HoIs1yajdcrPoCn3Izu3c6vc07lu89HX99j3AVc1tqXGjAEwP/vuzkctw83eFLYr5F95vFK0nbMn8/OC6isARpWIZbtH0xtp6WzZWY5OTY4RWGAWBfZbTsOpVnt3T/p426ntEjTvg31iGaofMoNFhybWY5jRiEPs6r73yZ7MFaSAm+TDsPbGwhvpN7XEGcvNYHtEsDYtqs1C+QkD62KQWFv+0fZ5pGWQ9XoVlXw5We2re+uj+j63Brix6YcqDccfcTyzZwylSOho0+yxw1F63BGUc21OyLtqD8CVYRJt3517tU9jJLkqW+smmuKSOxiKuAGFNVWsaWNqf5XGY4lfs18Yicet7kZJ/iSmxh86YS60YLV433N2U4+bQbIx87yphTys0pBx18a7BqxL/+mejnVRZxmKcT1/uY1CHsiznnbj9828HqloHz3rcNa2n3NppXhsSmEx2PjB4a9C3yVLV7BmU1zaUV+VhbgXC2hSF81sXUxV267SUXXV0/JAL0hVr9+Ymt6J6bynNAv22Ss7ueyzW4y6H+delZzmMatXwPNyaOTDRwkFQnxxaAa4evRDgqjQsMJ3snf7yGP7QbItLJRS9JrohSqJbmp1dFy8FRS+FZ9SMjDSRjl/taSmE0BQofqWS8J3nhYW3QE5NVBj0Q1TeA+jKvBak8OOG45yDJf21qZ4k+tCFhpJDd1ZSlGxoTUyruSiGRvZxvaquTgUps+R9magX83/0Ef6ohDI1ezljFICyvD401hnKYQ8Hn4rd7OPAgHI2BJ+4ttI/O+PhMq5OTbax4BHw4WtApMb6ALAk/DlnFhoxNya3M2YaKdbhXt1N5p9Oln+hUos9/R1wRNPhikxHqEMl1Zo4GVFm8/K5hIt/NCyM1f0XWLlLDCpyJwgE1kAC2PjVEkUs2P7K+4ZzjBSRQttABcHxEr+fyjG4XCtRqtTZNUN/E+zzZrgbf2i/BxVEgHi1kEEIUESf2ychgLp2lTXYcJwhm/1aEW4TfGjd6ungjBRpeCehDkd2jXAWS9PJlmfDDnOBL3KJNI9cB0KxMM+B06Xq9xsFqDifwOZ5F7XCWQG0B2vHtWv2O2y0kczQ2s6Pxn/qrqw9oD7I9ALZPcoQAf5VXuIZx5AQ3mXTSSv0F97yXkmHfNUJeK8Q9kgZvUeDNtkJlWL8+/+8nQIZhhvNprs/EN0XEZYgRPJNNrQUx3tEwLcRVnjU3Np4DNAe4CroKuTWSe4nZT6ujJaxvb7j5KCy641yakto3DjDok3IGiprxzkyC1iY39tKJjxn/2R9CHSo42+CUk0hMfWBzw3XLRrSDQMBRgb2us3IiAZg3aBIugZ+z+DiER/7MPeTCzDf5FvUEuxZsxTwA/M1sOvA20nAQmBexMB8lciDhrERUs7JiImVG/bvmlxiJHAQpezKJfawtSZKPeKA8BcFNBzKQBRRTTyDBC+olfUDnMr9kTjTsiR9Sb4bTOqCusewSxPgZlwJllv5sKv+/D3b1YwjTYXW5itWLu08FAsek6wIKHQZqq7mCbxVxsdAISmjILPHo6MAD8Iq7ybLtXFs0DdYOjHWF/jSKpPvSSdY5+1O2VE297X/ReWMtZkXfOMj2e69Ee9rx3FFNmh6nPfth/vmE0mwgxnVR/oVdAUlMpzkq0rzZsiAisSzOIwk4Xyceq0XYC0d7K+9sJV0/ZX7QhIfht293/jRlZCK2/Y54dtN4s3oaWsnSlHMMM8JVEwmGYVU4352YUW5MDPK9lhNAHt+sfZntJivrmtaZxRnP2IYW8hZ0kR0wi9NcQS1FTHgV5uKOW73BfJIq6XM5Bx4kSUpVEflXjf/AeGRsrx+FOG2VSMQvZcWnLXbFzX7Od6RPwBtbL3TbI1UJHmJZhhTIPHzzGReBrG/i2kjNR6PPu41MtRq0dKejmkBJUoQ4GU8sALjD8MX9v3V1gHbfKgmOGPQB4gk7CkLTEigeG7A+lnyb7SYBnuMRHPilnUbwW5XBG3wYohHGkJrT6kUSzF8Kdlo3mSKRXJzW/gCYTpPppRwE9ydJTtGlMvQzfmoIVnHZWgZOTALQk5nrkdd2x0drYSDYvU5XZewNGAuxcXwKOilAhKfxkAO10snh8PjAqvfymyzCRHDAgPaD8+sWK348FBs+8elQHyX6rXYYffGb5wm3oOoY48aYKONadetyvXoulPBIAOfyqVo/TkJ6RcC+IQSPUspbSbW4S0cNXwmcj9Ldex9J6MBWTZVxQ9QELrmLXtvTT7PTvmaYJCvIjw6ti4m7M/HeDFlvZK1g/DOhHrtT1zywwpnf71Ecc/mfx8HGWHJ4hEGDAU7M+S2RMbvCBslK3iaJ8l+ZeLBT7rTeOkDPkqugaCRQE7o3Yz7kfbtYvRU/tDvAMrN7tO7GQ0HECtPjgsbYw2tbBi38HE4s05IEDmXEmAI4LTV5c6LPwxdIvoO1vJ1JXwb6zClkWXTQd+HY7x0Jq85W3G6Jf5dp0AhWYIGY17bjPcrQ1qWzIptvQz4xqwrupK8Vorpu7/SFOOOy3fjp61cjlc4hdBvXzO4xHWNs8Cld4J/ezt2M9BRVliw67uPinjmQJOpUHT3eAnlX0UbDDFcmVc/iTQOhEpMGf8OYwmQYIMtrwEJ44iZ2euTGLwHau9ISWV8CwbnLDyjlBGKjfSIUSHs+hFbaSB6/Gj4NnC8Jvt8T3fxXtuqMZ5DNSnCMnmC9pAYRtaKBI6LEewNsDr+SzueBuxWmBjvAQTrOsxJlGEq62ieqmmMR3KsfD8nHuP93CXW2yNHik3BW9t57dVayGkhSH4wi+ICL9BbwpMte/BQMuZfE8Cv+pfcIb8lioyp+Bs/rSZTMB6W+/PehBnWoZ+G/TXYtp9m4RmGAWixlL3EnC7laWxreeRoug5KMPKLdjmpAhbdTqy7jlM0Xf5ha1XTCwFRZhC4kotSg/+NiPLvEAjEBc9Yc8XDiaLuSqcSXSPyC51Jrd5RD6KvSMIosUsb0PN0XvXoDmnOaWAm15G+BBmC6cAA2P4P3VmQ7DzlkSrisxXi5RuNVqe838VOeyRH2/WMUp3BnECQOIT6fgj78z0GWV7a+/A3GZb/BOwRJLGfY/hiotNtH1XKRzrcv8uiMVc09ygHlD6sBz8TryAAV1n+uDTEiQGIApXjH5sKyzzxBT4xodcvu5NgNsHOXX5Flt1EyL7A++q/PJ6Q6rD6mcajJ6XhuoKGv69C2chnPFSPleRmq0eHPtagPOF1htqVAySYH7UV0lMiRCWdERDdSA++K7gtIT/a4OKX4X2jRNDrEUBUVZ75dYg8L7sXQUysuknHVuncuvtXhFjVG0QA6Q9uIH3elkkL1fhPgpZR4DunOX9B0fmSjfbPQp9ale/0C+S6ndZHBD0oRwn/QB6mt85VC8REnp8Djt0CDmru1rlBqaSVI8BRWk/WhcOQgRk8eZjAFlwhuAyESX9qvKXhy894G07m4vuXUQ61dEiAiJV7iWJ8CM1hrPf+D5E2cEmrQ+52VeMkq4CPlku8G3O78uHoG835YuM9Ueo+xGru5ICvfTfT4LLt4rBc2GuEQbXgY4St9iIQ29PyjJRGgIAlPAZyn3QqQjkN+gEJqdP2m2x0iEAA1qH+WE8JQ1/+wVghmNwGsN5WSY9dVoOMFMucEb9E+3NZf/qZ9+ydxGfJVcE86g8N+V1V3Xg3DuPidRJR5912Llbnbzfvl4L4Cz2ZRqlVoycCNcybxGjxCT2YOJpTPJD9NuEYsP7heb7oFjxFOnyoM+bWwAz3dd4gOF18J1o1tG85BqR1RxOxCSuqcwZsNDlJtZd9+1Us/wZ5ZBzuaqZdWxEI6w4HjW898CZSbJWG5Y5vzLGWGJUHll/45H8pRRTwIef3tJi5m26D+KVbfXW/W3BUhnD9B24kt5UCK7XxaKQMIkkYQhi/YK8Z35bL1hmd46gDwPjHzDwtToCsMZQlRFmCzslA+rXa6T29xLjen6KA4wuhxDeUP6SfJ+0C3tdeqjUKQ88ER+nMt5jmCQz0574RA856QnSkD1vFRz8dklLO6JZekP9LqfhF/ZOqkLp3gm9hThPlh6z3OFBZ+sfQvcANBJUit8JVFeX0lrcJoeQGdqvr4MI1rD6/cOenXincmgXNePnFL+h4bJmlro269yRdMO8w0TVR9E2NNsDoYpD1Bf7/z7VaoZS9kRftE+kpywN6JUg2/PsX7l8XxbRRDSarnQ72U5+LlVmXG28rAulHDOFj53N+mKLSi8PIV6S94qJRSDiXhGq+K9CqG+/47tuVNUCqbFY4cG0TrKtMJUKo1P6c5xUk7YOtjoLrAnOPrfNQnKKOa3ZOaou8gspManWmN7vnYxmhXHAqrIWI42E12dDoHNBCeH4X/Bq5GT8GyITTUIHmltK3+XXsFAGHj0TRgUQ2LzGSjHAgILsQ6VzIYF2XVQfJsK3mUWeBRQJNLSufrm44NxidT1qwF0hK2Bsk+TiNyqLOZVGvbbLmdlfyP7E2akRZJFO+vAJUOgyCqC5+449+a8egAjebX6qkW288tb/j8yxfUc3gZwW66hPWCDDVAvvvxcqiXEJ5YCbKapsb4hYXudwcIlHfExdCgufz9s+SQhtFVoR0iivkNXyloYrTi5kFd0X9g42PJMDWM6R5CTEUCbK7lV9WDczVkkHDVGNmP9HhOhKCU9iuJ5Q0EdCY9ohZdMh4Vhb7NF8xjL88s/M0QnVQLAQj4HdwVoJFP2h5tRxWywrbFpRvUF22bslFjjNxz0zsBUDzhZ9/zkZ34qFPhZ5Md9xmYTAb1SowQLcC75Gij1Omm8pLR4Uds0A0rLl79RiCpp42I90CpxfZfnNHqnbww4kEFDVUzpsAnztD3bk8RspxcIc2WsQZ46OfYjTM/+ciDI+GK81jvHjSC/pn1gHn2RPGRodw77UYASzJLM2M8jL77V7F7OIEzfKK2JVM2MKskIPEFIIvlAVClImKgAQGF3nhyGxj70JlJORadWcixJi4aJvXlBJBID7E1HvsSpf4cz6+eeI2GEtOKezz2CfhALK/NCEwOGMJl3WgClVPF/kYUe03JVIVg5lEgTJM3Lg5ZNUDWT0YMMlkT+P/uvhyt4XY7unfyUXbTcLbP3f6iW1bBDqfu0eLVKYZBOGmdeEKa1vnEKgaLzon81QxSbv7ruE52EgkQW2OGuce3FIPTmP/uJoS22vRNIw923ADNpTb9gVyOQGhfESqZqWPISjZNXWjyrM3DAlyMAEVI08ertmoIl4WydCNTf4vT1k19NN967rInMm8vVNMNJbniWxuvmXybp5JB54spO5hgRoWIAbOiweCxz9t4ryP9+KgxzRJHNReKgeWRShLcrq+wuxCZGDASryJUA1AYwXiHxaBqULeHhEc5WyN0Zzyg0vCLttddNTJ4yynQfhiUNYudyHOPJ8n7B6k71xMHrMaY+KB27FokogsKGh+g0KTMHoztB9Ds3ChX6prtEHMgoKasC4RJCH4hkP6Yl6jB/cEzaNSBC1qXJRvxm/zkReyJfVp3n30WNamrmEO9viiZQV/KsVjSRVndT1oegfVGUblXt5dob+chSihcGZjaaHshKJ/ilWAdusAUPvfnd4mg9OreLI/41FEoIqfwJeF23bh1SMUqix5a2LxkNvmPDmuKe1vkGOogRPXyeItEos9yny74nE2L8ZaloSf87MSvmnbJPsBqWXQy7+oyVVfddu8mYVGkrrKLE7fd4xlkxBcahelRvl38eT8Ae2RUvZWc1205lL+VroYXl+QoGPHmiVDcNwj90X4nRbaKmz7b9UG9xCjnAD1mJLUzltFzmYhh1DqQhJlEWqa3xi3sDUYF72TpKeJYxKWk0spgEpVDnko1+6K1BXC4EPryhjowJU06W+WVCq3nTlLAqG322r21DGI8GgcQe/pAYuMvI0vcvkoI/XWjKdR30RjbXhDen+OY2vgWWpWNnA7klZtVzjNd57vlgO3Wezgd/BN7rgT+YSexJYMZ7zurJilHDCRnDNcECXWLRV1Kad9PVjpikeKcfGN/SMtVXlJVj6S7QXiSFWPn+KK1khlN2V3VdAeQbKdfJvbf62w/COwUgxvBqPHEY6f2R8uHTVbYV3Bw11Lo461DXZDcXL5yUNx4DyIriIHxNJFHlGyee4n4z06awKE86Auc7vakUhXc3sbpV5UGUidCN6dmzz1fD1F/sw33Zr7d6GmrcwxD/9bIa4KskM/O8mDbHJHQUviz+Kig4lfeDavIMytt/f50dFL+qp2yyIko0chijW9V73Jqr2auXEYaR3N/YFDjwU77o641ySTPkIzqiq06wo8fJ8yF35w1WZiyY7t+ZclmfZD4RRNzPnJLCym/W78/k8OJErg7FBhYEG24q/TjUySItEcQp5DKEx/nT3jICnjNzrka3JK7O9tKPPcYZHThe0r42FqmrND14wH7NkmJEoydt7leQ/1XXAgg4SAf/QMmdQBw5j6x/9xsrgTFZOZtz7anZ5qcHRzbRWiizWgKkZps3M7MQmq7U8WiPrpa0Xcs0+Ux+oDmq4bbrPGMTAB65hsRjzVnIO3tPbr5EKslqul+v45dozP6PtwqNgc3T0uDy/1cYmeQ+XwdfxuiQFKohuwv8V478zHxNhs0875XjrXU8BRY23HcL8XD+Ox6iD6++vBBpjOO1Qs6uHL8bnLrl/3sAphnGhnupaE0fRDnDB9f5+roeYTKGT9Dprk7zOV84uVWfQIP8lkbpTMIWzAb0+RftSOSaOcURspycTN7sD/k+l1aAqG4TanCeIgQW1vpPqwYCZqZk0dh6giazu0j9jDZe3c+nwRMIKJDn5DHPtPFFam4cfnI0TNA/kuOZxHf94obB97elYzatGtorsi1P5CrDXHgSr3WtO2ikM40eb4kzi8jg+xQUuNCyvn3xogM9cYFG52zfn2epq4Z9Jk4oFf3s7byhJTQEkl6HJ0aFnxNoMIf6mrW/hkfAU4dxttMTggf56xlVvH/kinsgvsInK4GiXHb4Cw+9awvFt30a05b3GUbaTUlgEdo4v3moF+l49PLIBJoGO49leL3Q8IR36TtjUlkQcLfZ56+qVxIgJVzu9X8X9c8GgU6zATWmXPHu/Eh8y6c/KGk/wQRUa702oI9dMPDlCeUlWTC/DmngNe/C3kwlVqtnExiygZwcXsbuqDZE+t7v1gXPwYo65UmRn6xKTaKoBsCeNV/4o9eBjdMmk2ZYZI2vvgeLhKheJsvbfF+UUue/z52bt/MCuAtLFLtrUC4NLH8txheAmegts/JswDUVEAxuaGLtxEahS9JPfijVKLXJpoLOO5QJ3CwNdSx9ikeXoeZqpYnFX8HLxr0wEOT4Kfy3A5yttKzYf5Pj/ZeukNIISYejtM9oC0Q7RdM/8CW3VkAmnBZYLZy4ZdJa4UCZvhgtTHO+/pNr/opPP/a44JgadNTJ97BqDtajw4FKzsIBvmmOFXjUZaWgZH9Z5gh3OOLE1j8Dfb2hqpnz8QHXFZ+39pYd9iB+6INZ8DxJ4UzdI5G1QmjoQFl7PPsnSDzgv7FO/VsmtNT2yJKpliwr5xLH046PApF+/8+txW8FwD4jRMjGPSkd1PzvcXcE98haLgH0upPSWW0rOG4ctDG1vCSCLY86+d8L1fWCPnRt4Ah+v/DFXnfA2P6LHUGvGayH6Kg3AARHBAmL/oUtWfSEpwN5+EEQprigZCgoLKtVfvxY+WGFQ5jNEmHJtp6IB0S3vFoUyve31C4P6cmb1ezf9/+jH4pOJHymeAwHFW37SQESfjwMV/5WGAImKclykawC1Iq42spL8JtZtvHYRok40IicWERCrcltHpQCjrMqhs6MKOG5Rwp2A3dJeVY+I0ZL4k2KxQF9w6SISPikT7M5I7oCdAuRMvreh83gDoXN8tgIS1sBlcUqoJ/NtG5JQpYMHePlqo9gi5egWifsuyPhtGtHl3+h9jI85mSdTUUGwdErtmQQTi6lCs1MITrl7xzmvmu3pvFI5QCM+J+eabaoc55K/dwMMAwYn09jOnB0FLJURseDp/M41Lj1qAwhgt3SIuNFuXENZs+QpPLRELsRA15w7DnBdbEDzuh4gYVEbGWAmZGku14s5l+WOuny2MwcVzx76iZ4On12rBUtpOQ+4B+Rr9va/TV3xrf/v5mBFFKBRqGIVq053u6hn6AK4nPXzKRyj4rPzisHdHNlf4zDmT0LhCelwrLJhXH18uMhAVgdgIoX1Y6oYI0MD9iZbNr5VGMGDQFOzq8sUG07vLShcB7kgQUy6jtIOM1yDKmXd/bebLvdLHg5djEZTV8G+foXstYbqMIQ4mjeI9CY6vyD4WWOmQZAhI6mMaP3L4TYmry2hlIlUIzUgjX4OYskxKF1dwYjQpQha0ko5SvnHCSQzG9kLt4m+MiNuVVdZG589YAhDkYswbf3/rOMhza7VunaTeiw01tDXaUfaicZCMW59F9dae/PakE48v/t0dghIEfugVe5EZS9utJKI/AXAFZXLrW8997FsPoslSGXY6lddIy563wMtJFJpBGQ1fKWrlNR/ZKRdU/KaP0ARDzxdQyAw5y3oO2rEeWJc0bgNE47Bq37W8hCbOU96URSp6CWDmsj0HUf3/mzJnDSZN0PKCbXyLltXdRZ7Eq4H//WzaAOKomYRN9JlHamCP3iNcVUTv/Abmtf216/Nv9QrFqIfM4ZxZ+fu7LW93OETqleH7Lk2u6EANUPrVMTIC9goWEPyUlMM/dCJsPgjY82DA2L6hAcgFDfsOnGkH27J5cDiZwUq7rvRszkcF7/9LFSajBUQ4a0iSIQG03b+CW6TYjLWzEOR10yV5q7rh+eQZCLVOnF9L3k8/P9o6/5FR/2G/3OdbaqPQl9XGD9gnOeelKZ1nADXrGj9JOsFMcLR0ZI2+V1OaT5hDgvw7E4NmA16Zf6uH1e1izREMS2CVdpqJrB0x/A+KA6jXXg7pUJSbnTyXgqfn7ZLPcfeolotOcEEh1Y4AJzs2hhr2lFhpb5HvDebSrSSfh7GPEizucsMC1FFUeiRioeVyT4bK8f0YGuyjK0xOwWS2fLhioXZgximkz6je9jRZvXNRkUHLHvcoOvHMYtKXk/aSL0Ubvp/oSpNeD/c4MGEQN2j8dQJinHHd6o91prbRAt5lG06hWMHXVvcgQQYJSBCHhrGNKuuEHn8PljPaSiop6dy33QhhlIuNNjHBLeXk6JCKs8Skr+XeqV9XZnvFtN1MSwISsTv/D+NMRJR6oFKRYdAPEBPzN9XqeWXpVO38tOmhzngWgucJSJnXLMUJ2ds1BrG8v8rlrUqCpqQrCzRGbzsEPGkZXnHnaGlOXCWGIHRSehyZuvXCOEfKipWxc6CnCqOHi3Ur0ZWk3654H/Puyjx3XrO9C2wAK4gCMoJW500K9Bql7L42/myH6xJYzpSe6R1BxnhchH2ipXVpKGuqBHWfvEbW0FTXFN3gOR+aQdFrEzOAhX+nPfrfQ+JxGlYoR6CpS6KYplr2/IJiXYImgz0+J0t2v2/kI88hwrU96nB4emGrjORkDQ2Zzbz76BL7iEtZvpN8cfUFMN8zYwIfx/AZV73pj4axcDq6DYZXq31VELIdMdPfo7YuNgK2rCxCbPkN9bHs0mWpfVE/cUombgyRXRtx+9pHnlzkbKJSXFXFUitTYCmUOksEvIvd3L4/U9aVQiLcdrcjaaa/icjxMyzo+0MG4aXseWhI7Iaa3Qq7LCN1pMOUDsNE4miH+aQ/ZdxLbZYo9/slwB/9EEBV90mfbYbQFvpI7J8AK3/WRl4b29wzBV1rFpywQK5/HtgZDlxqdm4ZnEWrKH9J63n2aPnxhkz2mpCazaLWT1+tjlesLKV2wVNITn2dg4Raysym0fddPN+yiFyc3ZJilbhBPYwXGkh7TiNI2Rm/w36v4rmpCsUZFStgCwDghUWZiv+Lj048Dv9eyZh7A2z4giFSxjK2prpQPs+a47siNcGHG37XPGMgKHtkfMem8hzzzJaXG8ENF/cPN8S5C9Vb/ksQUtoTIhzwrNCcPKmYocInRbZgEb3cCAKBy5Ms6W4kxGsw+H1ED53UkpkRMDd6OHH6g25nua37KRVm6FtJyKwlvig1KfGfOOOqjOzdBH232bE+0DGjdMATL9ljmkLYevnpOPTCqNWhNAOxZPV1TOx9rE0r+hJHZujSxBT5/jD3dZV6XUw/RphyZuaoGHoZ5juVtHnScJJhSCb8gE7/ayEOtMTznkB32TNqFGpXQitCbanvPYYKeuLdbHYmNKaMYb6X0exc+HZll+VGDmrcOmgJJwrdonzYc1N5r0YjZpItVLmIu1IObJ0h856WB4rlZxnqxsePkWw8apz+MjPbZwYgUOmVGmX3K5e0vcJ4BZ+Y/uw2ocKhrYIY6Wp4rhXFNIe7KwOTShYV8o60LRAGnGw9DaXgIehGvyaly5fnTdTeTQHLDAkZtxsYZvkGq2y5FRdK/lVramcwpvW+cvLPtyq2LFnz69sN90vmJIuXZj7iy5xQTDocfzcLDl+JemLkqtJetdlbCpJFSMNzn7UmmhI+jcVvxJI/lUslp5svKO659bMb9GSa7RKH7qqqzlM+korT7drrXtmgat0TNgqkC+qbdr9l5N7L1s43Go9V3KfX60l2KdVsu3d8OvC47fTNKSWSACd/m+MyMm4n/EEWBZw970iLSjt+RcjQTy9EqH5kRDZfH+dpFLfUe7vXioO+tbVOUAPeEDaRlNLR/mmmOGrC+IRjzTVB36z+1Y7dwosG4vInSMHVOxmWlKHErc2CPovr3XWZhbscer/DQ6J0GhjVOg/YvL+Wx+XxPUaBMwU5AzwzlEy5DF68dXsLhSBj+qKmr6ZcE4ee7wJ+Z0023k57OGODcL+eCB+Amegde/GSJGVEqT+iRn2m/1nwOrDwDsuxf4p0n71FTa8HfUdvkDVeWRYTXgMwDzcfJGCKyZJbsTsw7K+PUJpkDqb8Tk1J5zmfeR7ywwZi6kpO76BWPggrmX++TGHmd0lYivDn7unb5AFwuep2FtFqH+fHnmhwZb7OZVvGfbU+UuZUWf8Z417eaPW11sTBw6/eedo0nyp1CNHQbq6bc1uUSn5ZxjftfqxlPMI+hneU5E4tA6mFRgyR2Qejn9vaaUArLDA7pkJuvn82bjIZqsqAMJjFflRP3BZYqp41vHi7WU7Pp36g4G/CBmulvuksG7mqEJp1MYbUAohBZXSYcowciCGdYGezYz814doNqNK1k8fOTI4BuVjxU9wjQ6FXBnqApiCF73KQ67uxB/1Xk4WXjGWbD2IdXnphdIr4poOGGTCMQ5G1WhE77pXe9xz5IwkggZ0rynU7wwkMeNDHw49wLi4d7sCEPyzb/BA3cLohggsRwJAqY59SH58to/59ArrNG0aR2BHRMkRNXActoTJ4wkdpe52EngYe6TeEVxWRRj1wDlaUMiG5pYRi1vp83OQXw+EXOEwiEflCO0SHUxIrqbhEwuGH9Ay6KQVyJOTopiYBIQBv82NUfHwe85aRWJRzyygh0Dfm9xZ/uFpfOVj6vPQB7+VExrYm1/9JqLJjfrbLdlceCnl+3cNWFNQyu0EDbVVfVkQaJMIQ3vcyl/LMWd++7YULjAJc6trZK7kwFGDgWLFFHwV7BIJwQvfa9MlgeXq3RxPDTu/HqYnidgQhpCj0X8dTfsZIbbGm78HV2qcF93KouE4dVrZNsycOBkXqa0q2ZsdWAPD/PsPQ2uhpk6CtBDLy6MZqwJwudVbzXgLVHf/Fo0UKvzoB2wcou9g49aEdxkPNrwi7GQHJpt5VZOl5mV9pRFlOMDjfbcEtmjHunNwAJyH9U1NgCirFOUNc//WARdtBvKiEVxu/6JYhDJJeTvw/FUOhAUehFiJdi0yfO06ZHL+BXwDsK9axZb1XBeV+8ymsHf6Qpu4k9kMNEhJOoWyBRKgPKsIgYu+HwBI+DB2DTvkJ537kG/yKs0mg/aIAXjkdaPEQhg1+lt3Ji/Td/fqtFbZjy0Lzm7vPLgqd4Nb9x6RAq0A4Fmd0pPOuA2yibbihp29LnOUMj91I28Cy3XHvm+LcA4ivQDWq/OindFMFe71o+KqWaXRgWVTf/mJCx/FkbWiYuePcYUIXyeNNslPTrDOFAMlPddKK45NRRvFBHcEKbr8bkjaYV+uA1EKRwByCru7IS3BgUJkFMBdqAt5UFTFK7jqh55rBkSgPfdWRdw96znMvvgg0GGVo7mMKa/iOY3/zcVdRYtgb4xp4X53szPIuwnZflA82+P1fz1+YJQ2w3P3RLloT/wsuFvi10MX2scKnmUyzEGoHfQ8MpB+dPN+FUsDWXw8q4Dc+s1YjpSFCxOmkngf+PwFOq1emxVxL/gvqDwm2IL/qK3FlAEDEed10e8Ylp+n8193GK4iKmd5n1PnrC/PhEx88HhxFIJ7Qbnk62jPvWMgJ8SxEvDFBXUh0Vzcdc9tn5QAHkBXQ9Hi8pppQ9ZDC1MaPX74fi3iPsZJRqxWMpUOV2fnsXrkBUMgqz80VaFzUTgyhyvPrYSQxcAC0r13JaZiuV2UeKrpJqxCuyt36bvlg0ipqk9wH8f420DUvAt1WHZ0gqn0iBogc4upsi4byV7scuTF78jIeUj0zBXQYNMnFgWynzLAIcqJ3q+bAms93pK5/gVgmvdXLWCthmaf/d+wBhF5IuIlYTrMeAZEjnUxctz3gNhW5ReDmFmi0G9S7mxu6mPg9e4O3xBrVKQormlQZb7gmzTIkSuk5QcMKCA7Z8PoOLZIIHc8U18sZ8J/in/ucW6MQYhi28gWJg5I10krG1PEMILNEeCR0S99XRkdTgpO34/5zgQBTOZHVvu7vNG9y5wEFQuckRkmyTSiC2Q/xf9ftnEzcBno6ey06ChYapV1W9g4ugtEL0UUDPHlwK8SiNOouHxQyX6GgNKPEcgG55XxqLp4jyker/N5rAgbLuzr0NbEOCg8vullvevhtNc0xli+1XDrK4SYXTA2ADXK8FFh3cS6dZlaBDPPcJ+YBVKMDfM0HYB4se7z3AAhITdAyXskmEruUNP/LQfgl/MFbzxbRRW4zIQgm5S/W8g4qW/bgEC0cQ7nAjxELAN5MBOtSmb96RH2yj3HUsp12rGq+z1dVjIqDgT2uT0oFufMSr/pTE7/+TrU0fRUPS1cBMXoK/xgjTN5XT4y8A4lRWeWhzPgVJvwzoa61jh62um2BY8LbEoSEZWz0sH4KouPOeDFPbOJBcTaFwlgJrgvQoawpyPd/ddeZzFJvpSTmrZ7deE7cVQAcSbUBJo0kR7B6VDLtlmjWONVN8Rchd8NYZNt/saOo7k7qFFxhiEcaJ7m64CMaZRzRw0JtGrexOyH+54TYX+b+IFbSF6x7KBWxXmNOafrrr4XPJFE9oSxamJWY/l+9ZXBNFs5yLsZOfn7PnpygiSxy16ARWLy4j6lEj/GYLBOdwSA5sw2b9KYvEpunSalEYCEKX9TBIA321lU3OhQq54P2u0VTOtCBKoRwdhJt7YJV439xuEb/gfVDr3KF1/bepHFpKV0lYyc6CInHQl0tSroICtIaL6vw7YJ0OIABLil/b8qrZxe1K9BIJtyV9qkobAFz78B7ZQCgvaDppLpqcnjHY2um7VFK81i601QDZIg5BeYORpiaOLXdbM+UpCAFyAABKecPwML+9Xm7vuFH9EhaWmBDymrKck2aUYKw1qpQyy4I4HL7ZCViJq5HuPXNL28z0Drba2SFA0XcSXrbFPzkbcN4ylk3o93W7ijMRtQ8X2kJX5OC+2jDnJwRdR753k8nbZOWTjrsR7KnjIhPsP57elQFZhalqdzNocAFhTeVD+f7uFzx3ZDabUqBfUql7xwrTTBRqSAEbX8rSCg3BWfmLqMjBn05wSg6QfSAQSAwbiC3gH4um0OTA3RlsA/MAiYl8Puc+0YF1dpp4vfh7sUaDD9doHpYYSsWtARVLbNtLrEFa9ZCoBu1eM6BnaZUhji0imxFSGwGglBLaX07FersApmaVsuE4jVuI+Ve/ehqNDbTBD+AGhymwn/tLHbt7dADqO46RsXDssgZMyzvJgpLxQw5t6666nUzu5AFctZeRNls5KvdxSMTzVKY05OtBsg+n7HD7XULFbbsdv5RA+FIO6XzLyqs9RNe2m85TWEfPTPrjPakERsJQBsmjIiwrwm/F+Y2qqzMp4afZdyMuxOTm+3WDFjLUSmJG0XMe3RxoND7rvf/CSowO1Womd1NUUcjKjpMQOftlcAW1PYUlvVduS408dZQyYS145mFdqp7I7eSlhhED5zk1NnuY/VK1uFF8WTmaExEhJ24JGC5DW7j2xV7Taopw2JHii1JsYwQyEOvTuLgdPu4U5+IeZkD3LIYhfbaUCI5M1yWjwZnj+jt2yhotO1EjeFk0u0wq6Zu3A3ZjdYSSL6Gpmq8AjP6n8AbagGxI+vmD9JAV6OHIp5rTPDvqU4htrIFQdURWCjDSk/S1gUIMCuaSnA8PFsXdngEtb7vveOVI5r+djJjXdfneYnDDb4iTyEEEcf9ppiqgIYFOexcX5KKOGKZ1s3cEyNl4TRAuUxFaoysxUlhFThSbnFfcRA/xXERLDilIOYxQDLMQulBoW6j+rvLHiJjdwP7vWe6dF6etEzbf9Y8MH9TaWyjEfl6z7TD6dCBjCQd8I7ZDAonfmmbedIgSMiIHA6t6j4Jp/mKjbWxSnD+V8hvY6prcfBJILkX9P0MqJ9GnsuR0CA4GsokbsiudTMTGXK0GRzx0O7YF3ilGFU2PSeA3mHXpM1j7ZzAnp/92ZUc9kYVX8cgoNH73hVhgHs2GeymYZ+R1RAQ8TCY4W/PwXRA1kDu896HTLIQVps1Imrn+EUd9lUTwXccoLXrn686EUmWQphguQAe/YmILkIfWvyUxztYiIM+VoxwZWzE+++FBLTazvg0AjOcAydkqsweHWQJtuFGDuZ+wlKpw49tMqsgVLZthffSHV89RN5V2raciG9DotxT60ygoZyB0/py4G2ppyZCRkL/rlCUVzk4DnoNoJ6hWKJ/mVDPNDOr7H2WiNatth3eZWPF+Oe3swBoPn/Q8TNoWUM9ImXMLebwX9IM+zf8qF2pUTfKdK+xujnkNY3qO5+C6ZTwlIZBuGrKuS4JZkAV3AOwVZYI3PV5dMygeITwafLpa5b/e/Cb9YzEXOOXk0xySqGilgobIVthM69JFRofSWD5UdFOlaWVj2BNYVR6IWy057106k2zdwGGZgGOLYkF/ozGoaTT6nGe9Ti7oi/5N9PR7UAAKU5UPQAk74zdO1B0Ok7SvckErXX32Qjlane1GXUk4tOb2+vdwBDxzbE+TXht5Hdh2HipcRBjMLNwMFQ20N1UoJa1VyPfhuHRasKuPfDkMGlnqDvvbwv3HP6WTJR5oLfAnlpTrPrmCALTVTSKJkp6FZK6brw4JhN5IrEbeoKOQ8QD8ynMYx/bYnO92Tt3zTTagFR8v5w7Dlm/PffH+n/AFqms9Wf6R8+IkIOqTCzykjlKUpSDKhPwM0PofpdzsEx/dXGr6GPEY2VDqGNhl6F4do4VPXfVwjuwzj3fs1SItYeNX58xBUXAF7WlcdkxKHDONQJK+wQcXF3uT5wSj66BkYrw1eFWHXNI0g/9KWKTxbyLZIvnuMWzC3JBwuz7kgRI1r71ZLkGxgv5ueU0LDcxrRja/XDw2wTg8qErBNVjNkaz972aA2U6aCpEreccUDb0NcFIFz09NvyC5Dx1W1fE0gR3bsrML0naGoOAVBhbpJwYyqu+lJH1qJPuvHpgxVGpViyvCi43EPL+QwCkkmCaaCMKafgDDD4FugbulnMQ8WXuyTHv9V06lXIsQNS3dTq6WbkXniu9Ir52WQRg0vwfQI9ZGyqpWEvmYV2vRwbB2gCKeeMHALoo+F5S94Hf5UjQbQKPxw9wqVaWL68qLL6w0B8TW5TPYj+FHYk99Fn6IPxE2Z5e1/FHwTevq6y2ZywOn097kbMELa5NBO4db1UuuKfV21rJB7e/8OleiRmZfZWcZR0e9SwIsRgCKHMziN0h5VAXlKmgmPD4j7qBlhgDhFlIOqqp4P2gqkqX0oich8s1Y30pTz/QhlJlP3J2pVnMtfVMoW+kJaPGZQ4hBOA4Q0GfSpuu7wtAMSVk7TAdFPS3j+CQsGQ65kbBt4SyOxaEle8r51EVIXqxJ3Ixq5ab0YDGN9nh3sCtA86NsPApswBDArQnehRKplge14HFNCABOHH0Iee9GwjSfI3u6lWQm9FF+hnlJKaHTRwJk6gXBtjD/Wx+X3KjqWfF28M7P6YyqgxCyOj+8SyoWrI4j/ZI8DplFMIPbBTLNxZ28bIgJ3t2Hxj5rXUoDdU4HqAKeUeg/XuJVVOaEy48ecbNKI+hfXiFkhaDJcjligaVwlilDsJUXqC+P4IVs8IrcvVZxFgzqp4C4lDid4ynsdP/9yILpupRUt6kgQzSdht2sM1ypvqaD+wPxDrxXDU0IiMR+rleGepkGKBuBqswCFdW4WZ0BqchugrjLdVGbka9oFxvtW2OSbjdp2hkqn3XtBqRhu3TBGnQ6CEvSjFPq03inzukCkLn7HaJTmVj1Lr7ytmwcPzOAa2daFSkmjuXjobf/rwzMRUQEKV8Bqz1f+XO3NtOe+tpDbrk2IzG/4w0EK33zMhcDwS9M9qZMKYK+18TDKh/XFKSGNAzgk2QkdczjhthgM9Nh+1LAiQShl6zLjpidInb9rfi8PcJcVPF0lxKpkDhXg5AI1uyhwX5l91hmrY6LT1HF04JMa1z5W8GL8oGuCND/9P9EDQvsBMCRXP59k4MdKedRjAHGexF7sSeAhUOiUVIChfMxs79x+LgmSexCYhxgUqMJ/XGqHY79Mv0EZFG2jIKKC7C/CdrlVQIRbKMfYka9DeStZVU+m4TdTNbF3x2UkvjcaSxfaqjYOdmJlTYQwNc5jMwtxhfhn826srym8+l9EOyr1sTqmFRL1wa2OU1wv6TxMuX7rAUuDMOUcVzomVqp9N2LoYkp+fSrisVt/rC36qQ9ld6O3DLFkHBJBZD+fBYRvKlTnt3RRxoLomJrp+r7TnDypfdB1h/G2vvLEg2aljrejCP5jnwBycdSJhweDttH3XhCq/bMcyD9YvY+lKf0tmU31h1jPmD83Xlxh8JSfu5xSK/ZgAQMHCcC02JlrSQUOlKmEP5NXvsEHA3EHMSUtZNLLg+wAieKik4U5FXUUab3S3h3dyXzco/3XMW4hKa+z6arkhE7SZw3LWYs/ngRhY9bWClykC32tgRs2SJTXJFJnw1YfehHQ0PzaC4abn5w90iMg4/wwfY4UUSfjZE+Y5/J9LzPOLW8gOnKStBnF9j62u74Dzd6faTXs/LRs5tqqTgfUoCw+E7LApQtF08yhdnGh9g9J3eEXQZVqftCzrZF1xk+JlUYL/CGE/5uezzT+F5jXUhAn4l4X+PP8whizWKg4QpN919JdvV5guOufyoJh+A3UfqY0ucYz7jzqD90eVVfXC7omCK+0CyrkRpNqYvL1oBNhtFf49F9gJ6IyTf4+6O0PRQSOgoe0SuLeUP+u3hIqd9eFFxb7GZCgH6QBKJwxKddZx9ALr+i8G+CJfhaccgmfwunHpwjKNE+5YVVCXqzscEQeLHr9ZMhQgxrBxKFLL1nXU7J/uiIEEwinSzXV5Wk4AAGlBdNsiKRjVGj1yIl5bdbA9OTKoXYWoPF3ByWDoVtRmJH8CXGvrzL3ieF3fU0Av/9fiPBzq6R5x0FKRvIwF+i437lEY4+AyubbBVsSsGQdcPNgQRPD4dijsmgO0/9p/BgvRd3tGD4PNCA24BwmAYkeUelegjViqB4QauRUj9x+g2AY7DB1qT9SGXPwt9eeqp2XDyYrFqv9NOAXpfMYce3DkV5Q1yY1rcA6ev+WMbRdoIBKLFE2qvKMU4TK+CZE2YtjGWg9bVXdWaD8HndDQJDlX/diLQ1W5612dYMt02k412CD83f3O+JICIadXDsDR1OgDW0ENodFbRi7yy6GFgRDEspDMSZtxrDCA9qdjJjmCZVFXjdnBJK1ZOC7+hHLJIiJFoR7NkqYpAO5yT3ZKTRixGLCw11Ydc7hESxRsgFfBrnpLgcWo7qrbO5iyY39LEAbn6Dg7/CWI7M98fQNXCGaaHKEdFBb3f8JfzKMaamLegdtHt5mX4yu6cvO572ZzaFK5FaYKs1eBSStcwDYOfXN6raOoc+wPQzCW+EqFoIt2d/odh9kFbQG1e6TRuxxX8tRYD+ulNyKtbu+hrL7nUPCWwEZbQ3UMs7dY+DZ6Gt2iiJ3JZpoLvRv2lMe+7yWtMohgQsXbYkjxPGKpWyWLMr882S1Oql9zSQieD95+FDDd/iO53JRbxirA0We5bCEEfcuNqvVHn+1ZVvAGOsgrTVDh3DAz5acdItS3AEcQgE6Z8fsjPZ4b7rl73YTC12BeXCAIyt2RmPmB76U21WoGoFepKVx9H+lJV8JuLwdoAg41hwwgNwgZjL/YdOGpC7pjaaJYZC2szcKwxKJyYuhPKdGDV6oSlhZa6sowfEkJO344DT0v3pOEavpcNYXnVCq8PXp2PDXGkRDMgk1xJpj6UnWvFr+qW6tWQX65GVmVu13KybgxIHFbz/4SXi+YNqnSrqA2ZA3n5crD/CtVTPyvP7I48284Nc0TnW09oso9+1jQZM5b4gXqKr2WkPWr7ccfaWCwrxfSSexG8H9ocip3VXhArlHHeTniKlOVjd/DZ2NZwbDO8nyFfir8ZpmG4VowidDPt3heMPHDlAF0pwILKEI3uG5GaYZjuEfCN2g6pRHeHtwMHx732jyyqILowNcKfT1wJsraOX6GoBvYhxOMsnpWOxnTWRrgNsJwagRvgXhtgGhZM2dqJhPrH/l+0798S3SW+2rZw2KeE1sGpdaohw0brmKsUfc1GHJ4Y85tq/QVqNBUIpa07WkwXt26YpULDKTW9uO64DdNT5ACq9kT+OxrF2b3GFtGl02hUgVSfs+FftHE0Q11UlFEHQg9eeBPeLxpZS9Oy6jbIB0HW6zHKOppfsRw3G1H+zfd/VQiPrh5smyJlLmMTgh2JMUXtjEZhNZ04peKvcqdshGpwdBdxFRQY8TYAaL120/EJaLtjD1hmKvXH7g5QGLeEmhh+901ZyGRDiYqrhh8rOhv49eFaizuFWufKQ043Yvs+Udjmchc1v1jRacs4tqAotm7ywMZGPF1hcuILfwSwCwP3sc+aKWd3jsf24a1+VZFC6gimPIQ/7uB4vfGdjRiB5nBvMaejmPqSkZ2orb9u78IacK/RKnZscX4QEFonqEH99xRKpNI+XFWlnpjM0hRX5pdSlpGdQT9U0vMmvXKhUoFDgr9zU8S/xtpughOVyi0V+HW5e1j8IllkmI8YB6jFFrJnGu7VaHLo4BM4UaqGWkEMLnKeOU3Kwlch1yjHu24tWXomN2mTLfyNRujujRzvLG4FoGOBxdW5E/y/z4sHCyXFRy7Oc5hc8tRTT71EgzWzIS1dLF/4fuEPNc5v6BihfHMWpH8xjkuEqRfnqyRK8L2vhQ7pMZr06zOhLm4MbVipyqDlDAPIil7I610c9iOhYzL+e4leFB+HKVA/66Hon9Dp0MiC7O1tnAfTM33QuIwpXZAM6OI1kcsv+YSAVer+8pP0PZIGSFhaMbUPwbxJnJ/GqvlsKlOyKYtglo+OHsHjRuh/Fb68tHMAnwLBPY25deqUvk4psLqY/48R0m4CSv8r4jm0rM8SCshuA0AoT+RqhgFXdJlUNtHxI3zhHFXcgYMCYLYtPow1rQDz9asK44pPCGznIIVNN3oLc17G+JXdhaq/0SlBKZ4EdT24KeE5z/fcJz2zz1F3LtC147R27TONOcrxFiccuOumnDpzb4H/bxrVQg65n4O8nJukhSm5nhCv1T4A78LnFuLaB1ubFrvIR0m2JiId0KZOH6yj9H94z1hkjMjUylkz3+U10mdctO2Toiew235nm50edT8Qvk1HZEvMEBu6LK3DUIOMocyQ/tMuDW7y1UQJsgfOI/elQkR6PF8sWSDI44/U5+Iq1FL+iF2PCcnfiXPcj3gKcH6dMoQ7r841PQCpWwRE5c7Sydv149cmSPRVO0EJNSJBHLRkWcwepNocpTHm9P3hkn6XQTxdkH3CzvYS/MPNTLSRbGToku3A+/zgTe5rO6vUeWL3ijnyKIoYpHooSnpNhu42Xcb+FKq6GC/4rfEbWMrO6NsYdZaRnbtjtrW9dmYHWXjO0NyNxrfgOY5xTM/oQR8lnSbyfb3Ve4d55+T0tzTEUGkPlmvYYsAkE1EuvX1WHBjyH+gVqy2bCQJpVf+A5IgdI4B/AufDOxsv3yu+ieXZDPHLLhPchXBpuAKBfpDFDsp7oDJdeqrJhLQDnYmEulSEiIDW4UpaivbjTmYQZ47YeyVymj4dM5E24oQPkuRhsRWZJhRQLM1JqOWRxM43gYpixXFn/NYmL4SQWWNhlrCPBydqW95u/e96e1SzdPICeRcOmcgqR6CxgvS283pwHJy19rtVRNTgBtfuwQZDNkEU6v5ofuierkmMN7mkH2vl/V/l7HBiiGfjxkd1zkweR0HjrdtTwdg/BjgUOeuG+TMHPn4X3MzFftphQAolaCfUAydBTGhRTT9D48QaBxUKJJTKEAAmx94/V0Ukr1HkUWzbk7AgpXTV0SuNMsSZ+pD94sV5RDfc2MZEphRowAu6/JMJmL9aKFYlmzhO8RDP1ddqZE0vl9FrZaWrZYQ7EEfMnFJ6E0hosAsTqxmT1GYBk8Mrtw41yWRtWpwDjdCYcvlD1VNRmfqh71vQPPfo6RDldD90fs9LitJCG0hdD8ZtxLH9hpHOkmfb10RBzsrMNKQeCob1NVFgG1pwR0MQhEC8L5T83e+CJbY1nZI9CfgJ7YkJRD1VjzjyGu+f25/k7GQL76CHbq3JhCOOp4cKUegaa77aATQjOaXhTAsjeR0B5lP5+nAP6HWu0xTCumAprlyTS2MPn/LmIQWW0Hx4iK0eAS7rs4+EOIzFIL5aGKVVl81rCRE3jO7rEIKjrfvZJ5Zk5uqmH+4jr4FNWyfDviSvMhsllPjncYlNbggopSds8vPujp2UtA/JEVMeOboTJjcNhT7TRRaewaGBLt5Ucr5MbT2sQTb7V6OoIBLofKFOnQb91Dm9ytK8mMr2kCTx7Efe6JVjZJh8ATxeOmQInJzemezwVbfR1qqqwZdB7EQUzK0PAFF3c/wdmZCgEzFhR3ovF7d3S1EtphPk37+r9pSIR8KFRMfEzdgGW+s7+gducCgvbhOZOSOCesLGmQXsa+kPSbD9tvvoCeiTNcstnEmGkgIlZPAzccjgHgkezbvupGPuKpEVPQegKv9b2Vh7IuQtlYs4CNTT/T+ZWH5GuJAujTGHB3M5uJOhZ6ztZa1FAxywrb3fNMr6PaFsE/hNap2tzhTBM/+R4dKOUCFOwlXPmpvQnRqm4X69qnYFmUEvhSfOBhuc+CNdjZaLe6fUmfVO0MZ8Se2G43j5yeDfphe3QMHMCtaJWLQLLpriDfYB8YoXvO4EAcI0k1JkSe3ONbJTxrx8VmF2FYpuP6q9oVRO8Jio2E2byP63m+w9+2K3eE21yamfrtW5vQQR7lzJoVluPqFq2y7hAyuQfQS/RZJ5eHW/lBQsE3lPRdps7BAPz59/CdtEWlVXWaJEb6CGZXn0jTfVrWBpJENxMnmH12bp/oekC3OPtklNHVaZx6vV7WLMU/9nTp8mi98Jnvz2l78abGS9pK4IqM9f1jOgXNB5pK5FCSV15A97tgs0FAhED+3z2urQnHE3D/0ACHpsB/w0qbc8ufqicmBqjRu15Wj9Z9i0mXxL+aZdKURjpU/ZmXi01J2jUBtSxEs/ATjKdXCK1edir1Ix5jABvOWB2teh2xllL/2XpJ0CcpxfjFvhSbC/lctf0R6YtkpnRKOf/pzlzaa+IrP8wHGEujpkJoC1KUcnxR8z9YqPtimTLBFKUp86YtDUfJaALH5LZ9mIcwU5wbPs+c3YZXC5xZXREmb5jmqdUFTuHSNE0unrTpsw/CjqsYsush1a0/+11ge4ZcOOkmE29z2AwUM3NVPQxoV2Mbz83AFKZta1POCBmnmyYW/1gM3y8BIx8TKb41qIDokHfzJRnIOyEcFJ3mYvmXxfFKXJr+1T7hrCQuMGN0VQ4jZ+fBeiOU4dODIPSUFMzOyaFd39mMp0QJ8TReM7/T/Nyaev0cKOPe8SpqxHWmqonRmYsBw+8+DSdg6EygjJLU4foU+COjwEVXAm73buzc0wW5Oj2FAxRwJjvRglGBwpw2PiYMApkCDwF4iV0KVqIm4/S8yyP9iqC425D0xqlHZj84/8iStgBpO6NhiV5AXl2Sqct5GJg0mhDCei2PGa3EzmBSSB6yNIsanU2EiNolHfNAX9FUfOZEo/UzDxcTUX4QVnOomm/wFcq8+pVyx+ar/I6sWJAuKQTz0OvQ9pRViBfvwJIK4O4Q9SeMA/zOJfbKr8pF5x1uDI005Pof4c/G231AuSeW/D3mHZc0crQCAGP2OTo8eM8cZxXimmQwl/8uCX+mYEJV+ifSATUA0q1rZhNiai+WPG+SONyX9aNJ18L6sONLQfH5dwVmi7qZt/KNdBYfp4gCcL3DUKLzjEgaBptG9qqcCZGzsZ1S3gOlhLYvnD4vu3qIciHVFioF6kBtMH6hEKp/u6w/BoI3Z03ip1myHDuC38JY2jPvQowashNmnmBJ6DBFNLwMkM5HjY/TxO3xNKz/QpsKcyK0k2tw005QlF0kF3UbBL18PRlng+17sNNb2zUX8vjBTrmJLdVwvXg4dbtmSYuhRYjbcIF5zP2Hvzy0g6+idqDHdrKiv73vU6jbQ+ofxdZO8+dlYZX9bzKgxipWr7bzw2yZonL8nN9n6pjBDZ50ifI/yNmB8dNF66W9VoL5benC0mMMu3jXKnyEduutSnSnpBucH4wA21PUJjhfVyS/qUC4FGB72JRnE0zbcktJIs9HMAyuvqwVJXURteEVvLUWDDvJiumv5uivGStpCmQbph+rouU6IyAvi2fh9aSWCvrCErdfhmNzBN/FiTp/WwzL7zYwAk2gimgkPw7wCUrqDIMXZ6QSH5Hy6BahnLy6b4S18YeKmSF8t+ELBfvOsutC+BnyD/mTaQE6y/voK/2uzJ+79ad5kv51/lhHRKaAYUMW/QW8EVCfyrOuT7s0axE6RYE5zPIT8tFcaTAVWPdFOABVCSux6Un99TNO38Rd1wkIykt6NuoXtMDKvGK0ip+lGje1aizww/8WtBsP7evgalhxs1tWWAIuMi9mKZYAtuEQXkCxasjfTf31DXxAJM+gMzimogaRB6MAFijAT6AD7Jg8ukwA6VO8QboRtLvcAuVWPKpPjYgAiScB7T4ce65h19BaXhoQq/nlPlQmYvF2mku5VzG0t2IgyxcZBeRXSs3lEouBEAnO00jWz/145QQn3Ozn6D0b17fFp66FOTrWInii8jHOLPmGmo0VsytfxasKeAXWbxEegwGNLuj1EucTYy2fCaXRt3C1zkhRvYnB4fwANDCLZajh14xdiHe288xCKmL2gBN6HDAmt8SjyASsRWocyh4eMXdVeej5IOKLH7ALHC4X2f9vJdVT69mGq/FgBQDYVqYhVQKqiNQkLaRjFVts760pDl4SMNvInbx9jzpWRLJWSiVmcUghDb1akYqT/JRdxqutDfGW+NUqJsFMdnq13dADnX7sxMDbIoAdOJ1e2pZ6RK8zFbAngYnBSXiyG50u6xRTxCIZYA9SQI88Huwai63z7wkUE3T3y+pHNkGMxYA8T5XsnD975CRDE6fwoKNzAiv+cQ1v2VgEnhkx2GphVbRq9IlUDXMHApaf7nckmkHZzsF9du69hcW9S/tFPNIdNcW6tWGlFfIfjY1NTX7qhUqJnoUXYp8cDybAHHQkTS9Ob6VJ0SyoCrtJ+ovAUQ6Ou/JhYPJKpLY7Cpk0HpcRzNFrUuEca81UUJX1BCK7fcOCllWrEjMAxh+XrZ4JOJriMnjkvzYfdDd6sEZMVyULG7K5izonFC0QSbpm2aFlOKl66d5x6wVtyxRJ+QrbFeTcT0X9IQ/FBlxfpS6QOmu+Qwt+xeLMCq3jQXMQx/txS8XzwxnlQjYPprVILh8wDqGojFuCR7WyqR2qX8UtEFB49zgMzeQEpJL9fqU8jbe6NWWoClr3aOXQ3Kx1b0cI4FhKH7TZJKNpwaVbmXKDhHda5rRcnrzrwMIW2HO4dOTzg7B0+sf/GPWH4uc1zBIH1KKdD7QkKUPNJrh2rFXGFJFHHPGsq4HK0cRSQ4JYxJK3/hJ4GUEFk6YF3sYE8ZavH/MO90XUU/+fXHZsXlJeFr9wNGpd/PzhNhXh9MRM4IIEkQZfJUkBgJkTd5PXkxPwdNE5bNe2TTV3Q32AzJbECLXnFbhNrKoeiqPGpXbKdID1teA7UcxKAG+1lurtDXvzCbxF238FJ+jV/m/9XvmH/87JvYf95jzYZPQfmAV9UvTwQEe1skEY0rhO2xriJzWHePtfLxnr2Y3bMhn/TH5lWJNHz7rZrDdzj50hht/ORxJznMzcV5i3Cx2qrpBz9e4IeRnA+HmFG+jSDlnfn5PtxLx7iiPXbPUFh/+tQZANMPXzXqPg9kIkkGw/qhno6QxoXOE3s59QC3lwMiHCWta9gGCQgqefYtarbrvFOQI7sb0YEfPmD/d9TXIZoChVQ6JGCf4bckpicx402MkFI/QnVlaBN2ygBokkyg4PED+iBmkOcCJ0e0FZS3nTjgBYTiqO1IVxqIQDJ3wcqAL1mf0aoyp/dRWQ3Fs4VXXBk5CiRxg6HhG83zY+0S8s2aMWsV2Xb13mU5wSSRIPe+3fWmAa6v0A6ciI8DnX4z1dpqSmeNXUObjTNzCs+wNLOrtkh5cO/pbpYB71XQT3ouNV1H1823blxAlcZBf2haZfVV25Hkt27ADFBAqiMDHSWmHVlKgLllkfhSacaByECG7q30vdNUxRmKIkH6ROXTAHHEqfJvCY5yGLPbT0gxM7x+ukMKmirSAgmzUCCXQ3FTfHZQQOKIUrpv8BhrbIUjdZTGNCQ8vvPbcjdVYnY8TPDCRf0IEmjxwR/i2kaomkSqNXOIga1tnazN4Huq4Ac9T5AJDPyxU+ao0mvICZzDx1Ibv61Izc0WTfZU4GK1SoROPBIj7+HIG1O7M/RnwAmyCoqdtQzaqMnBeKzr15wA1oPPDrSCkdAC32dDkKjwq/f4qg9b9Xb3jQkBTr3s5rDe3dlSjHo3RVMJSNypg9ITLlqQnLysh/MQ165WiGGXgRLuoE7zZDXutqK/1T9bDjB6a11kHZkc7uM4cv0PrHXC4y+YYLdvm/OYcN39ycpfla51XlZgGbA5l+h8OaiXcLy2fDzOXFikVp0CFdP7CnHoINxQUatceoAI5k9xwJ6G2zdWj3/G5xOk0UZ6eT0QJ/R8Mla+yMq3LkDwxPiZweoDr6zAD6/6Cz1iICD1m3WE/KuY9iZKfC1OzQqBqjeU21hUyL7yyU497W2qPaC6qrno6sf4p0bQmmSFgKkZ3jGXrjFk90bqxNTWKRchM4xzBPmQ2f92R+ym85b0yU4mWlkMHOTE6jgz8r02HwnTW8ocIKLR6o6vgX4/BV/QDKNowUicHocsepXXhpJisAVVSy/FJEp/jzg9g4oIMlPzKhxssaK5866WyFBVBuQewoSbtSMAHyS+lFLlOschMVxx0dtVg4iOALnUmz13n1cCDz/YaPbW1h+bLTAz9WMcGHB5tu32ZOaSl90iC07csLUR6V5cmHR/ytD+/mjc9kq2Ihp8h/9eHPWAoBLiy6hvYhlWbYvnpsI0JEar2qUVF0pON1bDDAdgkCiog3fMhM+nlvAvn/F3EVYwZl2W+5RmFkiO1KkjH/DV7Qvhg+Ao0xfvFdcHkxy5Abbq8kmir+0TjckTnAuMkLbcrwkWFXkGfN146Gou/m2ZLyZ9j3dk1TZu2LL0LfbGVyUn4LhqMqNGn+7M3vDyGYBSbExkpgLiHbLzD440X6pPjL3hcfeVp0shSJXKTseawNHMkzHA9rfEQwf14xlRVDEA7+7cCbIFVDWXok/v68O0BeEdUHR/tIq7PfA7cSF5EXig5werl/0nPD7Pm/66HYWbCb+1eQLzUdM/IwS6ZG/mFe1o9FYnRx7a0e5oblLeozp2OTpHiKhhpJiTWJuPFPgo6tNowTIIwLjTgaDSG619N+l5H6QBMveSplYdY9s5IZUb1UV1Z5tgb/20rvpNd/pnSMOS/N23fAFoiH8LXqnpP31e44ydpLibpZeef5vVuk4FlikHKKizan/8DjO6JS8SOmBUyyCo8Oyd9EZ4wJcPahZyP4lkC1HJtAs8rwWUZcy6fZ9qF4U6CF5eZZmQI9to8CMXew7AhrpTpwN8QbjnwHBuZUUdGkFBq7yTQhyVIDe+j55+h0NseZFTfWgUydPtr3Y5TM8vS9hSPf0ihuDBbI50TAFLD36ccDH853RuUoXphaXjnXF6jRtRPA363Pjl/ZqfQDRWiJpQEVcxtwOWnXrL8qulDtVA+l52RDxtTHs40DBI/GO1g+OAc9uy9bn9S7tczrkqcuc/YqCDTC7QCdP7UxRhN8aah7yKPbMEBX14VrWMK1VlDKm4jRsykZHxtuScVLDmx+M8fZLQwkYlWw1vmHcCmT1G8pR3sJoGrRP6/QW/gG6LU9+CfHOpgrfSBPmktzsIY8DeAabeZyzkdZDp/yjaB7fpI0FpDMh3ywon7BgQykdowr76vWbdRi4MIXS9m1H2YWB3mCUrmEoE1C/HUamUEu/UjaZonkqqHVwh+Zbq4MJNkjsNXXyfNI19beoa9+V/CuFoMVvi3T1i6iJdYNhzTNfsEnNcTTohnAwMr9KH5So8M6GCB0jnw7PIyKBoQazm6fr/yUX3s6yE8+9HGFFmVaJ37j7csxEi/Y6k/8ln8DrCFksnNIPyL2EW3KRFJWbR9XztodtojvGmwD8DdfToDT23rBOP9OBATtNmEYVcTSWIkKIDUMN2V1bVUBYTefcAxJclA8Bskgxk8BZoGYQkWwcV6u54RW3Z2hexFUXp3sfiemOYGvFYhfJGlj+f+YWW8YnvvDmUoTcUBejVw6bQtu0N0YHGFGgB7OM4F0uiLOB89Zen8Fr5V9x1+eXGtfXXxH2rXe+OfADItgJIMwkvQO/9mPRVPqs5HY8qpqCl8yug3RaJhYV6sSt4xTZqN147zIND3SSqVpp8RMxtr/Dh8hq7i0jlkNpMn9dq3imHGNhnYgFQIFNMM22LkaJPStASAV4if+u6K6O30KQRo1b5JLtxHQEGvlJ8lMmZ0g8x/NnnXqAhDEbv7nm0fuldxR1RQ3X7UUGZeksCUqQwMtXdoPsLP3kgQTN2M8jmPOO4QF+c9v/ff2L0xxVY82qX351vPjE0xGjW9WK+W4/Erv4UnzanUy6zYkJAz9b2JQHf7UP4SyI5USz47apD4mAZzgD4g/76Ieblrgin/OOzWCXrvAd/0wCOM2DQ0ieGH0NKb6iQ1jdU2VV00Ls55czPL90cTcDvl7kk5XmptxcT2kXR3P6ecHNR9eov6hB7CCTKgXZUnwfEcu5WjNCgUL4CJr56e0lFOlDNt+h0hKd+c/4WwtjyB80dkSQegCqIfs/+5FxIkahGHrvh/pm3b4NjJy2msES/6f4BRdZOVoNtLIm1CyvmKB+SYKx49hCeq7fWi1h3DxA8zUOL82jYiCOdiL05377FRuxFjJ8EA3jYfS443OME/4xEJ+s6b0Ancq0cbbY917OArwcRPI07Z4VoVVFFYl54aGUgm9LDV6IQ7iUzTz7/go6a4RMm5ms+ttcmA5kiRS/kibJ61LU/J9FtwFEENhUf0Cj9TwdkEn/16ATSF4miDadJQtyoiGf+15yb1nJxW64tjavzbnL88WT9Fg+rPzxcJ34DMJyL+9GqI+CmbHiLMpYYwJ17jbQ7zUWs5omcnbKlHLzBivZMuClxIC0X7dHtYqTP+zFp67XXBqRssaSZ2iNPR1ahyzC2mfPaISjiDnlAy4COnVEiVhyffkws8al+VeFr4hoQweJac4Lt64zCUb68eysVQGVQ7/SIMbjVGE7kgWmTO3xfxUJIohOkdgliOKuPcyI3hyT0gT4RLbiA+LMUbMkjNg4vrQ8smE+AdOt3Yk3szpx56rGysQAg92P2Klu/RFcdZmgxA1rHp3N5HFxTk6REFoMz9fd4g8ani6J55EeoUeDC2QgoGNw0J5Hl+lgJQmNT4hmpiHMq59kh3R4N5UHjkehDL2bS3uOTdOahakQYXLeWZHaV74sLRihoAP1uS9EQqr3N2uiJacjgnQB9Qv8Dh4uvNxaDbUYedNl2HtHuCIJNiH7O4UUDV11GXPDu5kAi8kbn8QbhXtYz0Pk9tjOR0q3kMRY0tIth7+f5+iqSF+UxUcU68Ei4DWWyuEp4B/FbFtPvoNF2MSvW9Tu0dRoL21+yCXceSc+cLoxIYf3Wgek1rRY8TOj1ALULitAr5EzfF9CDB5qlr+j1tb6BGVdJ3kKPVQAzUZltWG014l9ie+FgDg28GAEeOMpPJ70LUPzDtyo2BmUOQj34bwUemB5xJP6txN4Pd4E8uGHnvPDKrp1lrlaynS5wqUiyTSp+oxzJac0qVmw9yxFzKpOe3/Cl2kuBqVaweJlFtibDuDe7gBcTQwFsvR7iZ3q5dPzaFlTWqQAKIF3RQqYJQEiHgqyHlHpVjVXwlCxqaBMMZQEMLxvs9eXuyBuMqh5sJ9s36Bfy2Bmch18aGaWVrAk66bpkRBbErsdsp4gjXzCLsrXTXAOSHIwE2lcjZ16/ShUEZTxUaZ4wncQ5GTheKs7rOUHkFl2Tc/FWVZXdDLFJSiumlwPoBq4jqlczsPYSO0ONYFy7HlwYOyFxB6LtwYsZ9+FqT/yNl7aemz4UyvZDZxEplxzfB1F31SqndPU+VU45QL8wJZLquDuefd6ipMz/y5ZXvH1IFmboSFk5ThsMikqInF/QebN0VW9Vij+Rf3n3Tfl5ieeSNEy0jQopeiYSuk9h+CtI/mBEm5kOYUFQwmMPmS7dfbIUDKuF1mAbf6Gs9EaA2NfgjoJREeNpwYB15jT7x94vP9YGH45/CzTY9J9+qwD06srAFIwdXpUifjQkGRMV5H1RJ0pUAYe+B6NMIURZFeaLyRY5WL9qMoL2MoxVDsHJykcpAMYtxv2dnJz8hcQRFPOlQ91UnTV+W4dpfFi6HG30mx1jarVv2HrxUgf4tYLnSVz+kaPuFMZ+MxM1JQmEV5ocAIjkGdjv8Fa4n/6dETyEg8KcCePjcracwFcKTEFnHkIX/uDyXiK//HHHRVA5VcJXOMA7KYsZnwjQLPtusOtSk/oNK8GUYFzY6RCDm7ULRhhrWx/KLUEnLMo7/xNkjg2GYNhnoUcLZiaMzGoxGlN9TYa01hBd5SrAEyHqZm1qsqewHkKaMNgr5MsLKIqhetnc1TiSmylch2z9qHJhS0OWB9E3edsNwRcUaG7CWnmtqd9fQ+0PDzTPXvBM1CXTHWtG5eClVAr579WSDQ/Toca0EAKKZuns/SCSG8oHdQ8pbIpAbSoku9rGuxFToT7e58wIy4ILnMiyvLs3LZouqgY542Fiaf/Tk8IVHSIDoIqGruwsQseuNF4QRjsjsU3VJXIUiBPVkYqS0P/mpXCK+VVMtMe3lvvBA+BW8KAnNl9PMO8nKVCdCtYe+QpTVFW081AwZ6kxRMt6O62qhudRaLXoaeiqxufH1ec35Tnjhhn+86kpiG3LJNYxYg3DTZFmauw0Dvh6857Djz2+W8Lqr7nqDA9KWIce/jE05G6DRKCmdbQXyhhqOANi14WSmwT5vUFEtIXCqCO90N7qzrvhJYFB8uZJVpOBLajqHiKqspAygMzzrm1KbRjDLsSonREmHxZoZp5SubIlyUR/NSWQez9MaqT/k+qWfrnw+qpiaM/hr9M5MUENb/JerZtCa2kRQcbg688HuE+0YqYZchFLu/joI1pkrHJ2gC76to4OgjpYIiqxE4+fxhfVS+T49Lr+46TuCT6YXDPytsv34fwGpyExBopur57FDkRBrEf8uzYzvTiAQfz7p7mtmT7848VpN1wxwKQqT9wVcZ8HS5oYSJ9GqKxwWLLTQn7TDhMgbPoPPlwDnz8SkukQ/BfL/dpmNLtRupWXIBfY1LoprDfYbDq55kVrdUqTDA+H1jG+V9nnF/LHQEK6ya0p/Fe7PVMgTgijUp4fghLxDFzoOi4IPiTJdSqTU5w7EH+bGdfnI6NgN5mBOHNTymDHc3NKAUhY3dikz6nQMGkx68L1b2ftWusnIwp7/r6Z4f2WZCcRERZ4H2pBpezTus3dyauB1NXfrGWhHXG6tgEiRPsJCqxDmzQRS7D30cXFK+Cdtj+ie2Stz9jYcP3IEhTu0nYrLFI55pkSDgt4jbzdFcYjOLfn7kqC3s5AcG9DkSGdDTlqlgaRz3cznVJIXw/oFWVHHsTYarW8eUd9KPqQnFVaREjCKDNqTeDYSATwZEz8y/cJBjNcnAZEOj6du54gcct58pJSXW/wOWVXB7w95yPGK7grU8D2wXPcbGv5TWH+wGRPHmVsYWPqlqpl1b0dPEmT6Q5gKAQIukdM6rkwdYHxL6hXPuT+IhmyC6imhiZ1KBj2D20QqhRgwEaHQxC86t47FPk/Ybvy5tJm3SD5acQFTk+F1cZJx+BErlzbrQvdwFFii3mUs2EQZ14csa8eXMaf1yihYAxaWlmczK9IoIm7QmZCHaCOWkgkTwqtdPczGmJcREaENm9nEsiFAOIb83Wwi595oxCkMdLkMKX0lE7DGalwg4ewURHoNJCeodQv51QlKnYcapUkXRM8Wfbf8cWU3o1SKctv0KL+24Hc5LZbtd2RkfoXtHDB68veqAlhM8B9G4WQogSRcK7wt7yYuV2KV2rfW2FbNfwKoFx+dr/DTRYOPXHLJ+Ogfy1EpsFRKlwlPQPuyrcjjjPmYsoz287V3iQUt9v75eaWfyTZPVN3j1VLNH7iUbeR3Rw5hx/9GE/qrH0E72PgtLowtzrvzEfnHHc76b5kVjmu0SGqHcQ/f6/diGgZN/Fn227pv9MV72/CEhg9q6I6Msbl/p+CoG4yx67W3Q9JEFgdgtiq4NU0j13hf1vEmwT1wEPw/pEP7Kp1kVIONkD3YWyqNKgHn/QUKRFsa+ltK5AOxveUHX1BUTnFG7UB55nMtpArvHvvcX82VUjFsGLuIjpWb3aB14gg0L74QEU9ResXrhmTJYks/KrIzCZZCNlNVlI08muuOlWxAP29zKjqXZOCRDxXk5y4XfQZD7HPtlukRE51mgrrDRh3++TH6ED5quefHA+1fdomOtbpCDovk7+gpHiHtinPW3Eh24/SX/ycrlSA8C5v2I1sgdUY8X8zi2kSjWKRR1vwwql7YAFqLCpbg22GHtPe8DKyMGscdN26kFw/GAbU/RtOrlw931oxhylODeZdUVyC8tGEYYkALbxc1q0OSnjr/5D56fPGQd+FAuuAB71Y2b6AVK1tcm7DhlzrIWx9n0vdjG9gBIdC7cJyuNbmd4Z0yajfI3ACIdNfFp0M+wCl2nXmBdcbCOtVg1sbjomPfaLfhZxsPqMHCXYBpN+QregKGDJujI3F1tmutsGRADzp0jbHXkjxXioMz97bDZ9d1E7vgnvJ1LHIyoETkJFC7PVxB3yA4J3U8mzmGZEnZld5HEtCBfzybPl0lRN5vJKp9szkZtq8+Zgx9of888JZGqA2GvDjzDJFavCh8iWhQ/3m7y+ma41+nkRpzgPOeErwjqSSc8F14+NeusjJ/kJzF2R06u0D8I0++xUZyaZqaIX0iDVbu1UTtaxvtU5+3ThiDm4289Sp9oIxjBNs7fAAoIaAV+/TWRAcfJc1er7gq/OWCIsT52PGl0aPPWW9Ukpx8YELsseTI5viwt1/LX+X41cmzRfcWjahzqfU0mZmEWRgRzZTEK1RXYzyJde/9q9DLpQog/BxwXsEEDXKqGzx/33fnlEhpSmULb6j+6PpGDFWnV7prAL4jk/ED3oEApXcsb9jLYk0OSIETKIfZ0QwxrxFYrfh1JIQyzU9foRqxvQGqkefOBkTqNiogCzv8B2Espf4Hm/Ek/EtaDMdthSRYxPD2mQxNTBwHmuniZoUnJ3jylLzWmxmKh3ZRDIdOEyw6EgYeclzQ1a3WXhtmN7vNxaYdXWBLLjSRZ+bbZP4n249PQd9Lf3YTs2CBT1xvqpXE/MmKgKZmsliOjD0nlxskh+6PcrNvoyIrGmbfob7IUSAcO2jlvZ6AOqEbgF2vmhDU/frq8SnpD9ea5nIe7KVPa4Pbd4S/HZUyautODR8RS0BUw4+NqsK1gCqISzgahdGaim6KW8WcZ8gHV3q1EL26rgalw66kD7tL311mOHBOPBYjoeXhpQIpoSEe1IzT7iGDHprtr6NsXRoNW/mx+AKQ2Xxm7xMHIM0hp7QkQsc0diaUEury6SUz/mvY6IJRKfN4ILg6hICT64AJQRv0CR5L5ifDkPwzEhm45AB/v9sfZrvplFD174oTtuZyjwzu51Zuxicl4Fa1AZjCXk72W5aXhlv8jJLhJHd6lxn2bCtNbqw6ep1z3meNxA/jhrL6yy38heBXpWVLQ8epJkXgFASVSAgg8PbH39R3diF1FfAA9TGv++DGIJWHhSVhHjw1vmEwbt9PKSwv5PqrYfL13mwE99OkFcraOfTxtREA50T59zJZPn41f+mlW89yDFKcO5PwbcRL5YrLKGfpfi1JShgeTtJLKz6dAYjXR+nHhC16WD/QaJNynZU29kbNLY0Lu6SyiNCyCmaJ62WSx7zt1vsebtL8AWDFHdk3sEChDp4Vbqg3SVUQNqn35Pgq/qp727rQr5LF7khIzMcNoM49WiPqftg3mxK4CuepOhRBI6x6Or6mQrKFyqwpWlMRYgzbHZKbfP2ufOBymc5A+Og2l24VKmLeKNznG4SJq5fMsBnTSBGtxshcKdcSnKb6c4NOFmN9QK0dxvAjFRTY2WhcMxA0+8isA3LXQGyFWLOOHzRSEIAPTl6EuQEsHmfSsJkOlWQXYGe0qAxIFGHeY1EFtQVEF13M79rZcNM7S6Bx/f3P22C84aNpQTPnePZNSmck1MOOrsXME0jfVIkuHSxUC/jzj97JA6vHeTqdBkZ5mE+NtaLo+DmMthzVvruheA1fv0PvjVMkXai0ygorUiOciCBxJCP25gadLGdVoNIprHqJO0lHvp12ILcffwYI1FsqPQJvEWAnmCAwYU6YMdvXitFUWgiVmVnVTGYvUMrvVKCRSg/39BZOwUl1V36V2mYyT6OCpLOm6oA4QZqFDaedjI9UgPXxFkHxQcoDYnHPPx/7mRXI98OkkNE13XZyJ+x9u12Xlks17u+e9ezHuJJBf09PGnqHfNv/cH+iVOlsokRFEVGnTEvoHEKHDYxgAyNaN2+lcpxaXjUKTCWMGEbIKbBVzJhrOQABBXH/Bm7gNDZRJeX4unEr+LJfDck4uldO8PkawD/47CCV0+ll+pOYwy3B6N8kQOAcre3eFXJHBCunsrSaTdO1023PkR54pBw0E+xJxilE1vV5/qGta0hmF63q9VJu7UDSFVsvXMUBBWc3Wowqs5CowOz7RcAVJksqtyKFn4vcF4c/SckrHnFlrufu3BcUs5mmb7027AyuYAetiPyGcu7cmgokSfSze8m8j0yCYEmsaNn12qqBAQIDNrGVT00++vtQ8g0dSQyKRIsrPE/iGkRCs1D5IAUQdB6RWWeuyb+RiRGXxAayUytFTWv3sgSwhdVxs1oAX/S4RX2kXAdQUrMhAR97yiF4xSp1Po5JIxhJOBqHwnIKPGD1B6BfX3yWFZ3AvfIfZuawn8li2G8WfeNo9Dsciq1dlS7RiX0z9G7MWc00r6eDZh2jczhVASR2ibBlg3nDBIEDHavqGjq5JX6dPCcAI0Y6H/xQ9a0gSibtVjRKowZvbmRtCqzyEEXUTWjGlrdNSh6Jveh870/YqOOzwsWtaTt6P4H5v2Ne+KqFQVEyO3xHmjK4AFTgHBBnaHiTA3hyuBTYJNAkPh0w9404rPYDV1WFL82NslnubEfvoO7Dkml2p82GMjSrLZgaXvCQAnbCcbZMxajQOYVgEeAHYexaIczaLXespK+JAoBlP7DE0MJyYYcv0Tpk7vXue7L7OfWEUTnonW5jgwTR4Vde6FHBPk4qXChyvAJOa+nD2WfAQVgf3iEgaAA4E+7/bjXdhGK6fjznVj0DBKdjjlXDAo0sWUqfa7yvnpF4P3egEgLxjV/gZFRyp7oiGAKgau9K8GgreaI3ZkRAGGjUWFji8Q7PqQj0D9lIF/4rA7R84mx7GoMhx+hF96QvgudKAcpDxcgTNbqyGSpiB6d+pqgH8Y1JKHmHT6Lo50AtYcJnI0lhm5GQ7kVVa8l6unlGtjwcWsT6zB/4O6VnXXy/2CjTeX2WvAmWAxtIGSC7zEZXqvNc2Zfu6GkDBerhnM0rgPHaUKnwShEpzX3mvl0OWN9XiAPBNQQMroNOxtqVK6aHY26R3eIv/iejGoWNpcXRgmb6uqk+nhpxZ07MhcNVWBS+MJneVxG5iAQhGYUdYu1Zef2XMVrRHQa4oMNePH7f5DDAqevJIhMNlo6Ie3HBrhvgs8BtSv7dPyprJGvKvOtvk/xAyG0phvSsM+aFSzRRSklYX3ag5+Taxlf4iZ+cy2Wbkcrlm1cfm5brB0ztc4liAvNQ+LRxYIV7cFdu5iW5VKZxk5gOJVSUZdZ8F9yZ8WpIGJ9Rh7OYs0FkpZg9KnYN2DPjjK2o9UfIoAG0Gfj/Tgdu2GEECNqbkeT3ag93iRECkDpylRLbxnH4xBm49m+HmMfcp3FI7RlBRfWMOSYMwDIX07dEdqyxkTZ0sreLEDLpuhjzziUMTTYIW9KrzgLOowBGh+arkadtPVGN99QDowGH23gIulLoORfpcbWHGNAXdGAgAQ6EDomxgmYCN5xeD8pHHYJA4Uj7E9Hrlaib+VNL656YQFMG0pEFydM4qbxIpDiEI5lGGsGyGzDwjp2XFiXLqGX/5v4vJCPHRHU+xlKEq+UIxI+P2PkrV53V5NiSyvsUSWoqtoHq7Nww7uVxkryDZo4egGddQWHbTpNz85LodNGLeBZAlhpgj49StYR67SMohXozkn1M69Z7rsw20EuOotAwAySBhF7aaEVQWF92cM248vSqq+YHArYiVMa89HQ+2dfOFuxKxuUtw5DZPyhS4FG49sD5aUJC7tVc+PhQWQBBL5B4of8ea0Q6joZK5+7t+1lu7Ls8qpyrV6R3M0NwXIM3T/H6ExLjwHuzne/ZflBSJem7HprbqYgO4FERiVa4cU88IR8y5qTEkhMPtES3oVpCQiQ5mlhVbFGt1L02Vny7Dg7BzNJqOIrzyudV/6a/L1hvG5PpB6bkOUd54SktdmOZTChtC2qLzCukGRp3Klb3pC+ybJyVkhRYzbFDOVgLzACK4T8V8xtzTXls8nwjMhzHSegNBiUff31V3q9xNCnKqL+8JQ/mMTZnaRWo5ktruV4ybXWaIuuXqymtCPbOuesUSs2vukhFjNolFerkFyIrIXY1ZHGxRKlzk7n2WFqbLcunrY7NINqhReRyUF4w1BcABoyfZYmNtOmEAKeO344Oqxl4GVxHb/gJHR0R6aYAiQLx2teEKv+4mCfH0N/JosbhSbk3m5XiwUwuwxSVsL+psyS6XJ8i/xCiZlNLiQwhtAWh2Vz20a3D/B5ouUMfNOMPYVctkuSXy2Os6COqVYsBIBfnJP/Kh/MeK+9iWOD9XWyyUPkl05mZJsbX9nuXsmdfGJZkZKAsZ0HYG7tvLuK749eQMEsgcBYckoFo+gMhPyFACZHx5yxFU7SoaLMEJqFQvARWc7eyx5ZMyomNwQhQ1l+Khi8s1mVp5T+4kOvkEevMjFDbQA80hqfGbXw+BJkVrbgI6gQ8OcNmmfk3RHnZkImQeIsdwIvnRBIKOCbjfrAoQTepMjLelfaOuosgl0bQKtZ6SRlDXH50gQDDI8h1VEc6+joXfrQV/kDXtuMFIBNElghIOo4i2rfAjsulitDfyFoRynBSo9SuzMuF7J9LXoAaldOCzuVBTSnhNMBizZaghReQlhZ7GNvevAgdVSGC9J8cMt/x/CEjRQ22lyiUWlzGoHEdD99QVNw8bAP2sBNGQ/7PJJeoxcUAaK/jVDWZN3hBVX3ZJQf+KhuiTNoWReJtVw2TQ6YxSeiKtidXv47e1RHf7qG0UYnEMMo/xbolXp7rdyDL3+NjsOhoiemRWHdftbLD/eH4PMCwj9zcXbL44XjsgVIx5RuyZqeZq+HCpcIQWfZZ6fLi2oR/Uqz2VhFY5tp22uvKCrrYrHY7XAw8OIZHa2X4HHA92Y8Zzdw4w40jTubHQcHtL3ZmoEUx+MSyvBOQgAxUcKtyZPh7BG9QV7evlzH9koEgR6TiDEl4hv+r1nLlaCiFiSzsLgYNzwvjrp0BGSdp1sPN2T4rOy0gooP9iPPr+4jCj6RvcnalAUcFt3LP6r4GTp0rVCJV3Y0Qtw7k0rR75MjBzhCsRRGkBYgKlJ7qXxTuy7O6QeOUcq5XoxfLjkAPhynuG25ExRUNQoBZ0O1X7WczMuaAnYu4C8SigJrC7DUjtMzBMk7EfQc9bT57UM+QkbO/zOf/Wjup454gm+GwoDEcJL2v4OVCazJ59AzO79eV3+M8lkQ4QgpibKNdP3dKbyegxDqsmZku3lIBUxsOVOQD+Bn/uZiCZFChm3NPiUDPMavwMi3AlML4HEDAxa+Mz7r//LqAKs+PnXn4F3EwN7A5BwV+iXBHouVECxgcAuBZ1zJH+ZMAXmFytW9Z4XN8qZueQ4MC3lXxax5St/9YNqk5onr3AVca+JYqUZ/XKKcK90fplAtEmgrYacXBKvUbqG5nApjqUMfR3QNB+s3iYxWf6nSsxvwUzBPIf33W5YEkb0etrvVBTE6Z+7q2AK6nPEdl9mqhS10K5v+qiLX2jJXGgYMi7ZbH5LRqyCxgLQ4LXxRtw8+VNEUwlELtOQZZtL6kd5O3+vkjebcRPOh5dweTG/mANqmIIf2+SMlC5NYN3mBEJyKrYSA9i1V23gUaU9PaTOOGRK8I4o751UzmStaGCvmsvrlBq68VUDVcUFNkiUw4NZ/TPBK2TQ68VREcKx9+xZQ0UZk60GQ5OZkLmN9bzmMLsxQnITv75DC5LrdvECGL+u04lZU25oVHCkbFA+G/C6oiyvlR1APVu90ZFpjfV8hW3c5VPPCg81AJnNNdIjmrkLAEf0iQ2XtKPw05FtIuE2LWMwQt2uBGo4eksbUvUoqNqXiGCdZ5MtR7pHoNhEdDZm9EHFXCbPcoHwqQgQuggOQg4bD+4mD5ZejcVvDH4wKj2TMOMq85/GxdJ6Uh/MrS+FGEymZ+mbqUmo3pbCRVNUGL/kC97/nf38kxAZ6/dB/qmlr0FAeWZtS8XeJ4FTRCaCS6hDn1cI6wN14r0+KQFOe5CyKaUfxMZnpuv0dvDBJtMonqLxvi2jXLSCJBsVP1n0x3+zaJ0wyi63HLqOSSrLbHjUWiF9JS3FqZ0xTp9UgJcwE84R1/cdTx6mU1Au4jgbI9n5pCnsVCezG5pK6ZtUdAIIfF2dr8tmhH8ZfiEY6BbUgawVDgZzTVclSvTM8GBL54IwZHrZ4nLqskUDELnc1BQMNr9ebkdVnfr1pwslHWKGbLOpdZ2nu2r3JTl11lJbtTSkH845ucWv4H1b3/s19cS8PXPoHPJ1lPctmmVr9x5bGzOv43zzE7zjg5cfdjwRQl1lkCbdqMZATj/dOtbb4CUXy0M8OwTWzt1iUsnevJiHTnSyu7CkCya6zhhFH2J4RFbGW7F9kjftsOqCaqzLLHLT1NwLpKiWrmbNNb/E8WkLXUoiGXHR8HPpmiN/FAuKxSYkhmqk0LFUBtEMBeqt5QOLl9Sbw7NGSC5c2ZtoNfCh9Owc/7zBTEVdPNjzfuvmtyYOSlW3Ot77fjujtvH7ihAmpmkyxJRoMum9hv04sysEZ0KwzhwqpvAD3i51OKCm8491TP/N9uOQWi7DSK3Wh7oDJMbN+tsMi0VdrZcI87zYtDCObNFRpfLOMPz9moUilewLH4ZsiMFg2cqMVbcdJUZfvw2xYmS7Ivaa6LlDqhkCX5HuiTSheWWlvbxmtMsCQwG1UcOkjgCZT5dIEDh1dP4td60hYaGR0/1WFv0qr2myfIE9BL6YW3UDhv1Hxu6rADORlFxay/ucVyPTN3K+cozyIHZ9VegdPjhfqnLZEkG+z/QbIis5aGOQzrT4Gl3b/x+sx8QbUuY6x7nkEadSXP8XsdQscABt1AuWyTpjrEBapPhbnEiRucf7aFMPAYdwMisMB6DOPvs3bs5AQoJuO2XVbIxnglPsIftct0wD0CDvlce11kWOeJyepOr3ZMXt+3l81THBxoKp+t8M+/rVsGn8XHt/eF30oewqxOohephKBdoKzsQB3WBiklxceCs+rvKfXdB6JCud3eMWKo+DdzRqItFP0rm9x/7cXhmuDRkjQDpr1wDWrP7QidBFsu/t3L8QY2OeslmjUwirTuOtt9DnJZqPAvOB5Z2AiGWNp1JMTyv+xwJohiObBOF4yCeYfQ4s2KFKM0DdrM8hklQ83kT317CdGqpAdMH7jhhe39bzftgTyEZYrlSr7UnmtKU4kWzUzpuPtWv3/AepOtqjmd9CX1yU4aKxztymgNfwv/0CcWiZ7ps7g3jScpt6JZwmtmNY3Nu3KE2QJJnT9TDWVSxG1yqhVHh4QIlHj67dDIqD5oRs98x9gD4bsbVXn0j3i03soC9/24dobRMcl3RBMJmhgMnBiluHLAoM0b9rtioZLhImNGSWGIFK0M+9wIU6bJpjCRKPnhSDCHC1yZsGne938ONwr7D6DDsagPvL6uxMM9ClUTD8X1pMR3ZgMjV9ZHgflpy2AaiHiMmS7ou/etHNLCZ/q7TcE1stinJ8bV2eIAjUhEjA31KzyU80ldRHa7/V6Tzgp/eJU3DNViLd9IFYLq7VaH1uMY9GtAByBdunVs7eQlTSS08dAhh4gvZf5d8DDh4giJirZkN3M5VtER0wi3/T1ARc89ZRcGxP7nSj3nYYf6jigMblsBOFdXf4xmU0+tnZn0wwrNFCQBIJ12H7ynVIbGsegpO5s9Ptu4nyx1n+HL0x2x42JdcactjEaPAinLpvdY2W6mAt43vLeUXzH1+8O4+9lnpGRxa6BOj9YHdeIeLxjDtAitaXS4FtdkH/aoNUiysb0y962Hb0j8SyyN6CgWBMYNJjeTnWgRUN8xB6o9eu2vtUCsyKF7SBMlHs/ZpB5jDRVzQHJ0NU3jhRzgHjH0MBBNjGtif/sTByzkaXkbux2D67TPa48kSiHlo9C0z7nlj13at+fF2aBvmnkF9dvXRNBEpMq5mBu8PDgNzY89CDYdcIS/C2VPlnSqKv9arM8tSlC6nEm3fofS1nObkugomoJE98sSP4r6jtRb3ApvwC0wOubA+x3tlXdDjGW4AracI97/plbNgeZtMEQiT6/0etA7GMxSdJ4H83wpTefmU+pAEH8BTnduMSK6MihYOccMdRCwbiXSU+LLmSrhFXojwvmhkpjYq9cqIenOiyM+fU0iT3z8F12/KjL5fWNKy2Ei6IkhQoukgLWeF3aqOuIkYGyO0PLnre7vslWSbFcWcEZ9iRaMedsrmXctLrJssKmDWIGNoNgftSjnkfZHF2uUweEP0aGYOv/izNbPurPEZdN4M9DklJHfja8ezBKswOpFXYVW/2bZZUsFyPurqGNpbEMDfFBwCw86ublmuDgfqsV+Fb9zr0iPohVHmK3z5cFDxbEDzQcHwnuDwZemxB4KIR3k77Oz2AwKHdxPF9T49Xa+Z6aw0xwSII34n4Vgc/K6dNIFBuznvD5nucsdPf3cR3MkyR4UwDXg5N9/yCBYK0HqOIrZHaC83FuXLi4xcUVFrMfkxECIVeG96/f75wGMisURY4jI3015AXlfV+F2P8PDIWIisRuiQPP9jgimYzjzbn7RadFZU58ppu4FekT7jAf6UTyfY4EaEaC+L9xm4vJcRu/OOk28eaf/fk6gFkAgDoo/ZG95BpIQVCpm9PFjaouW6OvLQdKYKLo94e6sWOuQGx/rduNNsDyluUBq2Hnq/ViPUOJoFrOb2UdXNpkok6SPnpXS4+DtOmRn4f+lxGzUxOZP4wLK9wUK7iXT/UrN+5LNP6kBtvJCbQs868RlhCRHH863Mq/HxtZ++l5PC8fFZCt6JRhym+VbhRk6XGf82DkjBAwSPdqUMS7akxz6Rmeby/Ww2I93NO06Zkgx//jA9CI933gD9FDU958/16LhhYil64vnq3pvVhP4+2ij0Ig6aFcoL11HsBapLSRmMn6D9+DlmdsvzW4af0Ni5lgRCQBp6P8/XWSGSXd//up9MakLATPKjwEZc4zPAsT/Fpqz9w8T+QYgqGiTMTh9d8cGesOL6FsmJCc4n0mHpYt2uWozVDQNL8IDbJLJ7e3o/c9DmZpnZtFtTAgEMPioa3wwRzC+Ysh+QxSkpD8f5mCAbYk5+BB5qjejd4dRDULULDj6OHUsmuM7iAKuPys9fE6XHXjHR8CybhdQnASvGL7IkG5Y5BXl7hvGqxrOm6E3K0exmLCxxc3xpUdBbyYfPcOVRdI0FQeQcetCgT/475PI1/iAdG/6NbIiTnzottSzGAZ0Qkr4PZeIc2P+uV3+ae3a9hzz1qjoPKuH30vHDBms1ZW5mYhGbAADcoROsrgSwevSI5punIt1x7un2vwaNAnusS+IWPqNQkZ5G0A70EHJc/x62p4MVCduOp1p+U4ovpG182gIl7PpMvmv+M6wlfaoEF6P8yDtVCfzLIr79LdF/5sYkAUzUwUV+r7jbTLiSnUmDfdrNG6p809ONOr42Mo9unSyGq29+X/czZqPMLGImldsXq86mDV+9414EcQDDhw+tgxrg7C7cSlC5fwQk8HZ017yoUdPsKvT/7nL9rTBXilZL8gnoDryyM23EE7sKhFhbu4xFIyZEEUTlHiZZc/1+UL9fiCm0p09Le9uYj7HAV2bQofZaHO8J2Gfj5+NTQGDB/DnziK/r0JGCQGix3lo/D7i2H3louCqCx1edQKdvAzSiYJDPQ6fDr4XQt+74hX/6+era43ER5tqrgs4roJHKJBJ1kDxh9WSSDVti8f3oE7inKgj8f1ILvrlDrgAJ4Nnj9QsyHcCyxrFo6eXII+e1gXcuPxBjpiX2O2SQj/aByp6IQp5KTuZkYPFOlGi5OkOa7KKD6Umlr4XUWlVJc/SHgi7UqTBeBTWBY7QhhPoRJMSHQt16CWZ1TENB+bkM2jeussy7Bk1bhYdc6dDblJ5LLfEyabNlOdfRPGMu3nR1ZXD2hQmbXXEF1LaxXiQtyIwhML6q1IEmGIOSRTfv8KmZlA15W3eWPzRg1pIe0FsRvKEN4WF80bBd23oWmYH7ZCuYZsR8nHUQqHUeaAQ4w+/gKujx1seFPjYHRVsOetFJRazE/JklJWBWVLti7BAzlCuwCTdQMuvEOj4YwmUcQWZ/TMDN/U5vE3hOUG2+RNsixm4ppWODN2KzpTf+qd5Z0f10W5ZAh6O08vYht5Fo/BWht2XWZldW1wOMLvNf1WzWgCbD5P+h9mWxeSmLBnFO/PR3fYvE+5Nm/lF6U9zPBRaBuXgxRV7EFFwHOFrwqk1D6GKNPBVE2PjrGr3sYZDRkQ6qllUNnmyeaG0Os9LGNUoItCES1ZW1cx0MOY0/3WbjcdAOi9G/hluSavt76Mx/GZI9K4veWKNDfGbTnXfIn/ZcpjXS37pTdlDg7BT6pkyZUWKZpASi7SkThxc2zzRNLV979i8AIK9TfCJ2duHYY9K259fNeY1w7MmFvu2EIL+lDXxpR0dYBWRW11wygh61heVIBwf17oG/jzedrMlnqjy78fOqSGeAFWEqrEWSCNNv+B+Cbn59HBlooxdslRJYycqHZxKb7Tfv1Hah/hcxoKX9PY9wjh9ENUdthCeY/Cuq7kBUBhTqg4SWVirXlEGYvjqlEOeOoN3lPPtwGYnApJw+3Z0lR9e4x2TvVNuwYb80jNb57LVJIbQ6bCUpzEAjE3D9d65cQh175/dg8BGxpuvukeDFTcqdpNWlOWBO8x5/7Auw5tlOcXe0Els2k20PViELN2hrveUSg0frVSIR5/BUZH/52289Erok1XF/RQQvg3uMPhKENzdiPDcbmmKmeMJ4BQ7t8YcAby9Ao+pBRTypZnlogubzs2R4Un8wdIemOHh1+NhEl34Zon4/NQKP0emIDkH1Mpf9P0KyxfBxBbBHcLyv2VMaJ07xRvUkuvdL2duWZK5PFn37x3avxgQAZpmLDwoRBbYFg4yAQiq0IgLgUvEwbeiXr3S0V5RhCJnypPjnm42RZzEYhBt8gBMS6M5/wj820Sy0mhfcCSRsInV+JQfMbB6FNY7SiQ0bjc6OCUKeGkhhcOsIYbH+MR2dnEnHvC3nhG4f7Z1m24JQjCsARso7YxmRUdjblt73/ExknW/S4bbNxeGyzppUHPG0AluOl3C9DJRxwYYNo4s1IFplul7vjHmbHDGgxerrCCgJlHuJM+bEWO1SJWuX28wl2Mcd7dMrWEvrWfbB+ptwPjetynPKizoS+KpvR9MBLnzr4tXZwSr//4KDusUfvqQs0ZMMbQj11pPWW1EvpcB4yN7VXitrpNz8BOWtP0VWBa131JZa+Jl0Jxab1tqMJqHv8d9T8+jcn9syWQHVBfuwa4aegLX//tM/CIF95+cNilk12qPSK2CQjE+ZGgcuc9pFQxmEPpr1nOT+nZ8GpZNgPE0KEQJx6Dp52trM0Ehf/FFBYci/eIZLfI5K6/6bXSFSQReVPFZv7w8xge6XA43hJuWqgtuxsvd8SSsecgnJuR+T7059s5Qz0h1R43hGEQ6QinIzAp+4OYi0851tATaGZWfwsiTcxwnXPThAcGdOuKzCbLQR7TzvhZKQAD+z79Yj6SPi4KksHKmJv5cmorSojXmLlYxVVyFpQ8n75yqkf8HuTtL7vlf0xKVXPOLvz77QANi89V2gp7K6OPKBHOj8Gjs9zysXnkj3rMdxxRny9Wz0uMhqDCJP9mVrq3a+1BxKL7ri4kI7vRzJzHU/PH8b/dplxbLreeSlJ1NehOMpK3lguGnhY3Ma5XAnIfShyN1Q3iAGegDYQT25lDSPc57BVmo9JB9+DPu2ACDaoL9ZZs1eWTFhcYpMcjv9ZLs6xPebdRPnwQJDGhrmta6pCxFfee6jz4kgJErfeN8z9DAMnB1AhjlK8f26cWB7p9pvBvAAUy7EAnk6gy/VWZ7oNMHEUCnfYZJSPQ8Dhv3puCvkot0OvsF+C3PPq+GMZ7IWrshROg6QW9Ys4g4q1DaysPmKFPiyDPHMEPa530fbdgqmi0yjlOm1GhI0QnSeD1GpZeUhIQ5TlD+zcij8AaxBiWG5SetOgfVMRGJ35jc/jL2bm0zrNSHGsgSBGCWjJ8k4UJ+xe/8+NR0P0TEurbD7Ro9eolefnaU5ZOlvay34FY6Y7+XoBWiMOoLxF2LxtYCeVO6WaI9BeLvfsORSGiyzWGAbC9KlEtGP88RQY7QGYEgYsL2bRZovGdnO9hYYO6M2MZw11QH9xCbk2UOV3NQG6raPtbuUwfSNavaR7ybYs4fon3f2igAWXXp4nvEO9LoS7CRI6MeboScSp0wZwPMPjFBTmZ+6vsOREJeMUwGMFcQ1GA4E4Zlo8JaBz7AJOPxyCMv5KQ+3uSSDVrDrQRW3hCtLvw7vslajvj1EVDmHOiRB7mYQE7qk0DiTPVHwRoiemV++xoCYbqufuRsmPK9PtZ0kPdFbYsUzjHJKiSZDjgqh2NNtRy0Gx2Nvmrvqi2PwWTrnvgh6udLhHnkXFW+yEzQNVq3NpGx7qalVPSSt0/1G7ckMbX5F8eGeFADaPP1SDzx/J9FMXbJ5l7X6wh83Y+OFn2wS5JSD4u21BaV5PiOcceAyFF1Qx3rZjE9BVDHy1eDDTaUDyuueq7U79vnCd6Ct5YDbDDzrAMO9D8hNUPlL5QKbRaq/9bX2m297ZNwi+P3RHarOkKM7UIN/dplxcyJT0jnVx1nZ9sqZn6hy8TAFCJQqGgNa0Aym2cb0JUGp+dEtMAOx+62AiU5Ed8rwXgTZ12+F68Fi/EpqBtZm4ONnKZZ3JQ4rutAr1mIl9/RXAbiDQp/MFe8y1rjssXJg/giebCBtDajgEi30F1ggJr6jEeMZeUPNJ37mLBqSe+/hXkZFTu9N1GXs6q79K55IUnDhOImXNTpBSnHOW53cAIbH5tcemr2lnjKLuL8AjbJGeGgn72DWWyLwu/rBBi5yFZlI+luYFT8dqa+4ejWrVCekIomUJnqcM6CZ0qJ/4dYV8f8RHCJNkGC5uliCMtADQKMTy0Q7BlxUMvwWNhk++tRnodDqsYCuQ/cDBmHnawbsZP68+zxPU9wvJitiZ8Xk8SX+7EzLOTOKlZKjFKUqdTpGXia3/P6pHoD7kJmzVVPD8orf9CXTszhhvGnBXtCsfZa3sI63G0eoTIArFxjHyTmJ1MUDENPJU3ndsKkGfanNlttFjKWLsWoPU+O6DbhOWUOgAF4yitClMQQB1yWsCpAWJTE1R30R7P2OXrykF/ENSqloGTxxxWuFK3vMmAVhLs0Xt21S3lVVzqDLLUWZFljE8Md6c3iM75bewNhgBOXugb9aOrzcE+0ulQ6Wccfy6b83YQDRrzvYJqSoH6KBxtcDp5FVxp/IX47EeTD8UmoE6cSbRWgrNEP1NhuKSPMVr3N6fUpPsdcscil/ODAT+Biub4sol6WDHvLzCfZ9RQxP4SsemrkmuZpEQchxdVwo/3QgJC6m2NOI9pXak+dMsOt8OXtdYgrYj07RHPPWABn6oCjPpmxA+98S1ayo+TmeO7GOSrlyBC52Y8qhIN3unz/OCAEPwMdlk6YPe471/T7sG71ZkXSoeEWnl56GfuQ7zvd1L1MW5KKIT8EYWparbpFcOzKeZB2esE+l0r7lSzc9Zy3EroOBc+Ao/HoMT8METtZuuFyyJU/3XR7AAws1Nf6nool9UdyIsh1880QQZSNPHWLlMdfsvMm8otkOotj4/4SXWHAwMHY66/CsruZzqp7xkYgGjlUTisqxA3RXsJdlAJVUUHLV4RMh6P8qW+BJ8HRARSVcmJVAleilrnjabgOIRec5f2FNMWTfSoz4l9f+48+joGGlfmFIRB3enRca9cCJxNs2qLmMWaRKVeo+1FOj0Li/m+dj50SCskRN46N98bOtOvcfjRDF3FcPz/f5dX3VcqeLSxXrWKTgrV/mzpMFdBUGBL4+ZaUmaoO6tojKa7M5ReIG3xLyAOiMkCOAabCtPB+Y5dTcWkwzW2Tt6GgRpZmWh3a67uJ96bqkUk8IzNrkRQYNzgdifGnLICAv7wiSUp7xZ73aWNEwPUQ/vGkMGpgoQoblXD1eciB24weQ7ywvhi0OoxHeShC+PxQB/0l4mKyNtKg55U8z7EOFuwgeGmCKvQYCttijd05e9j5PNVwd4mdnV1RlFv69brckdRxgD1j7LM7cfId6NdfKB2tOMqaA8bXbITNSxA3qlybP0xH0cullwBkAZvDNBv7PHDlKmZ3HJtwpmT/81EZIEb4sUTkhYtXsinxjwWNw3ltVbwQ9XUTufD28SQYRwDj0Lgz6Sz/Bz8yNh2Dd/dTbgyMkdxD36d23FF7r44LoHOmy1Kt7GCixW2Xyp1hCcVpoJs9DXk2LcJ9BcqjLm9vWkOsIa/RSn99Ko1paEqj4RH4no8K+L75UffukFo6VDkyILtJuhf5A1uCp/DXtg+DgRB+zFeH/p2WT8KAjdDqgi/+3P5czPtkm/v1rhY6wj8bF++5BMZVn50mh5umFezUqkhvX0KU2DZ0GF/0Y7UgKZHkQCCAH2BTtzcCEsGLUSHLceVXqNxGZ44SUMMdU/5pW8aTYhNH/PtqtMsXWskWn4U5DHdJ85t/zra83Ca9mCRskIF25Y48RCg64xf2KotczNR2tfTvHbkT7UbDq+4KJVHpPMteYOaoibYuD8demqYyKsgwaACJBeBXizouFk9A+GDCpljZKGrbiXxy7bkxOo1bY92RwK41jxUZccA7B7u4ElitwIo7g9erlDuT7qrHRTy99U2CYgjzOUQBd8cmUO9bOQcP34bKPa7YReGN24+rfjABRrGA8y3Bysm7lSvCzMrA2V5EGFrD+XgprL2LaKkUZGlYK8Yw31qK0HGfb99fBDl+xx0JFkxrI+nCujAqB+LwuYKSzy51btpKb77ug8nI6E4Z564r6dYfE6jCYpfXmsac7+WvKx/NXGZ+LGqFTCmk+Iahg1BFk1F4UTJ3zHDzXSBIQtn5USRYq83IdaPCs7BhcnK2ZmGOxpJ0cA2ELSTg9k8x/YkGLgMMtmpbBjLcSwKITfjZf2cZkH0I3jn2KpDgHpWPgUhk0P4xc6Ehv4dnVGu8Gy8RaOF+hilaael9uM1an43Hq0Q1gSnWIz91b21jIogOtP804Z+gbLgKgrjib5CD9/p8aYqjZSGCXRlnGFI63g04mBQHTOkYM8As+goptipDuRKCDnvVaCd+vd3uEfFf4DWfb/+6dDOrNdNw8fd6fkADazB4xeewMtbbYnyJ+RF9+JzbnMVLL3lNKgg66bVWEK0sBaPtVdv2S8Xdkh7VPqmN4XXwEBmy7R4U1UtJVf3i+IHGuwLxvQ15X3+GpC7/k7uF2KezzYgp1RygSv9GOD1yPI6hyJ5AwjdxxUA2lsKg2cBwxIc2eX3HASu6mJdiUtAaZlaWieCrjU7/vhlKAas4hvtuR9mq47/MxGcoF9EBABcXiEOQv6wylFlma35n4hi4oohCCY1TA8Cx5HmzBNfjPRmU1OwQMH1+8el6ntRqAwNFC8VttN3xyfJY5WFBG4AKORDNJ7aHMuoDf7mKAkR/H3r5DA0VA7oyvp5/njBnsf7LniSbNoRidiZsziIJCGEAfJ6XNivS1zOK9//y0h2ySBhG2GrRDajRwS3cH6y1XlHMsXG4wzYCVTD2j3envjAQKS7B3Lj2iPy8XDBKIkAlEv3QmUNR0yd64AA3YQvQhUfRmQvLGCzRxM+14GQa9EDzcmAG8+XqMfhgl9rT5NVbXglw0eGxopWW2jehDxNUBWOOqg8A1D55gF5hAPJrDYZ6sd1CHAhMcih7YrT4JHfXYwGBnAmVjQ6ex6A2ZNGZKbif5M0EgZ5dRKFq8FcfcnV7OC39F8Ex9mZlg7l6taQLX3qPPoNtr9jHox2p/qZETNt6eAwqN4fc1M6u7kgalfVWsnY2pHjy026IiRM6NinXhWHxp43JMXt+Ki7TfRa9uicydUqfNw7oLQR0TLzd2/xxzfnVCXJXnTEP/UfdrIaNB8Q4hgVzwPedHQ5bP7kkPCXPYsYXoFIaad/eCzovHD5BXnzu9l5zHK99KxlIItSZEI7QtXLfXMJH/fhY4OZz+Kj6ap6W0wChrkj07/DUnVC4w9cotS8g2FY3nmqywcmctknmhwKLkVdxFUmD3xvNMej/QiXztEnAjBWXb8wbXRgcCBDblwctdyrI20Xb2w74eW5lYr6MRZuOasGohOyYF7ZptjH0lSuxHqB1PJS/uRCR6o0PbgnV8PJRTVz2jsvzKaFSy7lzV+ks9J80XmH4REByQJERJb2Z6gb0XD/RnkiQSfqtbuTu43rZS5i9gXpOq8iFjrGukyNITnZl5HNIKVtn5qIDwY1WUzNBTr8pua/EGFEc7r7zOPSDVvXPAKAbB2TMEcBPildnn59w5Lzs802nJpZHPlfsb6A0HXofCoCKBfsMDv6e30FdECfihRSkrEZikbqy8GKsfpra5bA9bwTPa4x5Gq0KurKZhEV6woUg7Ou7JfUFAQNa7NxCtVAzBJ6a0v4e9dXxf+YhbJyxassIoxL5UI1VtpHMY+fh9CTcCj1hnwHS0ViFfkkzaTKUMmamMhG+HESYW7gX93XEiSF1lwDbYj3o3bFBLv1UoH6jjdY5HjPjVzec87JnWFUCwaTmqhfpC3Wj3o78qfKOHteCIVZ07uJ8BZUOAY/xByZMS+EjOoW4UFKeV4K3u77Il3MA0tXChIHX2BESnr2WCMyDcA31HOnKTulJIouVcAeIcoOrRury1svnytO8h9PJiT/JG0u7lt9UcQLNB4AB/6z/e5ZoAYtemwqLnXQ3NtFcZXfq4t3ry6iOCjXMlU7rwsoDMIAKv+6oMyMQxCKzmn6irjJfhUU9h98Y+pALsNKcFkQcnEslcO1+ozGBnP5paJCtb4Hdz/tGOkn3xA78V9riz+bIAnkHrSALI6xSi1P2wbxhOiHUI1UN2oKwobfO9P61M+0a1kfYcyS4I6mOBuRF2dW7kEqb0YTWGLyhScNMvzLS/fipSI6DXm4ZETrLKDbjKZH+mujRAkMW5eIqwKS/5VMOWFXSygfQBgNA9LZsSVqdCdyUTHOQCvbsxtCyNrs35Olr87twzM4evd+3i0fQYYdTInv1bYART1vwNee5IuaI/TbDYHCMSPJ8XUEkPNEpO7RJDr96qXC3eSuNeC/MAOqa0zdVlmWIwdVV5wGcT44yqlFbLhhOLoN9BDgkpUiMNdQNOkmLeGMw7ccGAEa+C+cSmpYlZCdXdkHy5HPPNTnc0gZtL36kbp1G+7mAMCEgkj9NxMG0CU05QqEayIw9PSyhDH1Imohj3eav/qjIkqRptRmnA42PpPUyqW1UwmOP0kfym1IsVlBXw1dOejwV36urKu6uk6d5w88Z4N0HwNDiuudXc/No1EXX9cuTCI7lvLbTISepEPK14QcnLX/oP4DxW1nY6lEAn8TAw0yiHgku/4lBoof42B+x2SzjcKXgoJ46pLweukFEe6mLPHxjIpFPqGjxoKIeW8+wd5wcX/jR2wmcP6R1cYvtLmUuCu4QzBJ46wfkCXy8xZQ1I4u/kZbKxoOG9m0C0IqFIPSKVqhVkYHyPxvPHy11pMFH/CtzMrm/3hDC639LcpM/G9WqLbKD7NakB1gTDRH3ALNuI/vImBlmppE/vahwvSpSSff38G+NPT3jt8DsbP5O858GKpxb6yFEgRFOqoOFz+wnGLNX2poQVPDdToP62YgGLgYdNI3PGYNOhUAjJuAt7aSjy4cSvarkl3y/132x36AnM+fR2TpmM95YW581XXvO+BYi0mtE98C+R80G0ERn1N8K4HBvFJMD9vRskujDN+t5uzJwGCJ0x/bKZegFSRtb0GeZ6Zdq3SnHl3NEQSemNtOceBLA3udG/gqKtbcm0yY0N27FABY186qbGDfLIQcYeuZcN20zd8XGM19fPVtytU69IsW3fASNlBYQQ1NMhNiWywHpyQIhHSP9EikJHk63ElaupvchZOYNLrZio1SU9yyIy+XWo81yeB87A/62aJjZr5Zt9FjiEjTl+qZVdJpQy2v9vXqfXGqCFz5R+HCn7xok01VYtypDwYU63VwuB67c0qnY3fe0126SpjkgeyIaspJAajW/ENu27gGGBv15bzL9KVrcqSl3Iu1zu5PCcHcumhe4qt88RZw7J+pGONH3RNHLsL/ICBPDjK61R4SV1gYMUufFG7xuDuVuwAFGAvR6bzvEdg1Dr271APkdMXVk1uvXtSvg5dn8TXbppYKKM2W+LNRF/1kVyTHl5lelnrRGI28sZBBuyXY+fUIxfkKl4Da7CXy4MEGcsDU/pqm5WMvBBvAGOWH1Sbj7p8SUEkWQcXkX+ySooe0AnF4MbJxyNPh+sY4plsFRGIU8TBW+VoPg8DKE604I2IPDhnb7f0ZCfzxycqFIFX4pozHMCOs1zGuhmCqTsBCvHsRW9BEEa9d78CZGwqVcR0nhSDMahGTPPkrrHl8Kiwz33zKN8yK2JW15YTb5z+9cuWXqHiwnDKGk42YYgSM4ZyOF65hUzbfH1kVy6nSDM4573f6dWdCAKu4VVugyoLbRZuRwHu3YXRu2ODBfWe0+MvfDvdqaBI07oFK2SyzJrPWuMFaA5C7xKpWjCYKCpgU3U7PpRXgpV7ngNIYUfpEofTwbe7KWZ1E/Dj7M4v5AdTQOV7Jd7h/ce1x+ZL/pLHlnEyRSRZPJ9LXail2s+PGPfUtcqPznhJOE3G4Lg2zAplr7l9VrXUtBJ3AXUaAm1yvazxZD2VtvsA7P3iypw6dBV+5COKPi6G19ZnD7VXDRJwWt+26ug4vbO7WLV7BFpBoRTX25hGoPaZPAtS9jNkMxgSCiUA2dfhzCpku5hBOUfwHxRXfTHRIv++2RBLochOIQ7eHDJjAtuNh1JrwTeYJu86+2Uvdj54BIQYVAchpM3VtXowqkE1BlM1rEsvGIerOyJX8qE7+4dCJ3CwO47h6z7Uh0+k30cTSRNp2/0AOv9PH1NAhNNQWAPWI3CXuQvJq5VIrFbt1/CZXqr+2kG+cBQW+WJqoRqjgjNf2ZABIEMfTmg2M1cKhFfny7vD5Bneu4pXCle9NllFqGrt2xyZf3G005k8DIAp8wMFVEiDxcVo0cvEChEQE4QRsNFNCCBPVgJLVFp2RlJdywA6hHmD0eHv01rlXT9N5rJPGNLotraSk/CooUrJiGXd/4E0OE8KZkPhft7XbupBsilkTrUU2aiW2z0QzmH8eSjmhrmIpqpLq1nmrNNZqsWCYRqnHU+eMTBJiq2MALfQ2OPauvYjuCOWKpeoz8d2oQA9E1e4xJwg0E0T7QbjVckc0aQIzJqX7WeJ+5XS+7fXnlAiYV1NylZdHjrqYYEHImrtOLg4rk1Req6ZLeeXOcmgfyFYgWjle6Wkk2t+B3NuP7fWzhimZW6/mwLnlEIBpcpfsvt5UCYvdmknV3Kh5XSl4r0Z/zzIfPZ/rnl7kNOY5JzbLWJjqoQoZ2k8a3sGfLxR6uB/maRM3TkZeeH5WhLN/6qNUDefRXJbAAXGMLiH6v1CGFowSSSVnfqGgEfu0CnQvUGr/AnOg5fWFRA10XH1fNLcqHIsvyexmSc4KMbG4hA3126YDJIeg8bR/SHS6to+UZX/+pIr70PAHhH24Kjv2pNLK3CJxA0F5vryin7DJXNteN6tHOEUk+m8R9p6jI3FDLydQPIXq8tlu4f3mdujfuW+qg0GoePwP6Dc4OkrMrJnvBZbpEn2dYLiz4OU2kM5C0/v5ZRxyOQg0BdrKmpkywhvEmuDzKorfmpRZ1FapARl7Lr6Lc0s/JbvzhC9KRu1QzIaxHUA0DvCMTAdAnBchzcZNydXmJQozi4EEy77EcLXkTMHy/2wKEtKDTXWF3jK/Vh+Z7SdTJLeBBnrtLBXaF9VJAlAPE883l4abNornFAT/YB8GGv6pIRy0Xn5aRWcZ6JoHm0o/HJG8YmSzXurHkjF0Fi2228UgIf1w5GTwsTPKpzNTb8bnyMh3sHW59s9jFTuVXhcjCt+n2yb6XG254D9GLL9zxzz3G0MsrrOp5rBmm1dq1V2UAzmXj6i6zf4Z3+qmZnz9xbmmdRRq6hXPAzFEDE8i3IWVVIjDDr+OMoxHSE0MrNleyOe8MpRi2wqCG8z2wjV6cOkRyq1H/+Owa/IbykT4ZpnR0IiV3SeBsCYuGkf6+RrbIkMzfmi8MFMhibMmGVHnO2oVj4aK/wuHgcBtjW7BJlqX/3H+3o1XEFBh4s7eD7VxPu4zQ136rFqnbMHscO2lrtzfyYFfzc2VyHrb1iQNikasUYDWfYJPBVUQDUeg/6ozJn5YIhiRhhPayYstmEaCW/8uNiYJitBIvRW3Cq2Qip1JJ6nxxFX9fNZVrw/zYFz5XagoW7ZiyIK2NIQUrHqhrY1+3zRB1xvBHku8U331tZ39/2iPejf40C6JDFdNju+dpzow7S5Az1FQgAnrknrUA2tSvvbqIDoUvIRWT0ECGX+3FGwQC6EbkIrAOzbyGhkkSVuyVXdd2tMtCZDWSwG7ckEu44ZZDS9RBey/yapPZ3vMz2hYw/bsuF4KYJ32p4GCGzCLiLO1NxI0HP7JpRKHmKi+hWfRvGy0FHYIeHd1uEQSiKFvvM89XxbWTKxdJsUAAj8HZlOAFHugKUbVrp+uyIdhsh/8UTtAn3/tRpvhhk+vXx9EQJ1JMU1pPIx7MY+T2wKbj7+UTumgKKRt4XWSeZl6RHcLaqTpne83Szpjz6cMP/B12mElKt7f4SmZo3Xsqy2uqyEtc7RRZzGcpztrAePcwvtiwdstQli9A61BoUarPoxQiyh/esyXvRlpjz382GzK3wrv+khK9MkVPew6aYggtWr4oAgBpdSnmheuMHfateBOY+07IY2GFSV5RNAlsDpYiAP4Q67T9/A09CVeoZm2d6WiFiX1KN3UeIjKjDLqVqkYq3EjnOk14gvu+FZazEy7GLmKPd+y2QIVxQGTtaZy9j/Q3YHiqLKIOpa5Hrd6Y0sI9YcoSpruzHlmV8DavSZORcGJBZQBgL12TUka80aoZwcrMhFLzTHQJ4/1gnECYlSZgohrKUKMdDXHL7v6E15U5PDOUk6SBuz1IxYol1BU8F7uYbq2PE34apUNujb4a6p/aeh8gdImt0idrE1vwObgPMZswHQRymb/6jByROljhMROt+54ly2fyoXBg8BJwMpFJE7DE89ygV8yObD+YIqbWQzfxJHgabVaLS9iuGKXCxfwegsxD/5HidDI7pa4r3hpeC9DadUp6ls0AAi/tsY0WsM0yvJQCyNQbspPk1b+FtzlPvDXKa+vaP0rCzJs/S4GYec0okr9GWP/mkqKn9xswt9deCUeBRclzqE9plIj5NCTnISj9NYejGKoovUuYb1hMf+kvm72wy9hTsOVBkxX2uUSXtU/6I072w+NYU23ZSwMKVF3DnH1QvXgjoPheYWkEcxsW1UxrD87pJHcoluxK+f9wry37MLk1MSvqleIsrqz0IX8Zy3T4DL3PTkEcdBF5sZ2CN4nnqNKMHaMclhJhScr7Q7OmygYsJfjjDklvLA+K8k1Ia2k2joE7VDbixTUS8z/JftQDov9RtXB+Oo9ZBEmD5VaK8cwA5E6gd4W/bym7iGaLHyRTKvEqSS53gviv5ECXm/QFELu2PWzp1POTb+qLZcyOp5vRxdVxBHYbmJGYbiV7rx9krk6KhflTzKIj77cUGiSRfMiZ1QnCCLmckN6M7lq5a07RHncSd667/mA4IJMZCRlIU4q9nferRM2Np6Q8Ja2+oulOREm34bH7H7xbE9DQUevsf8eD13COhb4KZNuIEMSPYOgEf1xhxnF0gKy/hjO3zVvQ/lLfGl09DevV42EuixwVAYlViegn9YAFKFTWNAqd90hrYLeeAPk6ani6Mj84z6R1Mknn5CWDpvmzSOGA21Pvu3vELCTMRMxfJDJHyoIT3gHR6ucVqW1bKx7eb/v9Q+SDx8oc+tfumNa5jeIxvMXjh3URXqcA6/7HW0MEUUgt8OmcLLL0C09UNB8NjeRfL8C14vw4cC+zoknD4ZBpUQcLU7GqGzGuqNNRCo78oiE/vdr621m2U4J8f0GqiVbwuT53I5RIZ23aVx8VzV67tapL/Zqq3pOrGP/oAQB/XtZ3J28gyVxeDclYi+LcSyzjURqnyGqujeIXY3r6nG7prT/nGxKLDXQcKcGB+OWxAEk0kLkyoNr2aYf1n35aGWw2oFFWzV4/Gg3kJbD8lzGmrkRiEUSLF/SgvscTOh+maDEP6LivyvKyVMphyapQLH9Q4TUoFkJNlHMHG0UnBqA0U8LVHU6exEhE+UDbLYC78ICCsUKGN5YeYBRidd/M7qJsC/LPuXSQ3Ris5eTdUKkDIFEqNdy271ZopmkNRL3lyuv/PwfjOgXeDmJYi3Qvd88phWC8gwQGi00G+EXLSEOCdrpBKZTS7yIDeUN8yFvbiaGLvrDbnCMwDg1PmcJFzueHlL2Q9bfp+ng75mm92X0/W5YCQvrMWPgNRJwBzue+5hnQNGgdMe/sxSOdRbOfPlMJEQIn8nxFFxKgKuZjAOs4LX30n2h50PVaRxb1M1bBD6lBp2gUWsFcZbWmcdHdUoOyVPwvK7tuMq8WyM4oL926atg3cZNfbm19W3/Lg+96tpLQjTSOW98/hGH0DjTYk4ekKbODNaztmewpBPpUfeUZ1nf3lydxSyLOL2+z+b323H+vk9baIckMYH/oZJolMSnYVyneOAhjPOgsuDmIpk9LvS9cCJB9LUeOLGG+jWFPBRMl4d2jkR/A3JLTeMVrIcgf97a9LqZwtJwZL828rrZUua2GO15cM/B2Jz6+sF0EHro75T9tt3jCeSwLwbcKYVQO5ioqgnmx/uDbIwZ99F89VeSl/ByfJJYZdubo3G1fQ3Yuv5hY2HIGaYRGy4CJGKXM7w7dZCXzOynakgQNsvSSOyPiTKbcbgKYnHtReMe8W6oLgFzELEHMSmbQr//A1WTjVljfJdEz+v0lF9YX+bBbukymhsSrqqRvMlQPG3Q1jMwX9j5/p9wk1etRjux9qGrw933CSQkaoEwPUyF3WarAYDa5W1R1IQSx7ijyWfdtUBAVbo7Ys5stveGoJdIN61ihFaSwKJn67ZaFNJGJnTkTclwikuox+L5jj4juve9SfWHf9hn9GMIh1RNP3qFbuSy/3ICb+yKT8sh+SuQdQ0twiXOuKG432ZfEt1O9RN5bI3E7pQkd9Nw8wMZQcoaBCwVSeNp9hdLq7MJQy5PemRVjDWIudfZPJ4J713esuSV+7x45c1jnmamb+iKt38KjGlkez+h73p2o2cbxwiykq5djlyX8LuYMs3u2W/tbC5GkPcZ2oOzrx9tstnmHi9zujJytl1HUT1YUCVnRfrEw399hXBnXAkFAPGGLTNFEXKd+OsioDvX+ujDMx0sOMkKXl2uOGct9p0oGqpxuK5+7uN74faGw/sCEvogTN16CcoHzeudgtbWT6LKclBX2bKeFvN+b0x9e/cpfesW2qx8KkIngN2QJjEdCEL9oYJXLJ7V/zk6xlxGXpHnoyOQD4ZcjUeQlpOpju3wpKzFtTAdyLACMoHuFd659Xq1MlhIcbdlXBnNJCbR6vTZJeNrc02sV0sUwEuqFw8oRU3ME6KFURXgVuN2nV6psvmAm03DxOwp5aj+A6hw8OwkVKzTDQxuAHkiKmpuzJVDELaPHMxYOAQNbAWKEQInXwSwwJTaff/YUwsQazV5rywITzsSN8vlbW2cuZ1LrNbCmEDsrqDm5ec7xFOY9E/xynpdt5R1CTa2jx5qzqsn+UJEhOWn4DiLPx2UP1z0rE0hStTafHdWg6ONLXRJUifvaNpcUgFEswDyHMHlfgrZcm81tkWygotebFUVBagELA7VZIMhVaHvmnyhN+5B/EK5A+JuVGG22MC0lryxPhIV7wMH3kD+r12DwSp6Q24T0n1f7pRoDZI7M9EAImU036iM5URw9xLTFBmnJEAElrDWQseJhDIcMN0li5ovbS4rns4QH0t0c+tAVTUDIl097YSmtst5nR5r05WbLJbU+w6lD+KIQ1Ia2l6SLSY3B2z1sF/H6QkaLPrjD02fEo/H5TgPu5+vJz8Fs7Sjz7Oo7XWFToo22pJkMVB2gtzXMk9MauuzdtyIYEjl06Pqr7+eyYMw3cF5+DKN7szSNT8S9rwtbtKjy2mVveUoaL/spoTKtYSHBET0jhGukEnCX5zCKlzTjUcy4QVNAETCoJAauRZW5WEcoxw9jwphlOr1XlLJQ0JMWR2ZVA+6LNKgwDBUdeOeoJqfVbvVgcMD01uuzN+zGs+4cgziagcpUUpWhFIFIBlk2KTmlcehYm5XtpmxOMc6EKCB5oSYqOFiqLCAXG3EfX1pDju60Vk08rKA06xVHDPtS4eUQasQxQylZEu3o7CXaZoZSUKis0AyAecIVsSUt0YAPakSD85KlenqzgeKOeiZlxY44/rAPlQiqfGdUbyNVmaewRNfzQsrTi8QVa+tkSM3y395cvtC0tybZKUlL775gNOzsDQ9l+b16PY7N6HuxgSZeXKAH22n2Sm/xokl2oobHQ7S9rXK0M5LcV0/SYTSVVNb8IMW+RaALRtfKvE905qbhN6hDn/AoXkBYwLdowIsRKItc2oIE2KegpCuD8qFPD8GWP+/1RX/1e50Hlg9vj4dsAe7qUB7prYwk1eKKq40z+gMNW5MJVxnRAZcJxCoJc5TLHiT11yeC5UR0n1qpaHgenJcqnvBN7qn517SiAt/nYkH3cdl0ROr3+gPYqeSy/6Zsag9Zr9ZAwGNGu0lXJs34tlSCPdsGqux0ksYGr40jHdK+qYCSjSRDuZA9b/m50n28lOcBR36S08E7m+RC2AxJMPRjHe0ygZm1asZvYc0kS2GoWckzFzkteJBg/B7g+gOfsj1OW/DlQYh8L6iEFD8llXSVVtlG7brp/GJvHMU48+AgoOV8mMHCMC673QTlE4pLYEn9eh+kul2/VBoTHcrVzTrtSGgaTTlAyw+ZSsGr+dy1Sz0KxwuDjJd1JmP+TgxHQT5A4sGxYZEywwcMPCV1LZ0V56CLOXFR09MHVN5qQyedlpzDPnF+5wj5ZrjsQ2RUMAUTELMHb1tyi2ouPyVrv2MdvJ08l1+bXUN7hf5ti1vxemt9sIkxidI6/rtKUYOOeHZkd9ECjzzcLysb7boF7wqNmNgAutmH16T5yOlfcQjHNA9O/+wzTXM9f71BIh3srquG8ivr/CerNJ6fVA9LCn8206r6qr2bbpwHhHoHq4qONG282Ncoj9VVcuKz77+QhFBbUf1RY8NEajbsfDhC511cl6DPsVdYpubQd4gtpTF466/7EizXLCHd1JS2Bg6MPVWJNdIJo3X7lx9qzUcXcz2/PidFg7MQvbBWsiCfLbS3vIFcZtBoHBePO9CMRKE1Rl/9FthQ1U4wLGjLdqg8lC5asoURakDoS35a8GAUNpJZr18hVuK1tdNSoLSs+B2XWr2TfepxZpiML+XdMob2Hst3Ev5DFCV2y+P/Jz3lmk+uc+xa2WfcJNHLLR57uv7T6ziq0526R1p5HswnXdy9Vib2wdbIbS+4mULDjZIYm5MXC66UZ2HD36CHJqwgRn1UfFKZMrxWS1m0Er4xlbxSFQyfMLPIxS/fg8nA+RVtX8p9igAUcsYo5Z551Sr0jjrQpCSV5zHhEYYvGfVkOMUzbmsjNjcTw4mOf1okSr//U8+e5XGXPqh2vhg6ZEjHWghVklknpWsOOjqCaZngLL94B4ziF8NNKMTWrpnVnsG5MeA3eHNP2orAGglOEomTn4Z98n21Df8XOF4Z3+k+iOMTL4pxo6MSbYENrGvOTASGqfDNOfBUBy2JF4x/p7o97Q2CdduEy5BZ7kOofC3/dUkuolarwG2/vd9ZHsy45pYOkdHAkiQDTy1Vr4b4RMFo7jy96W9vtoKITCrezpRnSmezrTiIWXqj0A9SoEzuViw4xKAY9H8QpCo8S2m5b0ibtZqSyjzNsuLAETT1iyww31FSyG778I0njpdFM9Evnw1AYF+hOkX+OL1HDrtAbDdxgzf1fnUwdBIvPefk0ftfnr9wzwR2aZegoNfBoNYDs0/HRZxtf+XKGhhgNPS8vJxbWtPgtCJcAee4q+bSzMS8fsZSS5OhE50x+U9+LYk4r9nc/T8ShCplldJfNWMII7eQxz3tzvWj/pddEPvbjZpNVYlUZ9nFKDzmvkMscd40wMBRyBqvy06ggCe+NeRRcAB/i2MlMzeU+W64xvoUeDao7FIU2sZknfHEzDIgsJ8XYT80Y4B/7sdzpUTsYuXHf1cjzoJaBm7Hie0IhdtEhYzplOfaxAvgNbJCRWqYCKY3qxPM1MpgradpzGW/LgtnbxLl31/SI1rRR9mpRsd8iW2bk6Fw84MHxjKVNeABAH8hRnBWJGhsuDL2bU/hm1r00F1Nqw7UefOfdGzOWIA2zTb57SJgTIMjnjKWrhuGo5SXYZhBx2DdpGRCTiv/NoemnANF0KIShdOtkrjuPC8LVeNC0iInwaSGiNQwjgDu0j+TcQGQul8g4+kZpI0UoMyPAaLo77H7ZhzCk+Xm6mPqtRqk+yoNKR4z4Uu8VvYWHlEEHY56QatzvGb9biaSnQew/kErEunJB5FQPF06nrXWjNRSAONaHcdTaMesqGIWWQD8MZVwBI1o+HDkXg4SmxU62oF8Y7lMlUniQWksNohqgdMholh8+9pMhgbgI7VjVZXmVFj+zo/Vdmh/qNgPCExtIhgTlKKkWtmWfnbe3tWDK0qLkXtH4smSbIzcN88dGulxFrAFGpHoB331bfOYYA6bZUbRrGes9q2rM+/sRR6QhkAPWnLfpyf2StSEMGL/jJrqdLN8j/18oG77SCuew9ck8HwMz9rLawhygUoyZl7b6GQuri0v/rUf5CM1Irwe5DN1A38U66BFtY8JcZ8fDs3q8sOLk77QymG6cDskI0jEYyROkaR2+1dwIubhSHjFi2VbaQ9NGyTs4fCxRjSSL343rTY/xtPso6Y8ipA5kvChuWk2QuTLs4pTfG4IIu0O1j/zq9LQCbGdZ5yV9V65lcEh20HW63DpvQoIYfBTv0ZICFaI/bEMWElz9sLoUSqsM+T5l9Q2NDGL9zBKzVWU7OXaItIUmBGlbybpGnACdjeOS6oXK9QXkvrfsBxrHUH3boY6CcVgvb/pPiU7t2oiFL2VV6ROfkRo8EWZMpqM4oTGuZN38iauQU2KbYjPY6Vi0WViq+0YauK5cfDU7LPypyYcLTPoCEdX4kdSbkZMStuAz5bPNMBkBs4bGU56OwAICsQWcKiMO1KU8Xfyl37i8jn28/DofTLQP7oHh6b65kfjOsSzhrF8ARcNxu2XHLddzhs5hebhZSJzDpojgnTmqqi95nSfLR/7Gne5JGzt2i9eog8DWl82fAjc2rlaeoOa0b3QTYUNBJCcCorS3F3c2e/SzaEQL/m4f1m8vcCbTwybYHP5AsunkRn/ld773NOFyFSTcTfF9Q/T7ILBCmV0b/wBlHv25ovLOBRY88uCyLI2egoC9VdfV8ir6rR0NDRo5Qx+QnhhgtQp1Eqm124zldVsCpfDLsu8GZZ/+oOvtzRDdc8i3/N7s7NSCyw3GtueSli1fStEAKG2Mdd+iZUnU8wD5Lzypa9qUVQ1UBLvPSg2kekHWqABWA+QU+Ok7vsgkAoPCU8zYHVKxUmKUnZEFDw1ALD7cqCg1zXp96rJqX26BQ8VRf0EJwTDGHVLgAT5hsol1KHGDabfFm5rq7OX6H+LI8CWlF9LsVFaAoPekNcPjWb4tAtpgZ2DFxDRKmN9xpVF9Npv0oahseGXF/504YX0a4xnQEPFvIfGv4l9Xp+0ixT6+gMfOBJlsoUQ1NdWlLzXaE7xu4UvGR5fikI7MRzbY39NrJ/k7WVYJkpmk0lqcJ42JvXTvGDlV28xEQ2MS1Z3Z/oMWfcBL8EsbdD4hVcjXiA4B1dzKt7YbademNYBxOJa64A8hiXrp3Tukx6cOxx4mrUKoEg/mcv4mYl03oZc2ZhoIUFE4Beoh9XHxtegaXGsLxKWxFl+Id5CVnTH6FB+Pc33BpBkJh0K8VZ9m6kbPzhiiGym7tnoWNwWYE/y22Zj1KFpTORn7711NdL/UZlRdpPofqE8Ftts3ZbusOiuGOOpCmu3A116MZ228mIx2Yf4I93LcNmCLN7hSuq9eDPJhgF2Fp+nufYlubwHEZTapCfyBlGi8DzIQ6OpWGv/w4RKKGHgF1jXyYw3SfacR8c4zZvegq+3zy4pOT9WCZylwFbuLcEn62Cd+xPD9U131p5fjcG3SrHPg0FYLDoCN7IlONx9aUvahMYsFUt2VAmzH7KWjqs7MWA11VPo5X39rt0ZB1BuBiUX/kpr3notr3TdN8L9n/eYiKo1Yo1Dex+vRPSCHsL6mOYj5r7ewuts0DvFCu+MJ03kPbwL2yEAkU1XShcRTO+AaXd0/TVv6pb+OjS8iBBqBpPjElI0P9ThGDOAMnftdvz9e+6tRQBmk7DYUvi/GcAqo4LOPHmOqS2g8wR13xD9rltsW1KvsKKpk00wqdGgmh8HP6OKHTQZrHHfmHnGlIhZ6qmavhHSzpWNKnDPO+1iw8ZywUXKoVSySNLU+FEcDemlEM7gdznqsX1y6WJT5eCUopB3LIw9hNJKUlW0UDIKZXZUln8H4u1WlLhcK2v5rK0AsDCVTawfS2qnSrkSEE7CgXwKkN3+ThaHTQrpp/OpXLl9d8RsLK+gqKDH0lDDzsKZhoh+5RIfqp36VrWr8r/F05TP5rCo/oyKhDdh0bu9ylEYOo3LM80bJavp5TpJh8fhXOQ3nxXgROQr3KF+KQEq1iYsZ8ZqrduyzV5ok7dU7Tak2Hxidc2LAXiOq54pyuuwcrT54VFTUsvjKTB1knhsmc+9Jgr/PwWjvNapvdgFNAovaNksMWua+4vUFdgklkQiFKUg5jQzfiQTQKYWfz5Rn6gy63sDZb90OnwzpPdURCdBUNHSuxekOkbrbO1Gx3IEj/4pvg9jYsxDdRCUGt7kixN1Zefo1+w1zOesM61m/FSLhJ/4UF8mvmUG5RknAWJqCb0jkZvPHZuEqhbI4tXGeFFSHDDrwsZ7JljpcBiiqzbHjjdg39+6pJDohxcNWs3RkM2DoVASx8l7ZldgocxaEp2UZS+hKEoEUVKb8h/BHfmsf4CEz3tzv0lWrNhmHWzVFW59k0WhcwfwPP+nlSU32MBrouZF+vmHEHv4iS85FqwrDAh/Qhd7t9imFKVC9PTwDhMcfWwfTtmiPNkEc31SRVJXzT7SEhhOhdWSiDiKe4Tokpb44Iq6filQSgQgZV+L69zs+bf/Ha/BcTzzEsI8GVc/by4EAuGmTcyIga7pu76TS3y0huFcTLQSTwCMgw71FvGkIZIbsjOqWGm+4F1HCwcAwv8HzQN+dTaeanP6tqBB2qhRVEx0QDjNOXYNzsJL03eAfATldbq9CFFLdkDmU6hAao5vO37/dAxXSviALynmmVDk4ZRLXnme3Nb15QjoYjpkSko+3ZMx7zS4JwUeKA7Glzbk8nYA5hvbUkcUjJHM0opCyjncyh9XO0HVt8pM5ZH2B+QcM1cE7P/2nuNFZ9n620hZG73LnWgkc5z9IjKVEMG2EXY1X/Q7IgUL7bK8yqtiepjrPzzpTC85+FXRHDDo9zCYxr1BVy7aPyTkdhQ0AWXhV64BtF8qu7EAl07s0pWk1h0zGqlVke+Y+N4O2MaxPJBp8edtDG77WOVVbLlLoZDjErZi5frpPBtStQxFi0s34MLjjR0UfBBUaoiQvqcl0evG/Wn+9b+v6rRSQuhGpu/c8zWhVGqo9ITNx2R42ad8/cDuPs/gAdruVaKCZ4tHwghisxoowkp5tidrNQgwbIWRh/kgshgp92Rnus7IjfqqqJJzNSa+aEEnvYu8PUk6yhXgCOwrHAQXFj17XukDq+7HMXsguNpUUo5gVoor5WHU8YqRyF30nhtk2nE6P48K7kicxebEKDi5f9EeHhb6/kXdIk2HtyjAvr7aevHwiISQHO16CtG7BIzeMx+XhJehQlNz8Yo21IFGRnXjm8LOLD/bVyhBifn4M+qgW04vLi+zY4zwsDoOYYtsh28chSziRjzCpur3WBTy4qGOepOwC4nY7FdoaSiRuKTzVZ33Yk0AOimbjV0mvQkBPguxzxpms62aJiTr9h46DF9H6Jxr4ykcUhz/hMhl300mduClno0iHBGJHPfP0XMsA+Yx53QWI2G+9GLCQYOl1/Z2c+w0xkFRA7AJqpNOznz1Suq/aSsZkJWG545pVmw/e5zpiw4q5B7lovQhTDEK0JRuhhPMMyi/4D66eUuLzjDHKgxsDOgH/5EeAIv0UPfvRSABxLTY23eVTmBOyPPLu6Ea2n/vjq8iqZBhUCocL0b4EQ89h4SSYw+8UA3a3GCAKBrgu4Ly+HM+poi1dbclls9519p1gX70pbreY8RiHaec5fHoRozxkktHwPZGTRHdd9FiyrM8L1/dhGKU3i9vmcMOT4Yqa8NMRCLdMB9ArT4Z3FEtix0wPk/r9CTYea9iiLlVsRNkxOCA7DLLNKgEz1vVt+z3pLNZF7LKLUBQiK8wGEuUYb6tOuRs9wUKoJpUcAy9yQqaI6BNDf04gphjzrtt2InC+J71V8cBLw0WJl+Rbxrxv1FYPCFshUW2SqSp9nnwtngUijPz4OfSKsTo9j6aZMv0IfrLFHBQDMGmGCH3rw2NwORv2+4Axm/L8imat6AHNIvPweKipZaGO2Ex1felGiCh+WUGIA5lD4EmLUXsWVpc3u8qemEz5CUugmgk5RSgBbqe5DWAUcJVfu+rHlyGZIynyx8pZyKgq2QnCZuFwEJ0h9/K3PE4fOJyv7abXjdXLB/dSqzZR+AkZgZrqX0X4LbyV+Ml0u83WAHtMLHwPgTcCDcsWI/5tyhYrEV86+7UUjPlzI/MGxhjDSnl0YerwdWPHJgBrN4FJv+wr5nhTyheaZMX27QBM35aE89Ra/VOV5JNw8RwlUAieoKZTzsJG8eP3GL4/K52JdidPy4NtfDQXrhEZgJBn3hMREXXwq6LFS/n+ehzRrpSRbMh2PIqNHDSbQ4IS8DOMsHXOjBpeERUsz/mzrg6Qk5KyXth0dwe0qhLZLk8suHPJsh2F5yF2KXoYy+7BKw8uSZnYlEsG2C4N9O9jF1HzbQKlGVdrim6Xsf9OrJP3pxVzdTOOi65bzT+Of7ttraKBu2BCfqnuabtp0peNINSSVgkBRxWTnBTgC9ec/dcNlEo+hNm3Fw3cfmbU1VgYfDu/IRwviwwncqN/owRvYh0tjgp6Q8Kgczm5xR3lTehk1QAdgerUMOPnzbxBCTkUbaE4PYA+tgrkP2PmrWu8SHG7lSi/5Nhi+mRh9zgMC+3tP3VxeZI5NNqVrGlpTi+/tOrB7CMt6merohYOu1lhQZoiWwVGTpoDpLXztiu8ad+ju5PXS6WwS6oCQc9TOyxl/mysEoBrVVKH9d5Ww7t5L44Ek/SaUv3sTrbSuXK8bb5zfO7RWFwXvVX/MbH3psv+5BTc3EzaLPsQKeyhj43VpRgaL9WaNhRnEkyD1H7/NLFBFsN9JY1kyYHhCpdrRH9/yP363pBy1gnMlOT4hYXTULJXEMqhZeAENIh5Ffgnz20Z/pg/NpB8WFy0rkM2eqI1fg5lxco7FIUd+6yHNqa619saVAt9DFd8BYtF1nhkj2UgEvOZ/RjhF9LVhomWReai1fu37BOQNr/WmxnOSuPykuoJ7Q+getJSwMGJpLX6k92tZoUyjyeMcTEO5vszx6tzDWQwEUzDoCquZLJpVZR2+kGJhhMVmjXQBAIeIunTDAl7pB6ezm2GMVCWZZPttiT3UogEGImPga1A+GmAQ6kXdCBP+JLEDEQUtHjpAPCNRLXl1thf69R95q+UD1hHXJfTOXJBAyc03OwCaL/4h+yir0hFAUAuE2RsUgzZ/o8UZn266NEICSQVaRYO3XggoSbawSZD4oB7OjPz0aOZOnbc8LhXT4C3jdlpO2tIwgGCQtG5AaWNB2YAIJNJU7dyTOqRos4m7NOXhFcpvot1SLHKWrv3sZcZH1IdrMOl3Xtip78wlZwqU3TnDgiA1pA9k0eAXb9jzr33aubkqR/AcqlWvQvnEnEJuhAGCLPGXAiwKjqnRglqdLVf/zR6qUqZN5E5g+RsCLe5ClB/+kGWlE2q90hnMj8Xr2jBLeLQYXYEKgqxDkhawQHeEY3TaMPEPGuxlpUwT/3FmFxZXCsWkZpKp8NKLbm5iYmC1ip7kMV6qJvDHaw1q4kLVz/nPhb8nr7u0+5rpOIANGdAaNGmq7kpRKvW2rCQGf2R7l1bwfvlBKBmOhQeSousQDM9ocW4a6IdvYkHV/LbEMd/AfyBi4CajBuZCXvVsmdBJi5H5du58Y1ImK/rHMuNSLKG28F4JxfxHEczlIyipoQQXrk03GCD6S4stE2AAUSc7dwCBxXudpt2N2zEbyDnGlySZuReHQinvADrmwqKO56xc8+4zNDhcedvW+6lu55Wraf0zhm4RPNtuY6e2CXGHPUm6RjbOx85bH4mxePlX/VaELnxFiWhQmk6/c2c6pxgvMnL3KfDua38vqjjjC8Ntr7PH1jyZLzSz8QyTKoJ+BrUYLOfT0vtpMGSlnOYBFHtqXMoFODnElVZ6YJjydq8tq2QGkhR/zhaSCUTPVAy6JuU44NPbaXUssj9KSkzeNLqdxj0jCY8eUzRcVTQ42xrDK0zf4y0XUD2q7YfQjT7+B/NkSGL8pAm+QChcM/rDvjWQuqL8B+34sAakWH71G0xSTQ5eDJV+HKafXryVI+wHmhxeynAyKJDdyqIzzcjIR6OhrTk1AmkIdLaIG7CwPemgBVmN0R8fVbWauG6EB0/KuXvmqsd7PGtKbEEPG8x3pr05xNMdhc6QbkNfzhxhBkZOKS7vTTKmUo8wS+Blm4er37OgPupME9BEhzObjwlTLMkWvn33AnAYbD1tVc7cUBk+ARHIu0l723qFNNT2ttzGthzJNPyHWuyK9rIkTTAEW8v7cg/lW1E64gsj0HWOLVNgMI18YUB8Nzn/K9CeAf6bpJwGAwuP/MhGsSvndNoSBwqUlJzKvITQ8caXw9PNX8WnUYQFb2kQNFDZHjZJiLotO0tvT0btos1sMqZr+u09eYC4Uq0t9noUf6hoX1M2mvywqGKY0ELtzLJ+VlEe1HdHnWRvy38ktTaD6C6CfWFCl9GoDP7coZNAeeo5v7RPrLBHomu09RFWToyu6N3fohd89OURnGQpan7kT0o6MHlmGnqe6X27FoERTku6UwX94NTJCxDWybTQdz/sHq7c0HslqWr20+7VKE87NzOYmz5fCSBZ2e+2FrW63Jcep9YvfHkYTx7JjAWEG0vzwkw6TggaTn+9RwEgIZaCE52fTWpPdSQk7jz9RmhHpudZydYd9hxuTSqSM5/kb2WdxsTn4cl/XhxzHfopiTYVsh6IbINdfYl2XpMMQhpryxo9p3FYhthq7I0kqjhRedxKJfUOjBb/Cxphjo0vB8vV1Yie5Q2ZVNVTsdvteUDWRotOcl++QQ3y/Rn8wtaapWepWq33qqHrPYzVw+j1btcXNajKVPWx/O4EHCECJctiFnIYYaNFWLpx0gSstZD+FBnYiKJBnXKFETik0LOZwW9mTkpxKDtIARKpHNPjN/WK0td5jcDgdqZ7nkRoN9wlJ/HwmpBPmcNwzP9Nks2AMAJb+zLUvwd12UWsvGqQDkxlzvKJwthNBmk8UstiLrglPwlt+YHlZZ+rcAigDvhrNx+cqKrLCbe3V9l5Y2+fvTul3Pn9v1S8IOg2LD8PQCShz5kaAXLh/PQw2RqcOfS6afwM0ADqOUSscNQ4WuxKCMfIgR4o2Eumb0MoDs2rkMpzIosYZulAHasiBogT3mcvGsrgdEjtUTe4IesT0t66r3/cypKcuD2r/8yVnNVdtNn1lrWbVDxcwX2LYKtBzqVOlo5+om4Qp06QbBaVHGOvfsl+adZxoim+OvB9EhViFANCQN33bTJgwnflxZYs1/ANNcoAm+zj0njN16Bpfsn3GvsUVHGn15pj6aED+a2stDyT41quQp7Y2OqcVQcj5yt7P9S8GpZb6TBPubvbRQXEpH9fscBj5zl5YTN0sy2xmQFXzeZz1WeYwxtgXy+4pzWnb3She95FYpznmL8eRXop+3KvLwFY1JTIUriClOQD7gL6/N8yCg++0S16kp2PFDZt3FqV6O/Hk6s7f6zE6C/sxTqwwPDAKI1n2zWJtchCvjuN7+5s1PsoELIlgW72PClJUnfZdkNz0qnPxZ89XsOweuik1l2tGFgvSNwCHykUeUl1zXLZ5WSxT9PmCXWxbRUneEBjQ4EIxtIE62ZwUxQc2DTf8RFpQ01Xq/rt3TqOy9mV9xz/rf1iRnLCyIA9HE0TFWtSfmXS+GMIaNh5e0idd3Vb8zx5Xy2j/vLHvMQ3V5JwLPFEm5z2lFaUCubhW6Qw2PsqQ7woFtCqjI2bgGho3zml9zxJHUw67uEPgN6/b7yrLdw5oC6nDAx57YLmJEmLTdZ4Q5eXd10mXbCfnYuwqPA+QOubmPwl3xi+7NEKf9+4/tUQTmph4LHIxV59ai4Px+r+Gq4KBasBKYEBwxFpAMSxQeDQgs2OhHXrABuenKOpMKAZfYDQxO5X+MWYTIRO/DXpbTmpZx53aNx1ZIbA1ys6FRqvYasvn56dGTdW4ccQvGv0B8yZQxcDiOumM5Hw+EcGOafbbJGCVJNPfTdAz0OdqgyzL9eUe8coud/Vji5MC2DN6BH0wpRR/Xpbc/EKN5H+7FPsLrxgybL8izl/81Ja61zGwFJYAUcsFmCzm78u1FT4S6vzzPTj1ybtRWLW5B7Z5Zcu6uY+4LieAsLWrG1Uo+f0KF2teZt31DDE1LmahawwSmZVFebQ7pJ2ntpFlpoh6bweLM5BZoYZkJBQVTt6AcbDEMHNgObD1/m/PHvD4Dcu2gVpfrNx2e6CcG/4Jwm0J6ssmxcZUXBy8sxM3Y0t+1FrFVtXW2xPaC70EFaCE6yD3e26aZavtnzdTtx+ebQ6nS2OXgswkHXCZeQnCoo11cC8zHkqe851JoFui3QH2td/g/i6Yd+Op2pIvXFD18dpeQ++l4SRSZlzVAMrWDSLe4Gf5QojFADox/KxD0X7t75V/YZOPAszRkuzPwNZH5LFJvY1FTMt5lveMeZx0j6ZiMaDwPTxdzL47omtqOedTEgFelj+yR0h/06wqC956EtXenf3vhKh4nvXJUgjCgWGpI7pWsnVIKBRdHIdaaw45bTBW0ApY7qWepN6kPywvu+CG6n8fQNrxx8/ZdLTzhXxPCfDU9b+tjpxdxxwprJaly1pm9jhh9ZjPK9kHFRKDRhodsMgJ4QjZBdQ5fbrqLOVnWQ4aC+YTRaOvYgj9hxoHd4jdW/NiAoNhsvHqqfyuqEkihE3BYWq35AD3yfe8R86WgDFopuT7vKA1If1snqdi8tGG6JUDYiG6NUVANgEcGit4qckoDM5PqLWBrtyzuYGXkir0M3IvKSy/pVRXS9MuyDJgNf9twANLfNZm6wXNrsFtUjBtGiBpyl33eBU+6GkCejODhQnhIMB+62F7vfiQWS1rp2nQ4XOD3W63S26IZ0N8jJWEztesYTqamLAc163WmuQ5EyUfuGPlIn2o87zNqwv6JRtu4z0TaygVCMgqavtKyCSt3zX/wWo+tCucdpN+jDYd4KWKDG+HJ7zDi1Yi4PXLjpzOS1T17R6o+vOFNyxgw1/q2zqR5CK9Lupn69VTALzmDzjkDtMequsNM/TMpfNfoYpQnC6+9i6oQ359pFLdUc8NCqIG6z1nNPTl5uByuSwRmp2/XhFaXHM9sK5NrIDh/uijFO5UjhG8l3iYRKi1FxEWvXd8376SZKU3PXc0g1a6o1QfRSVqnR//v80z1zuAKpAuTyBdWHS3z0uJLNKABYcZotxdBneO6JGbTtPtprpg5ofLcUd8/0SXmsKSSpweg6qwKGkZAHWRAcr6aNXs/gr8miDCb+RB3PWMmUdAaZOLiidlqAMJh0arT8uIitxjuOphww/WNCAPifiTpzdZCkbM1htu7JzXL879QrxCrxysL7akxypDIo+Fvu7SijlaGZw1xDE8gSq+o+ehuR5VL+GKcXmces+9hhfpk4ukKaRN8fdq1vHJQQR2nDJuIXFd48bLSTJokoPCqYJVyLs/EVjUrIYVLQqUfRcJoiK9iqolEyDnLzxrORMeY/IOzAF8bAiOVLCMlXFxTsIP48eynjpkpalQCMXuwuVpC6saZrysTQKHAt7BVdY1ZjZZ8g/4CaBFwQ4M42Zg6hipK1cODO6E2PqsbzGvqXqpkoeBHgBhV7NCo5G39gPX80O1kSdG9iSRMHxu/oLWfys+w7zRAkJiGWqPTiykfAkx5G346YuUHpoFTuTXqwn9sfCg2vtXHOzNvjSIh9/cXqF7nZL5sMafLRmQs1aOWMRT8BBwcsafJZQyZ59njwmc/B2KBJBpyuVhZOkd5K+8ujbKZeIsI1WZc2CNRHte7YYWuq7H7acldhjhuBIlFlcRJj/cA4ft33EhVnjF3m7Hf2cCiVsb5CC3gQBmtOR4mwOiUcTzdlTUhPvc5nh7WVEMoGvd10+7t33iijGTnx/iuyKxJTVhTylxBuDm0u662yvc54y/FGQlRTsdDLms9PIYnQCYVgf67c4QxcS3GaNifxrZ57ncoT/XUZyrLLnzzy8cLZgfWzMOMiC8jAA8NpsqdmrmE/5Y1YgCPw8Vt/KpBjlCZad9qTNKoH1u0C7YsZD+b4q78n2oBflMHk7/1ghh9JyeE5QCJNveoIaALyfI/yOZOyM/dF7HXDXRs+EDt6uUmjFhPsVY55tSVLmbWn5X5vpoSiiHWlLVL6R+Codk/2YSvSexesr9XxiXvmdyYlsE+zOVhAxUGfISp16ovpzJynjhYcaYJeRnHDOsTCYgUQhHB2naZu+jv/PizwAHm5eRoPh4zz4MuhOnkRawPKI2ZSjhqzovFwXDyVgBaMP/fsxG+CUmi7wNNicFdTb2uxp8zYEx/3Pz9oW2WPsphzasmJwJm1dAAZVx5D3uRbMzdCeJ+GeaoIA0YmS9by6784SGhC5+y842rrMGlch0Tmx6A/C05Zd821efrhIgQRLyG1UK1PJ1Rzul7BB1/8Tl5ss5gVsrMybqYcYKkdWVT00c1TvgSpyTp/vx3Tk0I28R6lgn3SS3OjQnHrW3H4drwBBEytIGOWT626EeblS3wUMBpkXCwttpxklTfYamdxJMtY3t5DmFB0ZxhHcYCr+Xc9id2EcFFVnJZVik1+d+Ut/ebLuq5Ld2qdq7ce94NRROy5wM0YOv3QrQhjpt+FWxaVtsodq8hEJ4UJwnp+0KW4yjFYI/aNinL8j5HCr3w0oONTEcZSk6unrKxXCT6TOYw+IBlNoVlIhifIOMRxRKnTRwPuy3rdBO9vddSSTYI5IBPVihpQ2soyLVgXnjaOPxJOL6vAHpf3FjYF6tCcWqNT1NMieaT/4ggbGjLXa2kSbgW5/BK6Qa4fr9fDaA3QoBsGRvk/6UIQOfXmHt6N0FUeTtH6zhuUu/K9wy5fHUkHDvN7imolN6V4J15KwPAyV//j1ilzz3BZHzaudN7QzdTUi2h0a+FBM7fyUIEBbxdqK5UaNDc+ym76Lrhz1EH9AS9ZZWOkUsSPQv7meX9nRga0+7uz87GueuOQwIW6H7Lc3rZWw9jgEfATRQp0injiCHOV++5jeNVmyXv8KK8QNShOKJXkRY3jZCGKv/rZrEDaUlV6gUFmmNeJ1K53UQ4Kh9R0U2uQK4GG95tvW9BB9qgrMyspH0xB8Yfy6ZxkWarB+fxHc1fstPeMcfgmO9zuFzvhjACAXgwHb9V7UBz8Rg8ecAQ1r0S/ByYAJ1kCqM8aamvAVMRtX+EeFNUu+59GWCHnc/V0qGhQ5LKW0e6sfRdPtv9tChreRBt3F9I9VDX/MdCVZER7Dtnxl1JMZiOs8KCqq+kQSJMP7rZyJs6vFNafWGcXkiUM1F8BFCPylpCbVF4O3/cYT/K1QMNxLgjGND6/yGNE3WW9zPl20EcurIA3TSNs4CEex4GzC++Ft73EekRSSbefJmPoQNU6xJN9tFU5im7Sj5rgjflV2yVGU/Ge9U258moBqQ3FbCWFNBWqXOPj1CRPbweByrKrEXXYV4J4m5mM62dYeHima5xBdXlgg4lFrUn+HRuJMQJIFUJkGI5CXEsTbpIroJoMpA50LCi73N/qfZSHDQie+ozA9drhsxByhrf2bdRxk6Y4i+5td/8MKyIa3osLGj8Hq37MXugcNqToUZ7wlQRFlHqmGKhFq5cWyT+SlO7fKqpmCBcdusGa3lXo1UNLJZsr7ohDFy55SPgpK9n+bZaKsjMVzEJ9ijaedC4MaRd7/nMRTIfe18d319DCPDGVJNpP6xPgkEUXKZjJT82yyxf3FIuEcvwOmNHXgSGfoWF6dT7Bl3oCBQbkGpLTMFn08PEBmAGKrBr1icKjM5RHvfEwq0n4rc+DMwR6r5GCzJGD50Fh9EvuvdAprRtLsypSvOt6YU7VlnHiTYS1NSh2VV6TGOsrBOUgIC1So3PWalyZA/q+2hxro9dddaCpDxn8RBq6n/gQxODkuUwx2xluz9KxNrycGB/AonXpynMwcaYJRnT7GATpY5X21GGSkDhcMUtduoYAsjF1f1VsWNSGYKAiR3c4GRjDPyi5hopf+XKb4MhwK+djnu8FFV4sMT0b/7UVc+81cO62WFS9vttnPQVDJlB9B/MBOQQrEnfbECVTFeMYKeDY4VvQehIy9gKP55ysuNzVlQFuT5iElTPBwOe188UpNH+y+ypC8oryhEgPOpxJOSlxi3fFu4HcOlTz7FfXxlH6cY0YGwOGygrv/drnvHceBXB1BVmLjRSe+bDWMHGkqKX7zCkTlgY4fuBkdZfNwsS92SqydJqGOyG1P+VMgJIE47bhIxX+bPtPzsqyyRDtToXd14+iB8r6fQ2vPQvogSm2Kakrr3z0Tbgxiemxcz7G0j+B8j6W6Ce0eXbcT3XghBxRnhfthJOXZqjzo5fSeHinmZBmUiJvsOS1Egc3AvHk9FBM7YLhmjEpgGBTq1W6TJNwJdjyBN/PVbWq0MtvvEw8vXWJ7MV1IYMFuzDoK9MqvNTZunoOBy6lsPH25SbyqSVD/p62yCj6AUDYIA3f9HJcc72PkTVJVoxdbaoZXuZCgqWQeaFfoQ91weaP5PlvRhB4qj2hFcK+Z8gzlkfNToKZQt8zUy0UMZIMgve7ydh1qAilNcqThZYhn0kWBuaF7oij0GcvoGyuBt6sUqnxXm1OKmg/IHCjn0dxeOj0PHoDTcNeiXp8tQq93GdB9JAGBjamTBU438Za7Mj5Uc+Tf49k+3R7CKrKbdAxxHYDZxYKY8lUFt7b83syYIj73h6qA1+WhiUcvql4BAMO9OZ0rJqQTCVmfO/bZRu0kxsBpZJvruqhuHqjm249oJdqlxsXoihQszXI5GPBOipw8Bn7WWVqiScOONWazaLU1XfE/PqYQLLTnURYPmBL0hAubhdLDK9MosXGhMq1bsol9HohQhrG8zA1TMU80otYOMdN2HO1D56hgAniv1ZlGRP6meWuotpuDC16Sjcpmvk3BKQ+EvkG9lOLdg5ttIMc0izRphVsj7A4boQQ7NxhsDNu9RNmzBsGgMheA+wYHi4l1mm5v5DTepBy0EnxDn/zCa7ICUbMQVww7t7hj4BDj3pZmfE+R53YXWYoWcikW6FC0AI8N2cKSy4gbMw6ibn/SfjK7exI71BXvO/1GBCO7n492RLU9ECMLQxn7U8kaM6vYyWrhdhZ+aRVShgJJqdyjuz39KkPlbvKU9FxTMurwhzg7LRW3Lo2WayEshlBoJyCt4n/pzTOTLYh2orEO95Mn24WobKJy4jL+/UwF0iL07RQHVpiLnx5/9hdPjMbDqvHqEExD5i/5+UFMLMwae3KESnpoY2Azz+G0QTiUjfOsFTuL++rbr5hmvW6byg0iGrsRD9dZROADmiJPO6rhQlTjU824PDNfne4R6WMgeAwG619qOxfGMCO9kiwo/zWf7TbqRXwI36MOLfzU5ybgVZ4xGAE4EDS+jSPLWkRrzkzA9IsPJhmVnRrG/xPTTtCtpaoHUrcBMa0ijyDrc3QCbu+Oad6qNt/CIYlmdd0dojK/1HCEptt/HYMJQmShZUU6wU8sGWcCRNjQT1QuCsDwgffu/o1GB2zQ7Mz8a0Bq4N/6VA6xeZTQXEMYi7OTW6E6gmGNrtEbMqQhNsf8gSmLPUlj2SaYSHxpmTzXp9YsaQBRw3NixKpXBhqwe+K0t1O2XSccgK3EN3fyUGG035PYvIcOJ2zAddnEO+r0elplnEg0S41dhmnjiK4JnTG+Udhfhj9CVJK7hcWMZecPEurjUhdUe+k+xVnEeoGeCdkUqe6TvMLTYVXxQEPzH7RFFmrCtqSOQ7F6cQrtyDmJ3aDbqP+QCFCuZAqIriIlVT74GNyc4Ineb8bLyxSMQLT+6w5SaSROS2I6s3UVdKKKh3eZ30qAWDliDgpl1eb0owDROoR1C73sL4RGQrJ06clHXBFmquQ7+rUIhG04ZW+BTQ5TjvBoakfBsBH0F6JtueRW7omxxMNtZv5iUEiAPN4tSMfYbAz0GQdyHQA+YQhmYRTZM1/WJDFzoKPW1ImqtEXbC03rEidT+rP/KmXAwLLNpfsovzct2DcIacHcsZei+bUx8zQA6qFBhl+BMs1Qoih7IFjumSOp/3ptkWKRebKGLV+Tb8ipW9JCn+V9d6OTbAXd6NVD5JW/+5T5Ryv7mwOmvtIWTr/ZvDOaClk15ZGQi4ht4i5QBk2q4ayGua0U2cZhDpUNmW1r32rmuPPClqjqihAmur3fNgifYyE8SAsv+vrqbr3Y/AWX3CusN3Fkh52pB6RTK4VUZHdVqt8NEhEt7i32c6fc0DQvRAvq2oVJCwTRjWXmuHNvcYKb3SZxELJXsVwXo6rNH22OjLXLmBehnF0ZDKvPyTsE0QH3h1BP6+pDGCyrMkrxgh9iFelsB1IHc8Br/QS44K30z0oI8b1mpNkj5HEmqEZTUlnsutQmRm0TC3YCTcGnpcfA6ARqXaF1xoM+LD3TK0K7znGyYQRuaKz1FxYc1bushbiI0D3SrthroeIxMd/Nn2diytoGFyr9BJrkXu0JuXu6vq/XukLWlG0ZWx+SO7EtyRJsZzlmbCV/3I5qnKJseO1LaGn9KiOoiH8wrqApXyXZJdq6MEwEuMbE+Qyotf1+kLIOWeBwQA2NHgCYNSCwLF6d4k8N4Pw+FNY7i+oI3FPatALGrg3lCh3ub0BclSf/la4FNUfG252+Ey517xJnixymWR2aKfU70jeeIMU1j8I1E1DbBi6VZrFxO6j4tq2FnwzgzHNTRXz4k4+XpnjKxapmi69WqKvwN8ZLqV/hzlBeM8PkmE9RCKNGeijrir7tCvKiaIiXSiTQS0mHveNYFKjjTh6jPZKM/TNkbCuO5GrHMfJVtUReOUYsV4hj0aYjOMwKHiQTv0wv0iiT9wQrXnejM5MV0OzhCT+3nLqfG7vVSTKr3ahg07v0I6NenjUqXyVySfv4y1JiPhV0a2g4Wm5wrJCCgvO17xL9YMjELlSxSzqQeQ1TG3CA97EDyrjJspIxFfn4ov668vF+0RlcAXlZFvB7fgvZcP+ZtemRj0tMeQprMNEEj2jIAfiytd+GOkWouAySi7CRhp0bnJTK66pPtLXbu8D0XYZjSPWHKAC79N3vhqARA6Y3dulyy9oDBAAulM7KBeX5hlKCqkWQHnz+hKb3d971qSs0tvgLPDK4zplQhf3jgghM+P5oPUXRzec12VRJV7mWX0uaYlG8/BGRdpxcY30DzckBerbuAkomI9y8JMxjRWROL+DaDVBFBxkJphSEpg/6o8GrkI6z+9gG0gaCFPdXOTB4mWWRnFc6EmdDxyZdeX6bUwn0WY5g27wPgauKmOggGcUGTuQAsha/MZcoXpxlPbKa9lH0fKv4loKY/dIdP5PaQuvjeLCJW8HkxIvc/W3p5xh5FC6EqMyc9jlC/k1l8WP/RWksS/beRDzL5eC+txTgLB8eClAr3RwKpZa9P/SicjcrKYrhrVR2xzmxhBznViOB+za4CZE+5EDfBCK85jkRKO0zrOobaAw4kWdG6srlBw1Mrww6Cn5st8EDnyMtr6ytUOZtWQTPDN6nLS8xpbVTcfLmV7nnUrsdaZ/pnYtQ0sec1c6HxGLxHdMGYY/zlExz1y0btmzAQ3aREtn74S28/WIGrjSBXp9HUu/sf+d9u39EhgkIIkplcXNe/O6WrpNYr7Iea557szxuKVCOAe/dVUjRnrxFLmaRVRo0mGlwvB6xm0YAD1mQD5UuC5cx5udVJPZ/O1WUnmu+cvdy3bD032CUDzbvKTOky6WbVcN3j21UEDQmgZnaJLBMV37hkMZuOQ5ceTSnsQs155mt+LlKZmQJY0LPmsrj3xeu5n+0CVElKhSM1tlTyAugKZBWG5+AQjagJJW0wgBx4ie8K7LumGJy9Bd5O35K1FJ7kIZQZuJeF7kd5SOIKsNdyaofhY93EAJWStaG/djbCiW4XXwsLIcMqdUqK25zIGtGsx9tsIKXP2LlzYLQXSsR4UZpPM6TgvF5ekmIJknKUD1zT4YItulKBAakJRZeD6ZHQM/1+eFVS6TXDsoVJ8i97R7ZsU2Hn7rceW9NNqZ8a7EcXli4IVWCgxeHA5GK/bCheA7ZhgBKEPF87E8jarUcV8OBihGf2uDfR1C3+tK5cTcJYEQGUpKy/I0eNEHHW3C3b8JUW/XpICOSmyfr7hsXHxJYPSHR3iNfNHcHkT/fV5G60B4cB6yuO5FMIzSGKQRxXNAzPz9fbz+hnk4FEKZswT5qaZC8+5zkr0vT+s6VLYS45Jkpp2t1no3/nKLsedD1OfheALFOlOao+SLHgkEFyKP/VmVHVmqduiIIpXrcp2qVfeNNm0b2zWb8eufCHJshvaToT8Ky/K6r88CPFoLX2EmB+7mpC3SX8pBcxlG6pqL0navU7JqjF4n0H9IDKUpNvUyVLsSQbdjOQhTD4TLRj3tuAN8Hda60NsJLidxMmuowV8DwTBi8HEWKZneKV7NWj6gXq3FYs3wX2YLGCYSB+aJC3qScQH0GEpNTtj2g033+8iv3R4LM/SavjkUothjqbDyMrx1txtJFQN6NphlqtN1IIsjX5qqcZ+G+lYEslRUjVoYlIRoBBRFO73xA7EuCrGhkgjz5gqwySDDQwwbqujUZrGNhgOD5YmMdftcp5her4NFCR+XSGkOi0k+GolBFRT6IJATWw5+e18+xKeTX56Fqe1KErRL0Lw00ZkwTF3e+7QyEsFNjUMCHNuJ1aWyLIlZbToL+XHPk1j4wr64q79F8uA2ihvgxbnez5QR2uENarknHAhf9MKbCxvipk9Rjwgb/sEXsrn9g6ojmR4ChmjhoOlg6hk804hblk7nH6YiRTpBG9ZeTouE5PDBhnfHk61xT/vHAiLaRWECtZFW2SbM/sLmdQzdQd0te3uFu5t1tJo9G4fujYL81/K4x/S+3m0uWtaKyRbtBAIISJne+uD1D2RBuayZsmVK2LTVJ6yBXo+nn70MOxW2fMGF0+j9FpHypW7fkUz9XVmE4hDfKV+ynjHfeM19fVhqLMJ9ol6vH41k/jXKwCv3dJBXxUKDQbdG09lKwCFMN0vpGaPYzwOJ874LInC8QXiLMzcWoYaSKtDIPvj9mCVkOKTUadUF0cvDYLp9Qp+hM+YDlO3/0xuJEDY2bRDVea6t1J7jNtKesPpVm9O7y+1alZuPNNHIEZxJTwxEfR6vcPct1tReHO9shxd0lWJ/LVbewPdvDWbgNNpHXsuPF+3CCqf/7+PwUBbSN9j1jC7Fon3D4BYYacrWU560LreNJp7IoiisuW4ZkMpU8BSBrxY5MW55KRvcfFXfs1jsofTpn2h3KUNLrLZ9r867S5rxVAnC10VzNW74pv58dJs1l49XtPtyJQLhJaeQTqGhzr6XFZdRYJZY0uyIgfXv9peQHihChld2YQ8+9s85DfNMjXR4zsSs8rfU6YvVKny6ExkKkqhAU/j9r2Jhj9wfDbmdh006Wfi7q+oi/ZWy0s+fwdCOIvGDBIumsiCPRjr2+7i6McrFwZx32MKK0pfV4+d7i+z/1pymKmKnrFLw92XSVB+Uw62em4stg97IHdjMRQX5oHtqNeZTpY1IMoemPvnhaRTMSW91as/1tHqrKYkUQjNfaa/WtQpHPfewdx3saW0NU84X4xCbWomBRb+D1i03nOnMIdxplhZEfbITO+flC+S+/F+eZPJ2cl110PqTET0XSYMjBNM668kVF/Qx6961K7TkapRRelikoPZx4CGzKVEGXqHQ5mkx5fNuZdG3HROmRkpbS/r3Qgdvz74nEk4tjbPuyuCB4f6oab78JrZ0ls+GtGC+28hD1aKGCB5xnJjGhY/7cBoPmSAzOjHCpNtBMPWPooIppXJy7Y1bkfYpTp/ELNvwwOOkKHWLKzAMA5fDt//irRdu11aPsqamves51jeZHDnOYVwt4HGEUe0jFpt23Tqetb2AC8TTTb1pjbtY0Y1pZ1whdd/mbVTbnDW1Lg8Uf2nbDfnIqbMTYCj7sy+NWsdE9f4izU1292yQIhSrpQcm+miS5CF8MLtyq8JYQf8uEZRb+yGNOO439ZUleNJLf91rauvVEZkyMosHxGibBHBmO4lSphDY9ZBlOSrJEEwBTUY+2suBKvfRTCvLIU5kifgYU4qfhMNJeDE/KOVF0EG77kvHIA9eJI3fhx7UsXkP60yuYVKquIKK60cl2E1Z/lXHL55Xiu++hczteT9mf/rlN/x+jg+2Ke+6GAf4Ja0C+1Ag+UrT9ZUZc6xFVDf8NWRz+4/kQ2B/gdNaxIlI0ucLosdvSSXOSu4yIp1ODLWbdcneiiHUjENq+PQpg+VpkpqTdjhBq1Y0mYMcKzRSLoQoAo08guMj2q/BkrQX87SviG2B2vG9/HjHZOLKQAgpv/mES2bgqnHCd2G6I3rJn6JALqztXBKlklobv5B0CWpiUoBKDyjGmiky+trHQZfBkm8eb8CCS5uJbJj0LLcDTIlehO19fhtEwZxNwfE+S4Lb/LfWsXy0a0A/sKy00LtruSPBlitslmKOEG0OoC2gWBUajfOIdNddlrNaPmCScB/v8i6TiemITvHfhfHahckABFPvLEFYwW8qZb9CScbLMTfFKUyio4TLcLoieBHJFs6K8j4h7bE5c+7MPrfYVJ8PHvZSXE3Vp2tVSH6vmhVd0mOQiN9mf62e9sfHiDkMVZvB99fxAYZB4O06Wnbje1g+HA38GNTSF7o6hW9/c1WCbOUZucyr2TC8nM30KM7v46x1lma+rDBv1O0rHwRSajdUmNRLOk9RdhDe5wv6rkdeh4sBkywcEYARUmfTTDAqeKzaiM+elhJfFK8bk6Zrd2HfxMqdC+/3rkSkl43MWDRGIL1eTZeHZOlwku/ygiC6Q+JscIlm7URIvDW4YX1AQHVKpHoVf0+WTDwVCiM3p98lUrGdVoKk0Jrsu2hA/rohMt9kaNloZAh4OpeZfkJFTb6RPKQsWIn8Eb9/qD2yMKJgisuwUFm6pic2dFSQG/SzQSRZ93s27x44y893Tu7neGzu6bYMhu8zudbgQ+578V7RN2MTezz8s1Lbyt4waVyZf3i6AjYZ7qzPDuh9utfYrpFYyhpORu7izUoJRI/hlv0iaZzWSjypGzyROOOdds5XOf0AL4M1zBlpN0Ifl8Dd6svpnq0qgT58ilF2j2GHNOyYh/0lUNpm2mrL3qNHqzvIYkRo14h/ef7JMCJBX+p1GWwA1CFYtzlR3pWPe8WOe+m74EbGQRH0wvFEMlwF0S16i3RjyrMizIhJCoQAVn26t6YBe3ad+Ocytzy7rNlVZtGuJZ30GWcX5Spu7rRavRyAryts9zx03PP//WhuqV3XR+kYu8IrjBf5bTJqaR85Y9VIfHOm95PIpmfNRjM5KyCvYCueYeHLczXDp10VbdLuIc/US3EDEv1qFI00QT4am4Z/9DGA0NGVmkvS4gf89Kez2lp1O+cfOXP3vGYbJZFtyxLaJvfCG2bhKHUSTOkNRYVnKN+ifEbL/jbDra7zq4fCgMCy+8VkPbT868v/UBJTJBnrou+jXPKHQN13knODsq8q1WoWULM4fgfvZypiPETaL51NyX4x0TlrJ4FEO2EyxnBX+iS58jJTUuXAGZsEuVBb5L5WrgvPUcEBsCH7PIMWtrJZ7zfUF48GIb32KbcMSnPLdLraXpvuSnC3/IvNRDWLN3kcmw5Sf/O/CEHtTAyhB1xAbblz7TgCUrqcYylsyIZa9/X5PIINv3mWZrrjpeIvykEkDGAvxR2OzwCkNaQLzWfz/G9ZcbQxoPuuPnyH62T1ilQ5lUYU6vt/v774vnGldig0b8RWXZADD6pIIDgRzGrvieIh81pGH9AnR+ofmPzYM8T6IGK8qiIFAoHpKR8AEc47Fk89f+W6biLkTTBH5fAfP4R7JUphkV/Cocig7004ik5C0DUt6ZVOscvHsBqXriyfCzi57SndcKxJOA6GFciu90tZ33tYs9QitBz4tLHdayfFT8dI6H9/Z3tDQqiCi2mFuIP3DtLYkyD3/9ko5AIXpHo1x9vHqbDzY/MIDXwCtgrymJDwok5X94LJN4SfxWxu4R0Fg7BvFMUNf/MdkRXZn1pFusrg+Q/8QZ5YmkrvZzrjF8sTbe3GWPYpoGAs4ZbOhCDg5XLuLz4QMKg2pAIsKwPiAEFnuBNw4gako3W7lOUWfIrc9dJc5Z+jlOHDz/M2465oNabwWE1IAvV5A7z5UQeIrK5Y5pzBQ7hJbv0CbifZBAQp8bg05wKLnK8wepvzc4z7qz5IE0RTVVpygg4xA2524bUq2UerPqjXXtv7uD7BkvI99AfI9pOeP1DQkrzjneyIoDePjlNYFeHvYy4NqOkSn48uwqAvqKgx2LuwAaPZitTmunyU7FCs4HNy7h8cllEswDXes1ic66VYnQifgkba+JhXkIutgl2ShZcBisq20g1JlHs3EHBbIMUtQFw72Ti02FKicMydsKQmlQBTfnV9B31oG5YtTwwRYWYh2aZ7XrzF5JvdLflT1VyudnqePGbOsNjX/Uxwyx8DpDtGSXUt90rNttysuPPEluyU0DuAy7ezSmkWCZ7PEaEAaoDpeT1t0GnXxkvU1ee5xZp8eofudA3NpBDjEfRjY2upfc1OMj4nsSxAVKptPJCAhsc/vj597khhQxh2g8u8iJ6vjXt3dCia+2NMn4RQn1EpJx0NquZHXDo9T6VFrRYHDr0jvmLQjKMnTRSWTH/mG5ye6dYwrB7Z/1G83pKla8yqETmqNq58ODFVz4dP4ukFQIxWHvCIoe/g0UQRWUZT8xVNh4t4FNX3/a04Cbqele1L8yk/QkC87bNdXbhFBiigwVNQBMdfllH/qlOfyuwxajPKJACAKdv/a36x4Ca9MeK4ZcfuJylu+SGshJkNd1pwbJyuG75xH3iWBn46hlq8x9VVds9+xmyDJCjJalq1hv3vncZcbWflr3x1OMjfKfO86hsYiMJTv+gqQqYlS6vx5vqfECWvKqEAcW6XoR1Pk2LQdrIWeKHKK4Kg1HGCNSkM9gtMlT7XmZ496bpJrcfR5RanZmBQbw6wXfkCWnFrD/VF1EOE0frAjA3qsvdv2Eq4RJHRjfrI6JTEffxe2u957fJYOSfaRGZRBZRy8BxiN3aDyGkEExJtIaaD0t3LrjVouDY629LMPIkLeebgmNz5FaPY2LULbKoW2H3fWC/nqKpBTk4NbEd/AiQyot2vuK6jIKcedZwXVDb9ZMrPTYQEvShEqCuEoSqbqHp0WaPiDl+XBz4U0XPgzJUJUr+JAcuiF9FMu/2mp/IOQjdb51TDcXzx1wxmBFPEJ9e2FxxUNYWsDBYIqIHNK+af8+a2Iov7DbgoZAHXVnE0PseMVBdbQtYuZc6fwAbBSxv5teqLUhUcPPwa7q7VdWoHU/1MR7a0WB9G34bpMD6pOpVJhtCtXoeL01BIJxEmoKD0ikmtz+lgZ6ZQQfGRA4ayrn2PTPWmmyGYb9hqjbMn2IfhSS/Va8dYrlPy0aNF198/BF40ImQuZmgw/5+ESpkpNUoFuPSq9hoqCTdWKLwieDFRq0vfquFmnb4MDyqRwPaIJq0s3eQTwFbuTEFXvbROSI6QYlDN8o4ERxyybMcdBKyCiVvGMT9NuB8SIob+gwS9sV6VGy3x9S0321+LyokR33MKq4aLzxPwwrKLrMUN8RP51nl1zffDWPtBfmuOpjJzE8m/9+Iq06nj8lbU2sxY4sbkMUDLqETxJcFNxnXHTh2XRhNfTQ/c4l1HSNZntWCQ/qkaZfex817SXHj1Qi9NoxleClqdBQVmT+itbehEQO48hCAMIqrDpws0IvCiwUkxwbLgEy0BzRGnIdfMTCp6Q++3EvnU8Qh38qpMwfwpjaFOrDh5K3QwdGV2wb7T6YMfsd1tr+/QD+BGNnQfVRJhgyZC3+dHGCW7JSBtOj4DxpICAPv2QSeBdPjcfbGhIbDUfgDKQalO9A9QUcIZB+2lQatzeheA+84EFWtRMTrkvloMHOUz50QGGbFhsoCYvlnHaKbZhXziTht4oQDwzwnY4LKev+nAzmrjnaY7cm4pEAy8Ja4BadfIhYGPMW8ZnkOZ4W3YomA+2OgKShDXdEcnmKv31WP0a2gzpMc56DlREZ15qHrxH9N2/sgELdLQfmWtUn1b5uyTjBkoGGdxP7uwnlpVFbsWZQNVmWbMt6xhTBhgNEGAIZAQjuTzqZcIjyOTqqOYFsQRnNj+Cik1Rm7fatG1a/bE+/Piyz5LOIW8fL6TutGkF6rsTSlaL33GxrRe3Z0jXTAn0C5nayMnmxDlWXaoPlVp6yDcblsAb2ew5VTyW+0bIUVBXi534WbnKbyMEILtanKSyq2A17Qt39Z8uo+TqcgyvrnUZv6AY2gxDruHVBSKpHho+al7zKHF0IOR7Gtgf1kgSswFfu/2RxlBMZKvpOVXw+w25DHMWAXzhwZHHgTy9YJF1lF6CzOt1PXzGuqyDCypBocWdhT7FWsRu4htpnGCmdSjxCQZwJWmzoPQjVK/yMq6LWlvGaZc4C0m+rjhxRoVedEvsFIOJ54NfBHmLO52JUSvgBmzEWKQSaZjtxrScwzOsLBG/WrrxpwUVJsWZdMXJjZy80uNdA6wq9/rWusda4rl/86MTihHpf7zk05eJqDS8r1s7++ZqlZw3oPisfErgTkvslZPnzXvBSUCpj0LR3zMf6MkVu7Zeu/d1w5wyXWTk7eZtZF+i7xy4akSxifYdQldYf61IOztrg+1pq3sr8SPplGuqV5ukCB0vsTSRyKZsrLCksakmDxd3oj2l0P76JM36AuCufAmw3T1OWJcz9XEEcHhQr8zQKkTLt3or0AXEBIIxE+riHcg+Q4vzFY5Ey3pR8dGTZUDJGMKmBDPABaxXFf8sDyHgHX8aCi4Mxud5AtGE+mhBMLBXtlpKdVb0AoE8n7LnWfVEIcgc25ss3zmwWdki7jHIG/zi5H6NdEihiceEjhTGcb4GlogTUJJUXeih5Hf24N1XxkslU9jalR43T2MnoUlceROINZ1OPFqyy2FZCrhi6FbV9Ol0iiih4S0oMFw+8ykNjqcMdvrQKt/3fYMEGvcBej3CRHnUArayAineK1yO4D7K81QOor6reiIG/WjQMKv185XOiUDdbkD7JTRj0SDSZD9aHzK/+HFr3qvixdYy909auVru5LBY1fzk+l/fhoIIQ9dDBVCQoWIS1OG78vRGe8vpdkdnH9M86isaxsBn0Y3tAfbaOnp7BLUIr3NvslVbGWd4pB49p7WfXKppNJycrJiVB3NWGNgPIkE8NZe+TlxhK+qQPu4BUKr4tUxQUq7xNyKXatdvc31sCkECiiv5m+pIXHww00djsFMMWewrsV8duTysyNQtLN6JyDdbuM6ltkLq/BTGA49Sbt3gRDiuxMJRmXl2oBrbkQYH+Vheg5CLTtWJz5YZTtOvYMu07ACyJf7Dl++FP4f1ifQCWfMxC7ot+VaOSYTfH/fOdv5yngI9NZYPOVcDy3YP/fpMdd8VukYA2q2RDB+i+cRWxRDPwtVyubl1Y1DzLLVgO/DUS5VPuwx4uwbS+TUq/gO+HsGSMdhEoxEctw+5Otymn9e4derA61zhf4u//4I/xLWTR6aCubG5di0ufwhvjWOxJv9rqMw70AQBMm8KkqeiRQwuPlEtcLMlDLiWkg8cB3qrSw75KRPvj/y6LyTatRGS6vzL8uypyJXX0nANWK1M3mhFXIgrhaG6juw0zXO4r1/Aba5zjkI7yvhX0qZh9LtIyKRfP1ZgmwQ3jp52VxkYmHrCpwf1wWakjLGt06n9I56Amx2NtHeIump4RlRd6OFeraP4qlNvLSkk+nMmHD2C9xR45qZpaQuQouhNmF3tTaU+YCJiylculgYFfv+LX6zk4rpCKE+/HppQykyMHeWWyYJ7OQC4GXDII/iKX0L3VWiIv6XLqTOWknD6KJiIRe6COyzJyGuBX/zSH2An9gf1iunSc1lx622blnlIb81y3UGEO2e9dZxvwU4chpGnjl1EKp1vBXaS6xnhkR/AU3ZpFnn2EySOlPUmpuzibFdDbX8Se2RTSwxODm16KXn8CWmzAiml1L+aOnSByTBs0G0jXc8ds4Od6RcC8ZmCn9BSrBOPJ/Xn2eIIC1PwxrIrqFW25sFLp2ASTslCAsM8fskGC8ly2WbNC8oYn4H2owlBDxVFl2wbkT3Ib1aI/zYMXPfxUizPi3KGbk4F7+5j/Pxq9CwywmejMLVuwGJMr6tzndr8XUwa4mWLb71LAjm07NZafTIFtNitY7SF3rzDcGDc4ZQqTdkaoGUOvJM9pDUbWMW8AaIKbvFgKdWYxNuT2TWbceycIsrD/O19u8uA8P6OOhRCVit6BSoNUEXJIeptcPWyPYzbkHCCf+xK4yQP38oDXTK5GN1hmzvQN7F1/RrHsjRAkK3a/Bce+YkczBeJlJnlqh89oSJD9FlhOi1/ZAlsKn+VYJ6ufxH+glsCqSRC1q0rzO1hqRQprCHwR/gvOWaEqNfj2LM8ZZN7E0vhH5JdgFKQ8nPIBeDcZ9Njtr8bXmigKgYaKGDyXmqH03WUuVJGDTKsWpC5MqIU6PGdWAxpE1ESPHri2yo47FwUhYkWMNLZmkDAahNQHYJc5mN9z1vbFClP8Q9gSydojZmsa17iyt9mT1J1oNX9f66XCJzaPrFvrS17NSqShVkS1FRC5NHiRJucspgIk+pzaDuiT0BvZNkQRGPomr/hGhyZIO8gBbDBH8HmJN9qziA+ggsq8vjWttukWX5nZKOp+yIL1rjKxdfMO3V/tXVgNjGapLh4MlXY9psT9rZdaRKq4J8QFGJZ/ZL+WlkBto2uC3qUZRFs32vO5rewfQFPBPlzqz/qY3hTey16oDAug1RwpC2sxa44fYrlLRhLA9oU2oLWoalTHVQaHq3hBxlc8twJ/CFGkY/foy7goT6Xhv9yjaOrPej4sasrk4dsl2uEYwBHi5zipMhhWrwAPvwCYcgNkH20VcWegXnhdio0nplqoSLAMQqMujaYnmb1hkJSTwRSizbo9VX8XsqU3ZWNwrkRt68xbmlstxSIOcGYA7TGrj96KjtfeHBG6eZMa9cnzXADjubJnWwr71RKOcFqjY1Roen18d11fNEg30u/uMZ5gsXBZAlNmxb9GjnE9Esgvv/PNd0EIcR4EhzlUgBB1NchMvSHea3c2ldyJb7OvU8vfRSJ86rpQY+q67TdehjVv0AODg3YHaqRf+DX31mrhoNxweuitf8D/F5ejHvnL/AleG+VUhhJlvYXuiRtHnFERYXdbzUEn4hnK2m5s733x2UwsEF+pWQAAC72ZWtHnQ0Wm8FFYjfhGHjdQgndZzl8N9Ux0c4K6p/WzFrsUOV9B+JugDus0s9h74MwXlFUbenYqIGCNu2ae50w6LoD9ajbAWvNyiKlXtGrRgxhTcti05/kNwpmb/y/qqZov9IiZfl5EbOaGa67IuczND8c7yVZPd6LTHqlXTT6KGAYDSRqE+s6QdUghxXHexjKfFxMqnJ+1qx46bl1b6W/SJNXI+rx1s1/T3EOpaJkadu6tUgl37Rs+xeqLDj4GyTBL5U2gVRJMX4UvpkuFxSX2h1oRhsV8Rp/5jCZIiROsoihlTCEJoDWoDCHHbzhqCFzakCQfum5yU7hEUk9LRYa6eIlZJZhd2zGuP7WpyHPhDyG3T0rn6PnNAcFF1NdBSvZ2lqpBmGCWH80RMIr4GpvevOUkk6jBjsPkMpc//evgN4NyWlQkyhA5MTag25Ye8d7Yeh9jFBDUodUzIqdR8znpd6n3rsyIAgS1h3aqA/3secp2ZVQeYpcpYZC7VwkidTGHrYlooZrqLtpdxSC3+1dUwX9R5z/+gorjRjZFiImJ3UpTXPp5yZ5w/027maL8GtD9J9p6fTb0J5q70e9rxtHQ5bzSGT+UCzc3J3hczdjxfXLg9SsT70qnINYgBdyNhhgrUeLvAwy6+zxNw2vBS/8MB4VU46j/jMxvfrqsmnpLISNAYk0ipQyh/A9GfdYFCjGkUBTB+VXDj9JFr2JMSrEFSIj2Qd13YCyVgqRTrwofdqxXlhfTXGm/j8v5fZ/2a3+bsDltc9K4ZLcRJjZfeiRsfqSbfEgoC9Vswkro39RJFEPk39isI408ycIewTwc4wS7MtoESEV/9H3xbUx3VdFBWxYG8e+3kxeJ9Znfoclt14nj1gA0J+jDg7bA/wAqUETUv1+MAfgymrmyQprVHZny9bTXhu0hjTTJZxmzKurMw8eg9PWpyJTl/qv8d8/G292XQ8XZMIcKEVTGG7oQSiLcMzwHpgX1ul2ENzlgxgnJc1y5gjtfQ8mVQuiy6xlyZUW9cQtsrr/5slt1VaSkZKOMu3e0n7H2JoaTARXtTyltbnuWyp5FJkY0L19qtu4b53zAwsRTlSQI4l91y15eF+/XDnG/nS1pIOPG/lLu3l/9hxrqMHUvb3PqSM8T4US7+25+SyfYmQObzP0LcI2/caJpOVQ+tQimuxkSF5xoRFg5fyw73Kld99y2IA5ZEJZl7Wkpu0ISxSN2uyvnzD3aGdJOjGzENFqSX1tCoerxYicZ2YwdVOChbirvzaG0bQ9pIKnm76Yz+YF7XhU2g+1R88quSlb7UCAOgcou3jGVHW3FD0SDYnlbKRRdzpk1VhUe5HayPaoSuN1il2t8AD4LPrzUVuvDqQWiTrkseHaWaZ6mMqDdydj4diAPVh0PdmTFEL98CKsOwokSRrktQTTVYd4Uquq+WlBvs8NafW/oLxUxvNFTXzWRA0EP9+VfTO+SmvFax+rQ0ywqMRZ1oipYW1vH4uGjLFne69CiWdY3cpsm9tRkAevddfpq7e4ScG5atNrt+Oi8AHax/ToD1Gyapj24tDnDcMjrisjBUEUafFctiqqgHDQiCfTwkPRBx62bn2DiRH8hWmzst7xSzsiQaLl8+Zv5JEjj+SupXRut1ARotucTElN2vI5Di26OYdu52tGY8J9avj+tBHUydTHbwGyT1hU96033kPQleTjFlomphWDCTODppIgfyCksGw0H9/Zg4QUqhJ1IH+F78EFaBH83VgvOXamoTt2HGBhjzayd+p2VXZmBopIudcOrBF9zUnEEznfhuYjwN6p1HZTKi9NQIwfX6UQeCMyrP3yw31Qd56UMIQYO+bl2eFvEjbpt/1a4+h8Iya6j8UchTq20NpX4kGl63YXTi3hfgD+lYcENAdcZuuaCzPiViOEh59zKMh5R688Dyt2NUZIXddLIPCIZfSBV/cY6yrc24U0KcgAXdqN/Dt95Bnqgis15kfMWTdmQHbI+vdb9Is21IqM2RvvQEedPVh0yqni9bEgqmDGPK+078UU720F1R4IYofJ6onCjyzWdzQjY1qGDES6lAGRlbUx++2ZmIbVmZp7L2rAEckcEDWi5Jr1ypKHYi77vI+DDnHGgEJa4E/zoBvEZTDKlXCJVDsCK3d9dQngke2HaA/bd62OxM6mpBRCfm2I7Nmca8Mluv09Muv65vJQxN0woWQRa1vDC3T3CxGSb8zU1cQh2CLdMUWlQGVRoM/QGlJIxKSC3VViLofWzV9MeDW7PHyGuCvRSpdxjiy6wJpTU1jsYrZiQwbcEnM7ioEKoMvBDqMpJpNaxl13v4AZP1mk5thkWfuhT6lPPSZoI6Lc1wt1sR0sRF7kUSvHZW9olXc7+9qGVUiJnIbYnS8BbUFuUDOcO/4UfnfJUwkVa3I6KVFMMr9kSSIVhkukC9FCJWzA+0QmfOEyz/Oo89RSn2Fhm7hlJEGZz+wXh0IyD+4PCaRZPdKN8DGz2NS8fDWMIC6Ummc0pZbcfgVmcI7ly3gKq0h+aZwlJJUa6lW83Me878RkqrUfny94TkulJHsBVU3xRAa9T2wFqOO1AVBTyEh6EkdmN6EhcWB3g13Ld8q0kyEcMm7RLUx16Dv1iG9gK3zrS2QwquKPDBT72jTwKcyQYj3KpqdcPsJaz5QJyRFbd4v7rZZGOMwiwNq6lKc6Vgpi/TOFVnHqfYrC2khLAavBuU97DV6ACWJZdnPkp13IA0kVY205DEOAsveTvd27MiXFN+qyMxZ/iHawzWpERoXXu3NZiTdWHWyUxwa2MizFMP8tGVJsNU4+9c1zs0kCb8DwEd5AqqDmEv9epSStA0KaHMxRpMlaef2vi9vFuhVxWDp5xSZXMulCFHHp801m+cuVDEp4lFWpzuIo2HN+y+2A77/xbx3vO+qgqpyMYO3dr5I67dFvy6EBZqs1VX90/XPCmtUM34BvFScp/i9yhZrncV7FAE7GVdv4lhofK7RVkV7tr2FKDqAPs0EkMaP4WpAMsPsZa/rKBpLWmdefHsAmzYhHZhcP+/AHUOewEaQFfQqcft7fdNZDPB6q8qQPA2yEQP3NznS82yYVkOzEJav4cGmoT5nIeO/uKXS32mblFs5RrR74HnlAkhNbnthZCSPWh9QI1ar9FHww/1ASddUJXsasEEYQFUDrTZ89a2/YD/v/QY8oej/ZE7AI2cid9iJ3mwDuV6MnUkSz9FMKi3ctas8PHGvObAuB+LNpAs54qxvHiZ82014qOoB35ZYpI56r7ZyJi/WxD5P3SKRpYiKsIL0yMAai4BtVa4cxL7K7Bilo7DnwMc654gjO3UtIyY5alCeur3AvMveScn7LeTTdk7NzYpLiVtv2alelmHCMhuWhcVcfLJSIBuJBlx3Gej6YhbjiTPSqvOodWydLiky8fIP9a17COGtCiVJBEh/fYUKKYInXslg+82EXc96cb4m6Xe5ZGQNHMP9c5Wt+h3Wbt1vjD9gUSWRToODKBH9ayBOk4JEdY1+LSgO9qBTjCKxUcgkej8zjC+3W5+JK7ujwuVmp55rv6yUt9afEjvf6DYyxiqxQEaoWunX4ia/LkWeP+UcQIpVV5eZYfl3Ng8MJZ4hCU0F7mca3z+zqb1DCwCjqc4CcRFpx8mneEBx5lNHLxLuNhnIKNciABwhivyAKyW32BSnHAbXi70gZalwIN9TQX5Rf1cJn+Fz5YhaRgNZSVjC2VbvBVmo7rTEZ67+d+shUW82gucaLdZSzZwZ2MxkiGhXvT5S3aViuYpiU0kxjCGq+e4vWt5GFMAbplR0CC/2WlfAA/Mxmh5hwXPj/KdtwTC0P0Wn7XAwpodxG7OuemIPNR91o47PW+pqjN+RJnG/XMZL5VtI5pOefzgS0TzE59VGAoJaJX+m1SehnrXcl2U9csqmdhQCLReB3F2mJ5WlqDA0Or7tNIioqadNN3F2mDJ72ZcUSKtaS4l4hnTOIhjspMpSkeqszrYl37MCylUxbmObs9BRNb4KZO8NouEja4ZSY4K1Ww4LnsweRJ1DXrUZPpIypp896zkKlRdPzRjjYBntG3aNjtWhqV0sVLnq1T1DGHS9J1aAsgDhM/pZ439kp2G0ppQJEJ5rs6SKWqzFeZsL9HiSlo48EhZw1GYjmfa42shli3Pm76t3mXmYdZg3Oo8AyK6KDBjnxqg/OAVnkzsSEKZsiqd+C0BRRoT8+tbf59X3NvceeYXz20kMdfzn4WN/hgacGKIKFFyoze4JOVlnQaYqWUGRDXtesrskaghDSqWnZ6WC+kkr3RpeXhezvQpg8fC5eLbf2xCvPs5QRR/W5bmwufhnLT6cli8lHnI7qNaLdmNHD/P53LyvvAtoTFIm7qS/ddkP3FId6eCKHSIbNNfKFITsZxOLRFteyASKcrH+1yFi8Jwl0haGHueDOrZlSNJK7E9j0bbsac7tlmf8M00txJ4Eep6PaTWoUIfwho/Rmpp2WSdqQckxxT7NKjrPCyUte5KpWTu99Xuoz8Q9NILwcFnRKBJT7sjmZh4PP3dK6at23qE6qIVzI0fTUihGc8RWgzd2+hNE8FoL/d9tT/KvnuZwlvb7qVnEJB6IQIBJq4yPEUHZFe4fPGq/caEpULNSsiYeuPcXkuz+jyfWdxq0C/Rsh25euLARb+ro9V9Gvl1Azsuee1tOvo5cNgMLXxjHhJLdYSoQ2fOO0iiELQOWTzmFEv5CuxbvgvluXvyhr4EPtuFAg9tmmYP0cGZqz+vDAs7nLrjgOPD200yyXflYd/8LzSEUkZuks/uTy3ZgYACl6ZHxLqETaQmaQO7BOteCUD6GarU0cdhYe7mHbowSElufI+kvn+t811UK/xaujiPzGXFHrgdKf4uADsG7xi/xG6ulQadGo45wt9eniLMM7ip9659CDBLgHtpMJPo/MoNMzU5N+ZadpsigLRjhpWpIAzwnDjF6utR3mbOOmLqiTbxtG2Dk6jyTRFOsE9d2mTGsiDrzF5XK0nTpMuNg7manqgUic9HbuvmsE0VhN04cZ1G0fHbrjPmkKS44OcM8Ny1U4llGtZ92nfrAKvHjUGUnmAl4WpylRy+hkZzrUTXUNPXDZDd3WWeNbLoRs+lubk/r85Rc7+zd8/Tuwt87Y3DPzI1RIrCdkRj5saBDmyXwWyIyByBHEm4H+hdf3EcSn7NUYWyUcaLkqQ5q2Sf/AbMp8dKumsNjTqWw0m4GZ9/Wwtrbhp7cyx6eTfr2dALM+9c9uZGsTIvkpp9CCuzAIyA6qgnQ8q1bKsZXj7vagBWINYyuz3HL8+mqOeVT+yx+387SMl7zR1f2j50UIVuavBntuP2vcYQgJe7FPWiY3dxjb97xl+dEKA9raHlCeRTRH1DtG8f39txFGFaxqxaWXjDJqiv3j+y31vnbkvAAhVYXH6ZmQHLswwiFmq8QD0CI5N+l05hMuK4Y1rvZGDIdHxZGfxxQaaREepvDr+w1JvV0EqCjM4w8ScjCRgE8EMsqCLkza5dXz7/ki25qyU7YGAPGzdA6PiFfNbGOa6pfLr2ib3YaG3nAR2QLnAXLKobHOVzLKLTSifeeu8VVm0pPuNoMqSoJoMy/eIDgHLrwstcMbl3MxLeFK96maDcTLI7Mpmfzuz343bTYztLmoMTmvgIM8vVDfoRwVVIfDBFgGbvvt5asi+ODY2uJpbywTxyUNoGzqYBz68pDAm42g9AVz8mE0n3Ko165EXxiM1GJLz2UPuyaZNpZo3ukoHQnv/XKhleYBfdQRjXsx/NngEz5aGTj2l0eKjErLJSTUX8SNQE00v87PXB6++v++WunrPO1UoUdYWP2QJILY+QaMlXY5DXbpgJdQeqY+p9yAIzgYx3ChN0xeB0J215691pvbsMyCiTjcteNvDJ6RQKxJQYTl2RjBfVZlp71qNo4KHS7XlnnPBAPC4EdCwAfg7RnUfYSrLps7NEnJNhT65DXempXNaMffloVMD4XpIXjxhfruwTvcF2Q7AQ3JFMluxMncOhkq/XOBXd5RpRzIYzjQvqDOLzev8UPLiDikjXGGMv3A5b8DBwo8LqE9rlVOhmJv+FqEC7JGvqEPg/ZE+ky6lhuPBFrvKpi1lmjhJUJk1eXF/DYy4mcS7DLcVB1gQv2Z36bDKwuJ4dBdmOhCumHn6UOdZd4dNhuU+O5bz1igaVeap8R+Arwm+T/no04l3tTvlhutCORWLgSOFc2K7XBlbeGXnYX3kSuclRzcH5MZl/DK+AhL++UnMXsGF8fMeB4ihXU+Msan4FGFQylM99x12vARBUpcyQ9rQD3PJ1PIASbSWQamhTO3wmcdh9e2O9byhgW6jbhK8NRyLCJuZ/mnkLrnqSDjXK8bPRWNd8dE6zGWFNCPMvu0B9g3S9lSL5tWxls4F1pRzBKujbnE2BHJ3Wc0xstBqAboYnrhPYHoiWbO4MAhOUuBdgscEFHSbgg4yGIen+Ame9P0FTa65690xjrypd8FZDmCEuOXmq8as0mQQN7YoWJ89+b+pvBgPGVfYzrhFcMHe/Es3d8fzgrKbBZOMM6lc+cJuq4zwlCSPreM8CdG+2woFRYBu+mGml45ew2oT18CJeg3zlRiOwW2q8fg8Z9dDtCK9uRBt3mYG01/L0GIXMTpFwb2k++iTKNDa4pzaTA2F8iFNW2u8IV7Cp2goubOlKFmB+LLHg2Vm6lb7UIbyJzyUG+Md/rMZAkYyhoHyyJjgq1VOTzveYkVCIzzdlV06SnAwJaFs+IBYYlfWN4xSaAtrS5nqhG2FQrU5JVPiWeDLb6fJxFUHTR/b1WJSoR1ly1BIGyCA79KcJcGuFbepy3dFMg4H2IgYi+MWIUsp6cEJ3ev0jnEqNiiMxLAWyw77gAsw39I4coWe+rFVMXe5EcN6INGFO2cnE09RnLxBaqdqELQgy8163oHmOgNaSOgWCG5hnDAI6jDttqljgXpkD/dpoFy8SCP07vNcBwGrOOJhJhN+g08sdvQc1R4+IdaWsIxbfTzf/3BJG9+0wB0EMm7fOJ2ULhVRpKgBTG48w3WtSBVY3IRRn5yji8DBKa/FfzVZy5E67z/7KDxyAxqeuMrEOm3TZHzEBR7km6ruUAUjCR2lUqNsL8vGcjnfvN0EAJfQ8Vyty9mzC3i3J0PvoS8eBIw1k2XJi9/YT55+bOdK+wQNa1iDg2v3NyKnhxBWouujF3Qt7rg+kuDBn0VbT9Z50Rxg38ydpn3nc+vF1Tv6CM/PsEzvWZ7KsN55Qev4apQlyShJuiaeebyllkI7WVex04XhlxXO6f+BUU4yQex5LCQ+SX8DfN86+yVnV07pSLKE7i6FWTUgANwCXOr6fynaNoBmhYM/BiXqrBCkdTBUzB8rBxzUEojZIgjirv/Rk5gYmNVCR8h7lbHEbwzWb+JItwyDDc/JBdEYYaFe30PafzIO6KwWKjP3JDAuedluGAn34j1bZ4sC87VGot/M2BQYJnZy69OsbZ6qfYHOuu2omBqjRNCaYof8tUC0xUC8AMa5JDnzdiS2DVhqGm31YtFYb888S0BKuFxr273pQ9RXMX1SbAmrt7pXSwMn2m0f8IwUsdigQuJTs2+1e5vtw/F+577jR3TcZlHpZ6ZirYYEln2/749D5Vhkufox1WoSzRLfJcFg1Hhn9iVaKjPuBWgV8K0ZyCa9pVk4wV2dDDDUORo533rfc0h8EwhCRvJc1BRawF4vH/2mcylzHqtRCoSgusAa1UYp49fojmUo0rITazL3hUjggMkTYsMF2+PjX+Or+HzeXgzHSKhffNSq8/UziJyO5qoW0FMuXFol7S6qL8sR3pgNIIzLFTzJ/N42SQelA3HqZvuurWJ/R8VtiMuT/H2x2tBB00b09MQ8bxfvQdGEP88RHpkKl9Tn2JpYMtsE0eqJV5efssRDBd2CBNIpk+7abQ5m4kMGJ5uOqKyiVQHyKsTrdZcM/DLMeLuMJDghRBMCR4H8XSEQe5psc3s/38cvAuiOnfOnYFKTrLC1wrPWmhQY6zxthf/h+urN1lN+AUOxetAKoKCxPHnwXF+rweNjISN+TCgYJ1XAiOj927VVRbQjaHLU0WwBtvuI8Olje6vOHyxOyR0XzryIad34hx7tGd4R8rR4MYpyp0ljAadhB5z2NxsLOrzlmSNuyi5iu/UX34yXJrV7Kz6Q18s0pXsbf87ndSoRp7gI1ozgIUTzb2OXFmedgCkIgz1VSk/RjZdtEhPaafpW0EA+Q3YvMqBxy01QRTQcZz18Wq1pxb9Fj+aNA64JzbDk5taYvOa3bDZFSbwFBOBE9/Yi+JpUwEMiWgQKG9N7aEPbGaacROGltTRi1ZXhmyjm8xC/EI/JLVreAbtvJF29DqWL/4BO5Wpso3U3hrZZZjcTbHi9h+m00NNLb5oOtPjr30MFilG7YDH/c0LxCTY00SsaFsM+pUxUOrG8nGSxy9wMOgfyf7r8W/fS+vPuAffJgOIr5w5f81bVpriqqmle4w96IiMSKDhY3yBeAiFbu1dqBn2jRga4no0yej54i7vueHmGhnwUaqdEktLVDiE6Ooq6sfVDRMA2XUHxaLdK9U0Wuisj0hm+rqRJx9KVzJE4018HjkvapwFao8vPBuCyzVhaeNhuXmg7VcYEB3MrE+J7c5M8Rx+n9OYbVy3ej7pLq9ueABGBPlyHe33uOz07V+yspJq9ZJodHfhS7eThT3gFvzJqnSCqTPZqHtq2p4LbxxD39rkYvbhDSX1rGjNiWxhZSM76IhkLUJbDFNJVySiNJsA/YmLh/xkK3b3HfAkeJdUMoRX+RRkcZMBWW01/qAdZpCdsk5ZJdO2CtGayq++PdjkSGvePj4z3wCU0wbWCcd0w6MX2cRw3khI1vD9m5dJe9i7g117ujOioopfWnWa/ZcJBrZVGjLfJW7LOFFuI/o6RMMX+v9XWlV8wOEteYpVhKfRvfv4qluqfUkfALVGzbF2zi7Y2rv+7hXtRwyWCznwDNp5NhnrNql7gWystn2t+Oy6wyyUtasn69j7VyVe9cDUVl4VbQeEgJVp68ugPNoynnmq9GEvnA1mUFO6ID9ypgC2grbeoNQElOIAcqqow4qxvdQ80apTeuKaV1GMhVz8BvLTvQstnyaKMBsGmK2SU6+uitV/vBJ2/TZeCr+XonKzrsE6A2knVEOsXybuYQp5ovUOFuD9khS+JG/mB5FpFlJaIhXq52LUCyAzarQ8wr7L5mTRS4Sq5Gg8YdJenOpGHSGNIKgQSZh81DSNXwgbdbMdjY1fOAB5ogoA5RDku0sQhqDuYvUa0wnUslPpOEDwXqh4EbM9BZsG9px5u/hzYgROzkkeODmxKv6FvGwZZsjq4NTSsZncq7iQHJB5menqwZs5BCnjw+4s5lXn3zFX/YDU83RYDwLFSQCsnUFpxQi8mB5xdeNXalialuSiECPwT1vY2lBCl7Xa1yr0ss0aNeT2+m8vABPl7bVQnhPlo20JNoZhNU4fGh0L3qg3D+VMMfs2/UzpccYuQlwCThpfSlt9LbCE6G5l9YOVVdzLckLeIDvhOq5q+VHK83oD6K/Zfrn10vK91unvg0RT5mURgLYHBnMOPd8D1T47H4/6w2yqVllf/zLYNiFf0SLWzw6uauK1G8xdl2ZXhi0Xeptbgtzlp3cReRs7y7Tm6HmtUORsY6j4usAQV+C5uMgpoUZ0+CWIqlgB6mPkg2/LfQn35U1v1IrHOJbQNtyAY/iJkDGj1Rd+2+4DzIvZVTsHxDiDJjxAPTjMCc/tPMTRgNSHWNs/D51pR2LAKP9YHMcEZG7XYp9jprP/iNRDdGLcrhaYCXFpA2q+tX2MXujTKxdhoWp0g823mrue+mQ7NaxNqbt9dwbmEGGO5y9qK2VWaAHOjq4CFlrg/QovctuxObEuf5+V/96jUFeXIUGbi/f3Ok69q1i75S1cAgAQnl/HlYrRKumU34GcN9pgsVMKWNiGpJuqRGsV/OiZAQn0FQZSy1kXqCPrnmWwCv2EgzJf+ciYZyClPvK4ylO73VtxgKsuBtu3Wndmc6Er1QENg1ESQkFFI8ec8z7nqcVrkDCzQ0wa9kXGobGESKP6KP0HawbxJbdzJn4GW7FiIJ57XB9Z17smUhrXQAzgbLjzgdFOa5bibEDUaYfDn2pblyrb9sf/NEE8DcaoWIkK8vn/W4tOhkiS9I9TKTlpdBmLwVD35ojZQdSoGWJPPMlNDl3W3025usgbRZbYl/icxM5+m5vplux7fZKXnqLlvOt10Bnqr7irYo3ZBY47F2LCjGWXF5jfasIqQ99oQxvPENXCbF6BO7+zyae+Algkh9gND5oPcLEJThdAFIbekkzoyYD9KJ2Dw24Y88018iF22xEEQ492HNkY/RsAb21hlF/A5Q0O6pAgIyxGtO2vI6YTKbQk8aSsusKGK3bwue1uArW/vvAon3CC//KYo0jPIxGOBHm5Dp+PllIIYF/7v0ZQ+juSKPv4kWZaP2Nw0n2DYsjBr1r51/w5s7zPQ07eFp8t0bL7PETXXMbkbtkXS5bmnapOg+bz5S+b/uGR/jZLSeN34BWgobfU1qz3KVB9OKhDRKawqe0NqB5rzELi1KsV8inkF5IRPck8QWeh0hqmGS1i51NjJskbF3NBQ2X2xi20yqM70cTqIydkmD4EiU8GPI2TU3zcmXX5f9gLML8b8e+9VwT/kl3f/SexGJ/EOmerDgT3A11m+OLIjDHiRDSkA0HcvSkfWI8Uaf3q4UqdSgN47UO2sbQ3UWoDHyC4HfejTGr3kr3vbZLwXXCvZoSfelzp4t2v/Mz/sSOPSpVaebl6Jif5cpn3i1bptu4W+yBhPmxzHukSsyS/qfOkx9d2nnLxm79vlBG9c0iUdM49qdK3j1aZu+TfsIwcWq4XwevpUFoq/meTWFBW9vziUhwiG3JoMdb7U+Nf1T4lxRgpkY3KkFqINpZeCNLxp5o3jDohqUkVU4r5R00yKcKRFNRHMr6UlgXPyVo/CIF2bmU6Q9zL8vAJIiM6Otwn1Da32fespV6c1xqawSkPBPoRMBdWSWc+2canQZq+8FdWM8olEViu1acgVaPgYeV3S/f4iEcaPQEl/9El2iTRhaPix9hToVVXZ0EN93IdlGEgb77RWhpU18igqLL9fEaiHF82pyndvUqFBo4jHKm8gczXzB0T+xCJ+nMblM0in+rSNKNPVscF8PA9JjHMNHU0urSH1qPOZSEjrivPVO7Famx+g+T3cimY9s9gYNQHcxmUoiQVJC+O7ce03Vcl1sIibCpejiJ24Uf64fad2PMG7mVthI5A/+d1REu/T9/8DHqJlEFVGdzvU5VbpSzpYiA/OiN/ZRswgwUPqGCT2u3gZ+yCn8QrbXoPd9pfPyv0JiZKGH6GDkYjwXyI1c8WqMYNoGA9gd1V5w/3ni+IdzBTtEygQnUWcC8EEq0hw8PVnfxuaS1vIQpVe6VJOI+3zo7SjkmhEWp7pRtEF6yATryfA5mOViawiV68UCcs+Vtd1884EizbG8lhMLgde9leKulg6AmbY0vZQsurmqENGhtv+2pMvhg97RxPS5Zy2FVATYF+X8nvbdEsQRK0b8F8ngn4hcoOX3rq3ZHGrMe9QgGI+wac8TgH9pNyNJK9LY3mHI70VN7hNib1oHRL8OA5Rv03wypF3MYZbFcVPLjLo6R7WVnmVJnIIbIbbP5zUKfSVYDrcBQWWXd42+3Rorrz5c5njz39K0kvuqlp65gTetaZVvOvJV5KkZxoxPoe8cq8utdeGN4upMx3EvTXUjmYd3/TRs7eVpSNZh8hCJxgJEys4TunokZyJxkL13tkJor615AGFKnYG3MYXruBLyckS4cZRFW0I8wz4B9kQHw4nfMaTedBG9eeTFebvW0jxuHKBf/Hld4dzx0KK0r3eSwbrmjAp3P1JLkiCrGwAaf3gHzzga4Gv9c5I+CGQWwEtu740R/Z6IpJtR3Iaiv4rbs6tztjvvtHPbvhV7lGEYwlUUnLGSFVK5SyjiOdTrP15APc5muhQjiycSUDsFGWNAlVm1xutqVtqK+9gmHsi8aU5XTecujgjdl4Ra/jpIXEnYx7X4GEPyDI7GXgQnfPM7IexyRWhtHVvRgT9KaaNYYy/IIWgH6jU6cNIcKmM80MjcvMXjF4zwlQ7/07jgHDGTjP5YNFMmyVgUbl3wvXnk45/bvfCZoGZyQo1Umu6ikDxXrrwYvj8XUmI1Hr9CKhwgcXsO+GKPo/XXxwTdDW/lOs1jXKV6nkiJ9oPwDTLuWBG2MR91iLGlFOtJlXOlszISWKWGUBygiyuMyejtA6Wal/k9++uncZ/Ti4FVvXw3nRuZFGOiIe4t4u6r2EsXhwPzL/db98ga1Vo6BBmGVLoB2NYFSfjKtl4u/o7FIvNn0bYZ1iRgCF3OgPH0lfwvV3QLvOBGpw2nyedbby0iX4UIsXqbPjrRpamJPq2Bu4EqvbAYeEQRXzDJ2bPTseJwb7XzhkYiXqbe5mVTl7FK6t+p0LHGyPH4H7IFVBTV0vN7nmscrxk63dJJYldWtL6O1+FPYcQFPh2B9ev7un0egzHn7TZqAKPFobLHvczprQtCZpE+1dQumKQOm30Ovu/gy/ajITonamrn0QzEh0Z9DxIzWNHqVb9BqDFSzWSOlAzZCXp9MnffBy7iZUhxVFIGhUvly1XcGCLxUClSNHTis3xf0rkzPQImJh9dkomReDZAMW4yJBVkXVFsMFo1syyVivx/h4Jo7yiFprvwiHiBIla5a/WadarCe8U00eMSWgcsVHqB+eaU57b/RqPtAHTCzqsq/5JWv6eWdpDS17nCpbZlzH4JkmQyiqKWtOj2S7xh66EowRodONraGNb6CKbvOBxhKfOvP3gGdSwTb8FKf1F96hanlr88FQZ/6P9AXjQ0VNt/rSsSpTLSgQkUy+yQWaxtVQjUEXbo4ZbsCfRj0b7ozOvhTy4/1+FahoeuP3gyo8dyR1yxzstz4XF/hBjVsQ2+8gMRl88KAJ6OdFEb7L6IJ6mgm0Q3pWFQB1sL/3aCXhXfWIGCtmLHXLHtuB9wTCEROgAlQHmHKSCTOxnOnmg7zESWftOEij4fwnF24159E5nKjC/IxlbEXiKmKnG4sFjscv0zFf3B24KwEhIAvaJkVQ2jBSsIVV8SGP86ITuqclTfToMHpsio/l3bjRGP8B1lk8EyAbFQYR3EAb8qZaPV9JcbgNBj8ZQAgooDdk4zQ/cQqhkolOs5ZKnOm5cJe86Fn7ifYnfcEFfHeCTPYPZ/v6z2NC+lMCJPT6xerlO9SU+ojWdd4RFA4qGgbCMwnubu3d8Wsp7ZWlEt9oR868p8up3S51F2OKN2E5j5mMZm3J9oIPvkOPxgDuvRZI8q7JnbHgPGXC0+EuReKzKYlElIx+WDgUjP0BEw47+a9MLFEhyb/TjhmSoymJF3oF7FpIyCIz/VwFqy0TBANxyiNO9nWzb+6AIAkgTF+jMihclY9iqr5fQcdX9EutIGCGXTUUaLuRBLQ1nXxIC7ghYhbdZkeomTLplWAiz5+RnO316TptqHri0OS69eTC2SY3iG6ouoCpn3XKrDbm9sE0v0uYcOGAvw6UEvt/ExL3iyPVhbkZQhs4CPeft1RkEEaHhpqC+KiF9Irl01uJMVVz+6Fp1wVmXh1NcAc24xFkTN5Dq3ALkn0u+McOw4cwIzaMVSM2fDWzZLmutf9Y9OjJgWcCldWCXjU/vQP392y+cMEVnv6eM+DlfAnU+ioXd0BefxSd1wj11yDKCS8Gsth2DTj87tBi93YqBwbEvs7+uuFW8psHdSOmmUYtUXAecnXe65Y05wNy5MkR1j0N+7Vc4cJf32S0/NePMwVdEPBdaHQoW9N2zYBtiG3rev81uPnfNwp9qOv0sxGaz3iIzU585k9SYGp+WyHqnLdrrLukw1BPuULFKoDgo9VBMUXDjtQfJSYQXKzudaFB3QWkeu1Bvc1teZN3qoFUQyaCJSJdtZFrfF5J7wMowkxLJeEVxqrYrFoOJAXVYvQs6CiCHkCBIAm2K/S8zRJJzyhGadmDZCjurDxjxLKtssl7F2yrus7Hyp2wp+5JcGoT2JSpW5q14S2sXnZV1fwEUQ9taHm+21grHACiGkQ3eY7dZvLP9IxDWA6jiA+tHzFIRJwUlQ+TbGta5bbY+1x2UEC2GGxpTZDHmodMrCXKBnUbPGcog1biboc9cW4M63AXr8XUDAblXdmpZ/u9cOgpymVCsRNEJRs8Y8wCxSA9iRe0EvjnNsdudGNMDZ6aRQeM1uyGVTlMhnFzGh0oeIeXCgT3HRbyVSnRTn0LeYEd+0C2NJOnJSc5K7TPhRlj83CRO7K3z2PEaguZ4d+qJBriZi9UTmb8kAJ62WY2i9NP3VXCHJn8hIgqFi7wZcCOXdFXYKDit82KRx79MYvXCV7bTzIj0XyL9Yq0hL/rh0jmvfGZKaiet1I6lQzyFAOF+JmRo46KrcozeqwKCSI2VHL/y7JqY7SkVI9eK1gUmTJHPmLeREPVoWYfDBLRQxKSnQlRptUfd0Ml9u/zs1Cm5XCkfamThdL1pwSJCMuyFZKXhYqSFENIsfDbN2+A55xxVUPm6EPKEy+kfkIkhlGswwaGzCyiadKR/TuYDVT2AW8Y134p8M9gMg40LtfU8dwbCACBLd569AsajPx6D7HAtNkVf4aFWf75Nzu7pRZUvrF6ujX1zq5OzC70UJHEs3hNLihkLdxHIZGSY75OEOL2ZKOxEDfcc3kSkztOv9/Ik+Ss1pwPV7fAvqQqfI+QuSa6mVt8FRlRq7t8bvVVELmOMlt8FZFLeVOUSifw7EcC1BEvEePRwYP/+ieqgNH3naubY1jByzGATb8ew+VvBb+zbgriL8VPtNWmYJ9VG0I+kN4IX+0O5Yn9TyJd0h025OFGFtIB3FwRkA01g18FBy9A3FmDkOQPPjpY6bGSkn8C+PmSG59jQU3HZEVhSQ2tfsx0VJVkYWl4KTQPFWlltCZ9dfk2YCQNs98ey79ME1iAFCWrAY1XJdiG6uq1akq/WmMehTC/SyD7sSexVM1UsacihvhAfjVT5OmGGLuTskrNZfRbBhJJK0nTMgsjeWXOzlrmUGcyyTPa4IIa4yFKRr09UiH6hAsn8PBBDO2drVnPUF4lyWfiDHwrZZILRND+G40W8NCzPVUaceyfnl3Sq3Iq9H37vaUZk6Xgyg9hSq4px7ghsu7+v1XqxgRQVZ1x8e45Id5dU7S0KWYsI1STWWhgI51M/PkX6M0753EX8x1eLZLTpVJrPyo4joDsrDI/AaQzHD9wxr4oSm0fsJczzRKdb7DKIasvSc7Mq6qoRc1rmQSlZLZ4LVCO4L5S+Mikwfq5fwk6fzmH4hb/vn/iXQcJ9JByNRRZexWOE92okFM1suOl6H2V5BpzkaaBmnGXtcOwh9xJwQKvOQWEhzb4NWL/x/jk2XQwedityH9+syvhv+4BveWIrCfuovQBKteUK4YkP1UdEy59mgNJBF2OeW5G4a1m2VUorGrDuxKa7PAIkr8nYgGIycVkAfOfSuq1b4wm4hJQuzYR8bbn43XApNV6ZQGV4V5gi+N+9PdOIeIYhmI3qY09y9bB8OoepMcEi/E4fA4TSR/Y3WYhuw8ej6WeLnjCs2qjBRpGg30YtbyFrZZWQPQ3qkAt9LrfiEDa0dFFq3yMEm+vaxWFBY4buXewUhaTWIqRkEs6yJFlub6IPqcU3c31ndUbXaFcxwvWOBsBF1VFcHRKEebPz+a0tDevt2eg54XBrr83jQdotwwBmEtMd284zTmg9hSE/rWc2AYhJLqq5Z/0G3xGsLDKjKuid56QKKTz2b2KT06mVK+vwz31ouAQPTh4Eo5u0sbU51NA6FXCIa4p9gHLNlyhwTZw8W1fyXaSonJRTOXxKdkBdVCvluPJYaLav7PM5QoMdnURPjRJcrS5i8TdtquZVAYWu4+JxVLHI0Pt5lbHT448MT94L7j1Y8gswnkiVZF+1kX8BDZZ4a4JSYRY4OrZxgsu6kySfpJBcG/cpDhox7V2Nk/6sNLzpxXWXUxOjYPTFPxo4sVKjQX1aLL93nu6BJPQJu9vcjE2QcTVLAbD0INhp032hfHA/6A2RRV2/MlPkjcB7gDjJt3YK60h5bBymkEcOXmZ7yVxoxHoIbEf7ps1rlImmzivxRd72331B0AZ2i7RxuW1DMSAybXnt1F4uP6RBqQrjyumuAlVRG5zjncqpFgPwoma/22h3eB4qNeOwgylLE3pGi7CyjEN8OZ7rl9Z2u5+6DcqyiC7Tna3+s6RGimhBBoCzr6ibmlfDM/1wwPu3aEuFFY+bxme4MDTpkIP5eQ5ixdcVSua0BlMMBChGZEN3QZq+rm0SvbQoZBmbEyAV69ABRYdt2k9u6uTzx3dQ11AwILqjYX+2CpyERy0W6doZ1dFtr8/OenleH1ncFRteDLYq9wTm01YRjlGPobSiSsEfVJHgZiPk1fms+nlbMD10FytyeG85kFecGYC8slF+eeeGHRy1btcafuHsxEKYao5MR+T5BJY+Z+j2Srf1W0xIPBD0Ln1oV5EF5J09UFPcJ3VLhM5nmOLWsbcbEjMix/m+Gy3XioJiRkMflfEtsUUo3bNbWyzbGeGZO5NHUIxr+LPhmoHofXiAzG5OG9d3m2m/OHuJwEMTJjeS48dZOQgvfsvSKVkoTIVtLPPWjbfZqz3bhYn9zeWZV5OU5MdG5/8VLqZXOvm/hB3ShXM+s7+ehOh2fU/tmq6yuz+/WpNcYDsRsWr1lh4X+LUK85bIo0H8l5vkROeY3PgUfQQLdmdmBARDAyfiQe22tDkrbc5fShRSNPjn5IXEhWy6NOekGjzibVODqlHB3AIpbK+xUoIv8QFoN1iWIJdSOjVc1akjVTg8M1v1F0HpPydv/WuAkOawMqJ4SdEO9xhmQZeIgl9MLutszQgkukSLB0Yhu9tBnCb6GogUY233JoC7B8xEsaQ0bNRYvaKkkLKNaaAJA7VIdpIfYRlfehGzlYXss7JZ0lr3vzGaYOd4G9zbraydBzgoffDyyQuiu1YvYcIXrdjtzGEi0YmO51Vy6OC9ss0OT+dcw1HmDno0R/r+DrLA42/+qVM2kh4FJqktVAWYio3+RdfuaoitltTu0shwpFg8CFXF98Vz8Nm2k4YJzkcMMTdFjMJfFj5G9kcCs3V1VsJGzIJi1UKKjrdaXI/4B/uDUxCJIwzLci5eABTw0/a1rOE55BGcu6lnLrrkxbc5LELmRN4TZdKgpBf+AjNDV0De7ZyWk+BhLpisVnleooVhMNeIB9rfLJJ6Nhp6EmJvxpN/tedqSZtT5oHOxiqM5eUKGuxF6sh9PMbQgJzfUiwSv3RYefU22hP0zmCrYY5tEKOrV8I+jmJuOTmNXcJFbVqNEv1JVgalJFLE1vjQFBuQ3SSp9rKeStrb0G66m2bnTpHLBIoVpm7F//FWme0ryRXz36G4in2k5GFz4wXcUg2+//dqdE8X/LRvBwlhia930Buea7j6REzxbkAdA9wXddDafwiikMRHL8S5Gc0Ak0nqpBsvJrNJZVzzcmzQqnHvV2Yt31lKtCzwpL/pTZXMUQTxjPAHyxUWiQngaSsMwfEjxNOl2lJCmDyAUCYbRbmVmL4zt2Uv33ZwTBGxS50X9mfJdUzCN1nSzCWl2YerePFOAdZSMYnDLHqAH3dlclsNZJHca+2K2kyVbhJqic+jBD1ePwz/cVeex0u/Fd5W2p+ORevBk+umogusxSsFzv5kFRU09P383+wD/u6Bklxfy4X1+W54SaZCVm80DVvEuqQ40YYgV3KYO0z+OlmhZjL1lJOvUB5TznwDYCdG4zG+3gjaHUdnUlxwAf1WKS6VKQTpKJyhfD8sOEG0kvqD/r2kAL4PVnHeP+H8pH81s6k4wolHP5Mk9MoxBB7XilBF+Fh8eV+8aVJzII021WLodkYcvJr3dNOUb9kfm5TB7VA/dXjdCI9k+rSBYUYhjcVGo5XThrbbpuBOCvQf1Yp3sqeD27Z9Jt/6dJljMndrSkhXVr/vuYGOzqd2XtT7dY3iZw4Yf5kzOKZsSX7HQaSWlWneihsp8P4iCt4Q0y+bDl9lgaNRESu9p2J2mcHPaWIKCnSgORL2VWTjIAm1kxE4+9DJvq6ee1AE1yeev1jR27ha8iJbICR4X5OjDsRpzXDy6ifkpN9w9Y9ySPNtPt01Y+RbzIdag7mjimTmcemy3GU/yui6+3/olGSrLVwCbK0vG31710ugIONJjyAtVaA7liyMOHRrmxw0ViCdaSKrLfKgfVolH/ILoQKcROEfncYqTAZIYZbI8r67PQn3YjpEr897pwLCqQKnTQgcAONNplbSoj5oCcbKTVHJ0Cg+L7QXxIS5Q/TUv1Ez08jYI65gimqJgdL5GdTxWQljMrhcPIntSjPEdIZ9lKV/wJjh1BJoi2VHWoLSOPrjwqzLhmeETT5rtKSYloK9yk+QHcGcghcg3JAMtagngh5f0wj0FdvDqL11hTUisBcpsdTnruYHnMs95dMwfWUs+HwvKT32tCusnhjAele6gDOAwL354U2ZVhuK6JIz86HQwFtrO2q7b6omynOYAD5B/d/YWsPuYon6DVa5M1L5F2kws8oIm/0GGeKtwaI2+ORMbLiWCtrDTfjRHj68+zsIqLMGDPKvBjLqgvLIkQzFkxufv9iQlOx7jnYAgYAw/RkQKyIfpYLYPEoRebtLnLdVGXnPbUI5JxWmAkLV/cDgzM9fYXSke1VH9T9lvTvJhd2Jwg3D7LoMyDgery9emUJMJeb/4kFwF4EcgiHvMrCrQU5UDxuTr+c53j2t1bEyR6PBTGEyCv7kXYpK2UufslyS4TIng47SPDl2eUtDjjb8ef35XWBwVf6Rr/+mDLznU35bC6kgSMascb9e4V+D8LHsQIz6JSbXFbz7m1dQ7G77cMkieejjEu/XRG9fOwhxOrkAp4P9UV1OzsQ2e6Zl/057BKhJmIZyTKkIo3KLCIcaosUG9HL2GUwROzyvVrNEjvnaktcDCW2z16LhH25Bzj3rAlz0Mc5yJXL9k89Zk2rSqZ/5SYV+y9MTu21YskBTavK4RczbsXF6q9uwmg2kAQIyqIFwMv5RsdOrNifCqJUkdUcqRbjva0r0E77/VtxAE8pMLjEOSZGAdfZmknLJW8IHjZPcs9kzQToGvrh/S8ULJC9D6lCtGFafGUalt33LlwSbdl7Qq2fjSYXBqp//mS/rJCiC5YIhEFJbEnvJbKAZL+yRTATPkqDmK32PnydpzQlAO40+tK/M76N/QaFsFMKmYQTMUSiW2YwVShAVTDJlomgjazcVsRF3iadAfOJnq8T4dWXTTLoeuFGRXFmbw+/hLBgFL3aVJ/cmPIyITqk8Hc1PVBiIdfYdKVRiU69ouGPHS9Zid2T0acnebpgBxzHnSBVo2cYpyi16pR+py+qLAyHFcmPS3fFMbUK6zsabdOeI8/2aI9a2CmAT8vyJIQK16ChX1l2C+cGLKlY+JbviBr8Mwmv4jei8aN7urt9S6C1kRyd64Ka2ELidmCn5Pt0ZisLtHNdb1EWZL/dCPACdrQx6s9CIY9UYUpUC/C+MStqzdH1h44ZMMkpjDYE2hiHCZTKjBEGcWCjWzWMQrB+lBEdu++FcSDgnCDKOW3uzgpPVAG5rBBLpXRhhewlB5hMPVjEoNuk0WZYSWzrUfF88r1/K51iZJiWCan8Oit0wM1tieLXrNLbwatFfmbcPcMa0pev2aK4U6nFQLhbcapBtaXv2/nf+jxh3SLApBIhJN6iVMmC4wsMUDMvoo+BiKKbeEpXvcv8OrKFGlyPYvaFIS2qkMuxNqkxGRdYiCkLeelAZbpU5Zqffkyc0obRMaogaya6msVFQbXcoUWqUyIWIAA85wanNXsVdgrWb1BXzyM0iA1W61ZT8H7tU63tlqmI2MA0D8pFJBB8uI3cj/ikqjTYNV44mOyhqisKKQTuEZNPg5txmPC/5dBSPN6D32cWv+XNs/3c7XjQYDBT908PV6yK3ontLTB0M/VyKhJ9vG7S0XPGZjzTM3oPPiuD0vzzXAwsmfguBLS2V4qRFUS5INj4sTORznu7QlSK09r8rvDxyeUZg56PXKmdklklxlkarwi9NlEJT4PA/uOQIbUmZK79UdPdYqFrnEAYNZ7m+n5mNwj5xcYr10PkQdIH2uSvMY5jwzPD3sao73hv1g+3gJD9Ak1l/JH2rW9NmOkjdLQEP8wlz2MJjQivmaBngb0oCGNUorR7RQ7pDEAQqJZA26+p5ofzEIDCPCsmAKmRVZ3o9qh96ImOfR959l2StILegAzLw1Whw+a+gImM0Ey8D9ymhKzbVNGXKYHTVtsRsPsqq3VHENaIHf3rbrtyjmGuP0At7BdY7O6BcIO3ys4s2ya5qzW1sLIJiIuFn49l9hn0J23EWIZtSjySDv2cCIiJPlzYlgm5bO798cjINXfW24ohzeN1P2hlYXhQNoU/m1+zbFw7my2zwg/Sw9WPsNxtzudDh2/LQ+2FspAcGjvbdLMbGkaWLODlem96x961rlRcncgJNX0R6sMocf2JYMN7DKZQdYBFXeggHkLlzX9eum+jhqUbyEfmZlXqcYNBavKdSA8S5kv4sXv0PrIgtK4E8ACwdW8o810vM8D4wz4J0hwPhJya4v0bGjbsfUXI5CX7+RLJ9+OzdrmVOCYDPhClj4LT14nppMuOix0kkBL8BrHbcii+4n0NtxzHTtMhj/uwGHtCuZCQRb/DYRzcAOdxlLc21WAKM4jSjiEuPvuTxbr0lhlXu+oK5LX7h55Yn3L5E5ZAzJ2nQKDHrr5lYEHEG3tAAbPyt+Omo2cqGyn64SxqefnNUBCdH4+sE5FTBnaVw4LDQ/bRuJi1zz8onqyLGzSUhXotRHHu7Opoo5lhK67/FlD8xNV0puR61KJQxMaoABmdps0VwMhkoH0WFT5I0I2Z7NuhbVJlt9sGazCRh2RnOoQyVqvf798jHgguUBTAMIUE1IqqrZ8/dV3IkYs8KOsr9Wr6E/pB6nye23BMrbjgY8n5K+3ZpLxyfUIpJyvysYire9X7PE93f0J6ixkFE5lXBUeCLYhfKLZLDbQGBlJGm6e5FTm2Z0dN+4wbz1gJmEyQ2YgGgQQhB3JLZyA74X7IELCs/IATLPVDk+X6/xVuFVE8YZT8YnU/tknjwJmbgx3mjIQp6RMSXA/l7RpNyyp/1eCToEsdPzK5Ug9Lsk3XLndDqkBfmb/opxpdVko6c3xPERw1UUtH9pSVbw2k4fonrgXO9Ds50z5tiCVml5l8huZn3rYWr/ttDHIitS6JQHIrc5pitADkDhUJpyTG5kbLJNvFMW73t3Zq3UdrciDg0HTR2uxpLy7vqJvKPxVatA4UVYasjC4f6x7QU9ADaIKO3mIkKPOTb4yTVxDYT66LoRypwoTglabRVZg+XVif6vACN15K++Fht+nGQ96e8noFKpzfjYwoQcDbAguwdGQQUIsQ6LZr4kol6T2YMubh6BUKlDQ/sTZOXNSAXu8Cgi4cUbU0woD0UhY1Ltci/hTJ1UCI3tofzxf75IrytrwJYkeCC8AR48mHpSDEV0RRfDpiRJzC8uPbLMi0UwJjQqKWqgH/qzSBVit3jPByrat3ktyyNT8r+krjoesdWcbXpmFHP7ZNNUVV1K4H91MtvFGSsyeaCVfsDtwnsu0z5if7HirzlFRq1GP4qO+urbJNlna4cLqy2rA/8pV0/4wl25ftJnBYidJkcOeyLTS88pawn8zt0KA/+F6ndecOznCFl8siXYdssXWGNTjHRK/mPKCIVE9aai6/zcUV6JOQgWiveHeAKl2D1Qlx5A6ITZ6hXUlmLuyvkQjlKf2uPc5fmJU0Mvh4UXF+25PCuokbArh1822tvGafAQtHrfTbqe3MlHciUoiM93UgeoQBO9DYNKvUrENd4D0JxuxW0jZXMuNghMrRsFhXZyCk0gQ2EiSL27qtXJlqNQdyzpTiPx5li5iVqbDsJHyWW01oeZXjbZLXuFqlX8aowP/Co9Pj6Ze7g/CDsXRWkYh72UFJs8YrTmp1BmcWa2dKo62ASvVjCSy2noeQ0kYSkGY7XuKOr/dZSpYOhivdFQDDbR3QMQhZwTghahFGpLJyJp8hDaownYqFtpH+fnNNh5BLXXY9OUv0oWRq+droEPoUL+pZxypm17snaLf1fz6xt9UxzM7un7atnzngcC7/C1/bem8jm7oUNe7Sku0tlHIpbpXEA0nEs72CAg/Ik/SbIaAiDAm7WZDOkjCzC77YAM0VKeBirz6nNWXc9hCTe9XxmfesXyT1ysWOr5+XCW4db1QdfR7TPutW+LYTMRhprb+FQiKLLujU3TtIaTNU2+f7IgBZYD4oklRe1v1dKEk1sdjBJo3cYY0JgrbpnKGV/BrhifBdMqtsF71s19ONGx1ax4Vpo0/YHMSsErDLuKiFaFI8ApkmqBNWXb3esb2ZkQF5MGe39Lk++R+eNzQ12kDOjy25FeUnulyTCoZRy8R3SXxES83AXqAcdw22hNcT9bZHD3Wn5yh2SEaT+UDYEbhdebgZHTKcRiMINBlE4CuyIp314WQ30DBz1Upa+9/Daz6YzzMP1zOhbWx4Wap0Nyr/Pw3bov1WzyfN8BdLJEmkj/OhyG29X0DfdOBCLM15KijH+40zN1hZIVJ/qntBB+W88grJK2F1dVSLhYCiEFQ/w6HIxuj9SBq7IKMV7gTZHK1O6IArUuUSxgEioEiEN1v1GEpWP6WCN3xQDe8EwyhOJq/zrnA5ekU1oTr1txqAaJU/jQKMK8v60xJdUf2TyTb6IzRnqY5qw8a5nZh2GgDqtiN6hz/ZT6M9hCrGmMKvZfQQrJZyXgQ4cCLMoCmSGGU7Njvm2DP2sL+FkB73EcXtaiMgCqh9laTgvMcwEHa4iiJnTWRlGuQFJaDK1TxSyi9kkWKTGax82EcEPWsyS1dwFKcz+qNgYJOySNDvYIApGqc9mSIdRZs71K3po5W/71iZIjAdCvImdqMKJUfgXyi7XVFW4p4UWrUJXCBh0eDLv63T6NlBBsLekQ/7PISzyi0qveB+aI5FTHdRXG9JGiWOgY/cOCcZsVNRK+uXsMFBNslvmk4zimWHuaExbUs+nT0oyKqGSnaJe/vMhERZG8bge8ub7qaiXVWk5waGWyHpP4sujZ+/The57znKLQi9DvGNeIIMzue0n688VxATnMRSuM7Td67TY5xq9jNCAMdSpq6Tfljmu3o61ejAv5L2uxckjd3w9Fnuy34aRF+WL9wi4yoeT704qZ4HTa3jOZ0VB0v5vC34i35rPnQTQDcOiuXRDlDzNooW3g9bIpz2q31VIMEIq01U8aiwazVAHq/qoCO0oHiGQdLHHqtp7vsY0OlEV940EXmxyaiGL37HDrtjgYJUugImD+oil0pCxscilnvg7YaalP+WFU69z5CClTBdgFYN3mgSiOUALb8dmjYnMyxGE87BelHSnI6wzX+epWudB13qpDeykkLJXqo0ydio5TScTQYvjpriBt/jfmBfS2lOJDXQEkYaSUTbsDXPAv9rsXvHD4d4NtM5KqWVSqQCLLk5p0P74qWmiSuusIhEzrcx3HYqCewxQFGCqtzzgOKhE44ugSdsnCMsM+zDLn2CQpq07HHWaQVwAwDVd9yVIulSkNsYGd399ST+F8D1/+MoeQZKSDfIDpg+Q4AC/t6R0MB0CpKOvuzIMehEb8S+CS4RTcXIRTlTDnP5sdoKuAUXvbt8X4C/YlqoeihqlMlXD7oEIrG66+H/OhkDCMq+M6xbHryWt6G7jUiRVEHCYdQsU+oKZn6WNO9g9EIevGBXJ5va5fdjqlzUkeklt1uZGlbW+a96ryqCF34buBREVIPmOx4Vf0ha3zNfsrVOEP9+umNyIyF0sI2wOWHDAc6ySxIcYcwzy0FNn9HxEAqfZJszksikFroNfpQveib2lQNXkiIjPKQEVMwEgRAebmbzQ1q9o6YEtUMrpXE0DdZmjS26utjmsqlHFhWql9ke4N57d82XYYuQe77bndL+iumO4YI1jZK3Gd4CoV6it/s0mkK+TvtxWvtyYBMKa6V41YlC2R1VUZwc0xfalRmbmzp5gw735CN7TRYJZrlGhonn5BuJ/cf2jWtGx/A7Lr6KJVbEig47uc+LmHAC0lh1yqdP+ZaILq1D5dRYSoioLm8S0AwY8Zs5RIK614RpkNQbsOiOcWpWe6u/1ZYaBH8S3O2tJLWH6Gx8CBjaZBQ2inElTgX+1QvUDJ8didGmR6FR/i7NmO6jssdm/FjpfTthxdD9h+jq++/jvE3FKzEYjrYOMOXiEL8gKjxzbVnXwGkZD+XZPBsPViIq8p9ZqoJO3mGRN44wElF5vcniAy0F0Y86xEP6pwbe4ZcMk3lqw3L+alCh+P+eSLUlmUMa4owWgDhiHkg1ykDibQTVxy487KWnm31cVThu6lMJuhwYAZe0/uQY8Usyut7TXPyXVKg89oIOvSGpmp37PeVhjhRcNiG+/VkgeQtN/lVI0juy0gPzG1cUVVzkUKuvdpQKQrIwFYGmlEIW1Edh9AEOG7GGqFwdsRuHSYpO80dG8MkAvZHEp0Z+xOi0bhhK5uO5cWUm8D3JvMCZozOKuwi0dV29dg4kXpk+aQ6N7n9e3BmePmpAcObDuGNfVvWsR1znxMhcEzwjPLItbFLMW3v4xgJHttGcbBbhp3SyXoFccH6iYmwJzVzOSx4aIu58Wuq12npi1hP3W9KAyRGpyeNzzeHW27g3hIBFkhEsGjH7KJe2i7ADjbgEM9PEOo7b474d6u3arW6srAzvxiATN5LaX6y1LNnDM3VGStbDKfZziI4o8QVjV3t283Bm7blmgE1f+Sa3cjiQlKY9rPgTCTtoQOW/GxsC5ZLNpF3X+75Pg4BrBjSCW4exfdVXWz4MYWNCLEAnUIWPAckpeAS4lYwwcwr1f6xu0g3qZI03lrEcvkLa4bsuf2Qt0vGHPq9y7Es7XFjMC2Hb7osPRe4T2UwzSxWUK694dHg+O7JVmB77J/lxGiRPTUHZJ+yWCX4Zj5m+Il5FX9eoqpc0sTBwYvbTIiZQinGajTyuTfCxziiuaFUMD0Iua9YQDzEm1Zg7yziGf+bp4TE8ps4qnuejdygs7x5WF8gqJE9Sq3UgtwkgGtOLqJzKSeIWXgEmr++fnP2Z+sffz2mDDzKFLtprGBAA7EN7YHrrcWnOi1vC71ENIHmNE4lAltV+0RpxdFtImAbp/imDA3uYe9BInxbyilywXauX+cbANezlcBn9hS6Ptru6stBMMQR3wNyyhQYIDRN5QhH9RAMnL3rH0V2OnOBf4eRD60+QRMt4OkKXR6/de4tuvBCWhV2+WlTXzq8BijuS2Hxkr8RD2rjd+3cxYSLZ6jJWVl920lyLDL77qQb6gViY8ljNMOoi0t4djzTgXX6buG72F4u3ihPdv609EsEwJBdST1TvvlgG/ncHqRUk6KyyHx8+xm2kbh2ZRViqH6/X1gdua2GpfDCOdky0J/48Xs0na1YuDomDfWIwg0auwZqiCJ2bS0PIBSuleKGbZeTgKznLDgB9sjiNga2fDaeEiwUoBXN2Yp88ITlVh+B+CbPwh5NS9bZqIkkkB2XWlXrNWQseS18TlK3xnetZcJ8kLlB1bRuS+yf+47VFiE1f3nRzvata/FOzmANesCBDrWXJc7OGOixzhmwt4ZGxFmiTgU8hsizFPBcVkYraIWu3ammwAJJFY2ETcmzHbkAYlqcUYoPbr0vHZJVUf8zxW5m3ZbynNSQ11wS3WSDy4wnDeljn/p0WR4bsa3o8mgt2pl9FxQm+B6pTJYjJLJOwqrSv4SmrRVaLnqHqpDXAq1HVLab9k5p+2BEXr9FQGARa5useUP9SIXVfcFvEKX/0iFfAihF4L3XU/rha7cntCzBwVW+lLzel/uGtblS4onDiSSkZvRHI+iKTxcDyRLmFHhC1DjFtnhuMnLfVwhj9f3Btv6L10hmKZCvD25OZ2ac4Xg4+CHkOejQjz/E82pe85dcYqjtGbVvFTUtQ8CmszON9oZ1wEyB+cLOQlS+V62fq/ikxU7ssRnIzGXa0CrIaxCNY8mfGD7Ldz8RlPxr11q0HQhg98xaxKQCU3/2BtZH9fq50ufxLJpITmdRBszhAEm9s58+zHt0OV84G6S/Xh8fMCdNxDqyUxI3K5PpdSQ4aQHE3En2DEM0yb5w0nAPYeQu6swl+M9GDlpfn3b3xUEzPYdepB14ErqgcmyG7kEMZSWBKghquunFhE1vwXHkob1RoWMvVz2nbV0c3qzDEeTLRC1ubQ9ilAN1cBD1VWd20Cg0g8wol/otVdds2o+0rmHyvuqEwI8Z8pChZWqxblA1DYlvPayG0/ipSt/cdRADTNtHz+5RF+BRbZVmO+xTeteUob0f0WH9NdwBXl7K3TmnmR3fGMTN0o9ibijPMXudsglZjHDvdB1kb7/j/lETcsR5csOzAKIUyy6LzkhoFs6iBAjT+WH3E3OOTUXAmDH1+g0rePcjkM0KksnGQfyDiaL1E9FKIPwbqKlXxC9MtWKd+cOssTtKB5AYSyNhjei+l3lE1jOnvR/Sj55qD01ekPP2cBMiIhXsr8FOWQjsY8gQgQY20/QEIumEZU5Pbv2u1KcfOUb6uIDFewpwXE2zKDZDyAEyfqPYbQgzNpv30W6dma3u1ogP0fQFiTVHREdQ/3E9TF3AeIcPouSbiUhGninPtPbvL9cwKZaek3A8VN3UDm3hP2o4B5ykvqTwYPqN3y4IcBJ6uiGIXgr5Ap2Dm7LEgtljtEx8mQ/cRFj0x4Yrrr441+kTYkvKtO28x856d+K77O/hR0tTxCPwoHoKuUDY/HjYfl0ieS3B6mhq5GT2pHjj8PR2K8y+RzZd1j/5H1wHXPJPtjXkJB/hiYCeE4/+mqPiPeNZl9Ux8qBLgOj7anTgtLIlSeZmYbjQMXPJRKJymuLPO8S6IrhFUNrFPvrl7V+Am6PV1kVZOJzcS7IQUwrgt9LdVXGMYqg4Qd+W3iej9nNWdztmooXMDm3SX4oN4p3bb2qVL0qG0lDrd1B0NbWuBvFRsV4FFjCGe/dY8Av+tOptscJZS2eyOBZ562G+9XVjlaR6+aDXUqiNl2nG48DiEwFXsyFCIP65eOvhwwRZr5vwpsCfKDqsUUu2KBkIyGpI605FB1n/azRwptxTfDo1B0N+IwzxG2E6AAvdv2ietnkzUq6HNCT9yECWcCW19n/MJh844xGT4xerYyJ9YQYHV3dPI1eXmKL3XOUA7n4BnltcLX9FY6KVuEKYRStKTwIbi76RbcMYk1z37RR4pgDnuzHyeGbI72iuT9BQ/Cw7ep2C8jm+iyEDVnyYyKlNd1FKUzm9vOJa7tg+3Oqu86Fd/3gW/KDXhKdCFAhS87LgZ/kdoQN+yUaWpfArUSRJa1UdpKWg2cd4qpSlZHeRrcGNbh/C7LpiZQfGzn+WbcaDXd+Y5Jbu9c+BTi+v5k+rdgGicQC7fHpvCJRPNVV5Iij0xjnz7BVKOa5g7aUWV9v/LH9RgtBq/yuybxVgMELkM3vJqSOBGSeLCUscChDj0PyY/fkSZ3vArlm0r8VkuoNzK9pxgmLMghXEnX/xW130oaOIe9VEf9G6hB3L75/bHyP0MsW1ik3vnqeWXaVdemi2JzbrVB4cqpYDv0tltXEdX4V2jfXvDcr8xvBVdkC1WGDKiW8VjeubwXh9S1SLsQkGvIfscGQwt/FMYjb7TZhYFQ17oQswUayfCCj0M1Frh71VakgfVv9I+QWLbEcmws55qEvLnilmjVJA2L77pFlnHM+in7sm4nExIj2zWz0HyfawRmXfnMVao9ZByoQI53WDFmkl/1q+CCRjEQp8iF8jFB1a7F/IO6lQj52uIJRNFD1jXpD15uPuI0S9Gxl+5sLXnygC6uKy+BL7dqFNYtmzoodMuZmF3LjyvohSIPvTSg7AOzTQkdEgXeZ59iTanQcpDPGQiUzGzkfprl1W9urOFIsjFafXygNU+4bTG1NoqtgKMpwsw5VRjMTf3si7Kl411uELA9L13WnCRfZqbLG3rzrYt2gjRoAtIeU0P43pi/GhSZfn9saieGci2NaCff97AYpqyxxyQEwqtxGghfA3LxopVPfv/4njN6XEeMqoVIccY518YS9ruokC0WXRMrCYrolkRO/Hy3Mn5ONSDUW1L8NOuScVtvT7kMQH8yRqdQG6i6hG9AzvSrl4SpqRXo6MGnGFOyatcM0RHbb8BFC9EBYFYwbiLMwgDCL3ATlO9fx/air3DN+8zdrpGS7rtdO8iySMNuahtR9oQdIJghb5UyJ6KO2vbxtsEcS0Y7BdopXufRTjk2OihHSA5petOKtRKbhnjQGrIK6qi4lFZHsQDbY9t0KOnFGkiCBNyANsfTQd+Uh0MvTdkkQfUh4ngB9AbOVTWoAoJXJSBik0iBcftYy+05KpDBgSNfDAP+nEgoiAOJGJ1RVy8V06fshUGQ94hAIOC4/kSSPKzR5ncTpyi56uvk5uQVKbB5ua7UWpDY5Gu/fI2PlGFDlAan19AktBXFTeOxr8QTqaPq4zi0eUzbvZMsqmrdu+T/pM0Rjyzv82pHcIbRIK6k2LK0cCWHJr5YAqPnItN2b4cGbfBQ4F5Yv4KWLA/J8bl3BdOIH3VfQ4w7gsteJgzT9qA2uadV7awYSxLNDkDt5/k9qqGKKxKMFArBnRjA2hyF57iQccLMQ+n52VTn2k+xxgyr1y81mahHitSE1Io3sPMXRmZQj2lGcwW5PjLfiETi8t7FpSFdDPOicF4Lt19J56rYFf1B8rxi2oBkWDUFd0lau5V4Y6e45cv8y43083GjoFRRJcG1+64CpuUZKanAoAWGvUT475gNaB7pGkM0CaBhvZJErJSiSlb/89ao9tIE53Ne+MlfxcAF8YZmVUk7bVys6VGqGEvR0AZ6m0OXbHy5wSWVJUL8DEcb1PT0fIO3xL3rAlLhkQvKzWy+VRpxvoSStG4BmhbFqSJne28S/VtB3B1Pm/PFrAjOgnW7Y4xIrimh3C4JqApsNXZxjbOFh4lwwgJUCdFZsmKR8OlNCBjRxrQTdNkzOd0DsJ699vprii7lGIxe3zOW+0alpvtzYmLheB7mVpILIIvJ0IXz2Q3Av/mP+sXP83rN54Pf9dtQS4Nwi0gOvN0j7SaTACrYtoj7JLk7FKFKXrhbzVn7XpMSqdobeRiTO8vmb6aeH20KKROk/IYJ6AyU/da7jnzQi6O/9Sj7TXSI8K+le+21+znz4KxRo+6C7+Dil/4u/LEyyVCKaQw1b6VN8/gp5x43mTQlL0aLew7rl9cokh0rsgv17cyPgSkkBFn6MRGSFOdWTqEJDXmfFrSk/9TczWPlmWLW+aKHHxf5r9X7OrmuZO6SmR6lyQMphR+CXDIzUTmNcwcJGN2dlGkRXeEKUzxRge5CZOqb5+ltcVYbphC+k/aM4RPCTSnoIwjTkf9+5i4gX7YpjhB+i0aWIj3KisLJvAsDemPEwikhMf9o3lWX9MHBuyfMFVZtHKiaZxjFde15a7ZNV9qQ4tQezsp98F7chhzIouGnUEzxTG9mjwgZDz0eOUzKzjZpabv8qUo3e06MzfqKRkPI4/Xt7Lx9eZO6/zwbog8NySPu4f0IfHFy2AtRNmvHlA8SBrRx+JEK2qBb3sQ5M1TOiAPdGmqipI6yXEZUGyJyMKMJ5/KQEWv8Y5MqPFDsvTuIi7JS0z/yn5ul496txqy8iktzcAps69bFK75SoOC62vJc9+N0NPMja5QMZWAwRbdN+wTuenMkAja+ibKy/TDMX/SwBIEqnpKl2B4IO1Fm0aDD17mIB9VCMkCy6fhwO+0QFM9XtfCRqr6utQnPIzbh7niDhhygrX+V0sm58WVe+laLQlzlD+KXWiVJG+S0cZo13gV+VxeHZQt2AWZGqmLs2gQiON/ZwuSoldG2YxwRhpH+slKvwbQ2vIWkue0C/R+rMhRD7VOg/j8k55JpnF5DrOtotDajg9Dv7er1c2KkFoyebMjFLLUD/PHqul0Gax+ujQdJP576wvobIV3iR9oU8SQVUTC088xh9R6mRKpnkiaEzDS7p27Vpl1QGlvpGwHr8lAaYEpwoj3XgLU7j69URjZnwU0J5DKwcpdEfjf08lNhM4tB6nhChEpDqhYc6jNGemOvIzV2RBA2Fh4W60SDmEFu6JCW688dobalZcFdClhcv3QQQQ0aFFmVFF5goes5g9hz/ILeuca0EwwB7JldH96ryoV0ntZIlSfTnknicWCr/3QrHR69f81YzG78Ji45veHDYOh6/4avR8rAPnM7cTWS50tjZ3HTkCIud9w6hNM/e8sguCt+d0AfZPC/VgpGYrfZG8b806hk39IdvnQ82199rAFKfLrrNY/abKRj4PCgDdUXln6Kx7hKuWDG/mRhFcHQV+P0dR/Cgvc2nnP+ahYPYsLdgYwdK5adxDmXbcaLJY5veVsNRrAfNBhMzeBX62dqiG3yYVUW3YcT1KMeIiVuPY7XQ+EDwFyhfcUYJm0gu4McorfHVcm3dYdkJyvjfnyvbl/WcqkZBrz+KhH7XpqnWfsTi/jUPUmeP2my3DtSEl39EPiVK5ymqjFdVuEWO+AQGkxPBNlRYWJC1/tx3yQLvCX6o3PZuKnbPhoVsC43Fi4mKiDDc7ApSTkAl3a0IMrIVlS4wGDsTNV4DZ+in2idA6l5I4AQz0I5yXN2GguTWVGcs7CdQ8T4HKuMulYDI6CS+TrtarHHMCWCtIztXf4dOE2R6NaFheAKOuEaCNpkAzXwN+YBxSnIvYI5GbsxEK1cyVo/kq6ME5c+QyWidZlIZuWpp66zShmnD3gLSrhoDkn8BmX/t9ljiCi5CtgjSEe+p0rQO8XIAa8U7G4EWWJyelZBmwDulsyukTod5N4JrsTpTaOY1xW+jRcdzY1vs/urXhU3y2wedpFeSvuvCXfl0ztMXt5M7621G+Uw/5DLw5MksJlKx20sr8Y4AoSAB3rXMX85NKGrrKOMv0EIBtY/FsxweNCt/Zx6rgL/2ir6quqNtejeTNO9qMuEikxULC3FDAoZqH/pmEixbylHb+AzPbl1TfgCrkVI8MpJ09wnCCPnk3GsasK9a+Ei/y30DJmVro2dDo5b0bPHeNE4x57fFQU1zz7CkhTQF4d4HO9icfhsITI0G4ydG86JUqUiPRdKocZ6N+6JjBxwbMROCvxc0IFAVbPDclJcP/3Mp/0w70eK7ujgYFjjsfTEkyudZFqKi9qKgvgLxgTrZtN9M6dcP/tgzctfVw0D+9XgtJSk0h1PEdNsIs/ODAmVwBiEarVQseeuEXvIwrGSn+/b3ekSvXrvQqSWXBGsTVDc/qOND9Lwdlioc9EuppymHV4qPg5yZ6TWKUWNLWOsK53WXWwnBcNcUO4HZE0qN+tlyVxUMM9XUWMbh5cqx33B2k4eyXFF+86xwrpWQ2Hfdabt7IRtU0tDtAo2LTtexZwYOEvIzYxCIHEnXEa0dhRZ12xxPuzOZERqLp/W0jQS2oFIQz1j1qEDpcNYHVEIB4pt/W5TQuehknRE8IVqyWU9ZYeyV7n+MZ7m3BE4uMAwiRK2r3bVrES7NEtkIXXQ/1sgV6TnVDdpIju2LEUE2DRIYwYSpRByO/4GTpt19iChsI4QJ9HPkSwMQ1bbTXCEGT7Pl43Y2XA0/ngZ7YK0tgbAiVInISUigqJz5DHI0G5whNLxxx+lxL1pGeEaLDsShG4ivFnc2xO+QkYURbvDuOudQYRwMdUf0gN3RuLNtbvbvIGKDSRq1rSTw6iDdz4wL6c1da2VLAYUSOKRE/k1Fkmq0iRyYRN3EovEK+qzKs7M/yrEih+ap30Gc5q4CCVtdqQtXZrlwL5cR4qhshbYz1pUEwtbNlzNK7Qh58/duvB/0/Yl3rzcWbtJ//1rvItGivgooQtDxWdlGbLC0qXYX8xuZwHPTkFN+hvVJTdQD0twfFXoJknrdo88NCnQXIokj/jMXDmUTv78L8WPNgczB7QDtj9ShOQB8tpH64nI3jnDDygoLbhW6LtRwT5W4DCwcDMlzd3NlPtiielJ0h/LZeIrfTLpZ7vv1CH3peo1VROOrJmSy8RScrnpPBn0ZhqLbcUYSzVCU8ikLYLxzlUdTW4HLA2slWBq5vViU9J9aH8xDIxK13THhu76ziZpCiT3G4BYa9n8zHILYfyQCGUf1hj9ZQnJezuMINexulfBzIq6L6Yu2lR40mMfAJjUJDz3IO5R6fPUP9dT1G6jGobnrLhvoslBqjxcMBeIeQ9ayUa1xX3rUNti7HfVnjEun98cqKcHmgjgfEJ+Hhk1Psy91/KmwRKse6jswsvP9rjBkvXU9AZf3wsAZ7JTEdc+lYnySeIrueyTLXi4Ou69upBBH7wk33WUOvIg01AApY4GD9sKOnkYdYUh919WU5ePe8QLd9oWgY5ri3AzY6JayRNtuvgvANEpCKd6OOsjDEZR83AV2ZkkxNUtRIGG+xCu4y08zvdhpCbaev6BAbs2gvu2nFy3Zp64mcOUL6dqj+FrOaAkVFfCFbVwMrpIh8PzY70XyIk1lEbSUj+XTSA7VYhuDYLx7Sg11TrKszAmU6dvTUn3q6c0OhA0Ued1pHM3jq0eewbFxuXtsihaAgeNsRGuy4qOijbjA4X2UjnL664FYlytJSPzyxkD1JghaTY6HSeL6vjclmrpjtyavVT7vWT4qMibR4CVWzliVtqgmrrR1dGf4o+GWPiUTb5yENpjkGHdXUcIa6Myt3J7SgqY7nC3DUw/IbtoyxD55Bqv4DnYpj3/eKq2zJ952dqL07yLeYWm2F6OCJnPphmzhQ9jB9z7HR7QwJH94vSw8LYO1apCzb8pR8ZHrtxdMJkN7bMpXBP1lXftm5G3unijFXWYReSzksaoY3xbyGsusXmSVZDJwvWgPcSRpiHWTf/FkE90rEpVDhADthv/JN+iL4GYlAjKTf5aCzZw6rhF3GSg7foVET/eGcRfb87FunMfkTkRC4MwKxOqOv22OuDXAMqHfLR//gUd7fcpNrByHAlXOxbTj9IZUO2gR+Mzfb68etZcadngxsZxLtRWeB7dc/J0plblUYON6y8HNz7uQ8D1Z66+uvAVBGcJ+C9JYiYuYWPvfBfxCjcDBJTo/amNvPfvUqUj+k48jOmMNXvS82tVrRyz/ovYBh+honH2kkZChxkVcpbfdsxKYZFgxfFGb9gDhbxqFOXQnTkC2GObNOYy0XOtwIRML6UcKkUs+GzebGdhyne7bmQObq7Ce4WRRSw/CbAneWadNW3TW37sYp2Q8Y8HM2WCUD3Lm16OqSNPzGkR1fJsS6ANJhuOaJiVI+LXOochU6NZNg4hDG5UMDb45/7azyvbcDmLlFTf0jnjcb12kY29GhY0WHXZwWffq4vJkVVbYOHcqQqzHrp5nCDQ/OOgKc4DD9mEGFbKMO/tNvy7YhTQqUDxd280Qj2M+OWN18XjH+P8K9UQg3X2WEhVZr5ivbiLcQhYReDQg1izD89loqHFuXTvFYacElckZFIDlxOQj7HIcxWFeIc0zpIZe23w8pSdSg0fLhYIu5YeIGSeg39xtG3hjCYqDbxj6kdtx9dllVF7bLeqpHAuuD5HhcrWXKFfNEdxjp13m15u3rEn7ljJB0fZOvTSSpfs07kLe80/mKPBr/QG/gsUFbLFm2tfPfaJ1Wx6+hbFmmKdQSPgV9AH9TN1ztPzzwRXzyl7GbSghJSPjTIsKiQumrDIfsB8QkwgqF1G3P5iq8JvQBT10yWBh9Lv7puTIeb3JhaosqkFgNx2nclK9lXzqXi61VD+spcbssDWufIr6fDl0XRMLnDvmQcsSBLEN9dAm7t/2qKwwnzrHxEjlo7IepFou/tC9W6CMEhV2UhMl9aiSSOBL8HG7OO5YqA1jYyxhRiR1d/UnFB94n0GBHBYJ3HcNb62kSEv491K1YvxFWA60lzk81xJFmZrBGrnUJU03WmePjyOH4pYHgHu5SYHGcB5+DH8X2/YsRxZvgW+iNmi3m/4XpPTME+YfQVVWdqO0FSqu5XhySgzkjkRtSMedTXziPuRwzbFjR6aLj1z7GtdxzElEAvpu52NraKjbwPxBvB+8Zaa0k+hLl/mzKYRDikIIN/zUUMDnvonKn8t7iHR+piUMHOJW+gR9oKOgU5rrq8nKhFO3QU4jBk7393a/9KtonxQ9pZoEvFWY/Q8ZUezdmbZs/ovQAZbIC0NA0JADKkTqgG9i6aAZUcrqP+bj2pkApThptm82+2Tk8xAD2Z5ywV5kQfleY+Ru+YBwo/9VVLF2wLb6E2AwWPeV5K/P4qHaidDAtWuhawT5XsYvgDj8ZocRfmnN/FX1zq6kwJyYAMcwM0mWxitF3xEtI1qMdEcOX0dSYZFBao2EIypeols1zGZaTda+HsR7esEm+T7xXqLYO4n9a/UX9UrQiuOAgUQZPdqEkmO7Rh/L9D9xVeYF5BHOtpIO1mxH+LRiYKmswzhXqFPuKaneOknrGY/enlopWcxCCHrxXlItD8v7bmRbUnq8aJkT65IraOZB7oMYcK7tYteqVd6a3RDSzlQtj4EkdRwbSxsxvZZbauYEqPUMunafFCOe+x+4UOHh85ZFkrEOH9IhERvpZl7OuGneR5WSM5sh+s9KuBbfvVF4FLqSgCEmlHHE/1K26eAsRuGdoQ6gLfstKaVBGa3OSwR0hfUBXHCQEpKQbTKfilre7W0jIyMPA1kxZbIaY01FHU60UD0L63oG2s7G9s+BYYed+b9/57p95TPfH0rsmdnZt/2zcFjLVsvKHmIXdYX6ojzGY6WGxKkRdbL7MjguPbCuJ+mxoEIBfUFMl9sXjHtkdHEQ+brvMpHywbhtdtBPH/vMw8FjNxvvLckUdU9Pn6j2dZfx72/n/mJE9ZQAMYB0saImtj6zDhI9NIBvTCVSq0oL+D+ApmbEE5Hlez515k9wldfLSo3hAqhWRIIxWNVoTtTY2YQTvb/nR2V9gAqgmNNcNlNdx9pwm4+N/480kaHzQ2Pj/c675OcxYnAYKNvdeQLWA12NHRUxSI//765cZz3Pd5qrpp11HpUfafyoDVC9vGSDVMMmuNwAoXeEPP1FMZi7+BUDIUEQydYq5Ee7al3a7vFFXMH82i3VggPQyYyTCV8B9vSsGpMpk2vJQiJb+Bk6GJo3BZtQsaf3nMAYdq4ssk/umL49Xivsgs+GXIVLursXsffpQi403YAbRLtBJmVmgKdRR7g0sm3LIIzHiFN5I7sXE5giGN9rkDQ1Y4aQoRYkO0ytp6jPePxbvTGoiA/ni6JBcaFSD8pxJ5Q3EMplPuHzhp4H6CkVecg5KwAkKM94VqE6WkV7X9tQsn50wUOMGsZ7jIEb1jFIGugxvUaghsMCt9NAhw4MikYFPJoI0T+66GT8pEgHuy03cN9ryi+B2mt7VR6/PmW1AcuRgyXtzHjvaBY9KNeU9cKLo7W4KW3OtVurs8KPxqLnw0q0JYqBatv+XNw5Ag5h62Efpfj+y2NalizrrKCRlQDqtRNfD38DI4ulY8lUfUoTuXzkhU4clQjIICefRt9lld+nuNIXSKCW68SwtRyVl7XARuWc+WL9y5EIJQo9mJKp8JAO9/if7wA1GMDdZLglxQrp/9qkvNT86qm6CMVe8+IhhifF0Oh/XqHmYqsmfxlxVtEgfx9oIU5N261J0B2Z9C1/zkVMOhS/oeoMTrXGQ16Th+bk5URK/tWAGc7jWYZFuC6kjzEV0dVQRwQm/HHdSc0MXLJ51N7xUJYVDwkEP1vxmQ5Uu0a1oAq6ubrRJ0hvj0hZWgHao0Z8GexPG0HgOPQjwZjq8KG4ufOTJ8zw6ukCreMz7zFTaYuY6SDY4pp4KKnxlWfqNrpPlLv/Fvze86LXM3eL93jFSbUajHrQK7aaU8aCynAFPMXinv+f2HV+zjkzPfHUCHDRCy+/4Roxj4hZb8UGOoud/6JlRXHqbgOVexP+ppCUAL8uXpGe4k/A8c9Nbbgce4MoP+PjJe0vi0bn2fPlIBe7nqn4eZj4gHmKfbXm/zLkrLJYwhFkjq57wGTaeXjJ1IwoXm1QuXH2jtKVNDcWm2SIJKHMGEi/vQWyxiDnQK4nyjge8gsjStYIkw4xwWvNjQ43nTTGcF/npd0daveK1JYSnjdmJNxupF7op2fLv9ekoUIT2ShNALgmgvTRMEjEe5nuIDlmyfc/BhAUt79uyCVbGIEOFbpkd1PScz6TGUBd0OGHqRk5B9RDkhVz0+KUmsJT5tJpo/USnsCAVz4fdfQxx1V088hRzEYkYULQLRgrsT9T6C8Ob4PZqPnlSOFuFOg7qq5k8yqrHo04L67TPgH2UgqCfDnTrpPvApSc1ieEhUX54I9pIJmyhC2/EssjxTOz6EZ6XzqJ45DCKJbrO6ZzViTR0KDciYHw314Or4h/ke+tedBeVqygN8iXu6MRNoTOJ5jlsOykoz+pKk1pHcmpajFqz/5dUduvgWSFAtSjNq54kjX585jseSq/56jaa5zaHh3qy+taweM2xdPpOiYH/1QKAluPEY44lYyCSHLY4zwGecEXaRXhqcrDS4QdwipxbyHXQDlm37lZgaRghXhhAGZbf8c/ok38Ilz66Dz0tECgPz+Jnv+Y0gmkMnjkomAIa9a/KWB+wCVGUW57BL752T09YzueByEzWevZzMczEXy5VnUbhfjrBe5Ibwnx5fZb7nyYWgXga0xSlsCWHwONORpI29mJDxXfmErQ1hNjt4ZbSAQjA50ZD/6rrTqI9LojN4wHWwgAdP5FUBs4VvYnHG5ETuqVkne6+5NyDgJqGymTHcPumtnaGIr3yTJ7o4HDitXIRL+Qx1Zu6t8J5qgg2B1FeZrTh4IujfCfPpBHdhJMRZoUDbhSXJSJFD7QXkwa2qh7p9XljBgS1g0TMSrEdRPSH4+n7OwJ/4YOlCQhpeyNcnDM3U0caLxprdd6zQEvHR28+VbwpZ1t6fECBvaIlLnyL3YVYXtQI6ctmbrssbkr2/YG5rrvsnMyp7H2g6ShfzkxsPzXqPRojpS0wpGIv7LEzCPsfUpw25KIr6xIbHcCeE1yvVqLDc/GY9iVxv17tDQ6OJc0l2QpYsbC8ctVh5+oltczf6TAPG99Pc6LH8zAioSImPYcWUglteGv/iH33s02Y6t1CBtgD/vxZQK+WHWDD2rTPrMFaXAqPdqw1YiFKobwSuC/LbWMSRJe0ND52ChMJn4nAeWgHvfiKvfsnYR/LXHi6Zjl8o50XwnqmPrbbkeTrZB8FaaSA3hNxjMCgzVMbWfj2bDN2CatzDIC5e58XWkj/8Xui7NPnG2vw/2ylrkSltDVSuAHAPcZiHDwqIXWG3kDUOTzermc2B2wOq6W8e1ecdwaFvm7O9iifn2z6tFzqOxK2XciHzrZBGqd/zPmykdydYgYN0m/GHIpZ/JzxBTqzkYNrtXEZwYuLsanVSVrD/ST4fuduKYqVDXWISbHoRBQzQGIAkFDXE26fMUBudBaxgdmJPpiG3mAnOqLkw/VxPD6ngNeaViGLhLRKH6m893QDm+91BnDTQlfyWU2sSF02NGkOZRjw1f7YWxNOGEALWFmweu9BFdHocBQo7dRjWXqQril2yWwIHv/2v0dwJu971hY1ncUsqFgyzRocpHfaqtC57zWbIHk07qGPH9nFQA8x7lmZGGEN3Ks5zS/sf9pC3eR2zKLuV6WkxjEMN+vEr6tFnVb716H2BLMWej9b48A16DHMvPdmfdCr6htSS5ePJZAMV1csJvfC0HGRPOnDd5NefOqbIZxxUi0OV6HvM2Usbe+AlpAtsRNK2wdS0ahf4QVh0HO6E0tpaKBvV8FwovE9dLxCTmhE3YkhDTCoRzOSKeNd40y3icvHz60L3brzej15iNxu1tuisMoVq25j+Cj237X5BINGFWwMZB4A+vYu2cj7hAh2PmvHBu8XslAt0RhkpQIWy0IgvlROiPJTOuQaGQBhs2/WOH6avLpasQnP/BNa6kj9Hif2bDRjccooezYLNvNhz8wzSIaVjRksJJH/gN6l/JtXxVcmCRFXjDsIpnj4C64PJFYrjo0TCodmrQeeIVDA0NIk8S60kq7ndEe6ESUV1g8XDsPfLecyiKg8xbewS3/JI9gb1Nq+3ZzrPJadh6Ua9mlTw5JKKTgkKN0IX84zrjF7eXHR0H+DgJu0jla7csK13B32J0T5awtLhicZRMS96MNJmonajt6TAGx+YTRlXwPeQtl+pY4RetWh5J45ULRzEZpgxxcBSxZh9jA/lfRJYb3R7CCDbHm0riFge/uXPUuvymnImiVETH3izf6FTcc9E0X1nWEWVfolIYH6puX8zww47DI8KfRUw7fXJlw1aRJYd3/n9gvBMtgK00swNShX6qCbBbW4oasYfSuneKsSP11oBA9mStlYtAVbciRzvrdX2HnrTQYvIHZRMmQguPKxeo1zvC3fnLs+pMcPaID4QbgSni04n769GFRa4W6UlKm0hwH0P1IpHbSC7xuQnFwE0rIia7uDI/esF6Pe32SvTuDI+Y5h4xK30iebX7Gp0kdykku46s8b62+lJ0PZsI9FyuhfDXOmgk3fkSC+LCIdAV0BXPrjM3CLM9R0Uss1YCRT0bCSs3lL9oFuXMnO/beHIxq6P+KXcR17u8x89mGB4VFvsX9WoLxyAzd4kxoJNuXbCmrQHCtr/ecgkQiGK6pjw1rm4NosQTdEm4bSs+WtJiJXBXcZwUWNs0G+my488SCnO65NM6Jy+70UTxv+AHzvqWQMb5+5ZrwAd2a06pZutQ6LlFIXeYirGqDkv6L2eSrwFWkRaD0PuPrULaGRrg557LoM0j2pY3s+1Yo06TSPMMDQA8r3ij12bW+6NdinDDfvK8NivACmm12L0SDkxJmLJu0DUbG/2neAqG4YLy8VQ+wIcTQ3HhU5m12wfaKUugECQ+bKvIhkgx9LL+q4CtqMuF9hteaYYJLkKtYH6GoN1+KKha/6zF4gGUdkXaza0DXVIRPrno6XAW9Pvl6KeofOyvx/kvQVLElstl4UnOgd9a4DtdNt4s6XAkb6vIeqRNUoWWs7CT+Y3mYQzeAe/g9MPHTdgqujDzaeA3/QeIeHMe+vcpqEfmHa8VS+SB1WHo8TVpti+0pCFlysDuK73eeg8zyIKFfcuHrLqnaSKQbMww6DcHkznnYPINgOXt3lSBFGbbQKWieH76cFhPzqpNdJeQzewnOpXa+5gnbZsOeUvzd5gQMyqnxfGuhqreVqrhBjUDuQBW5lSBa0TIT15tr6m+CzkzCzxBhJoDRX8F3Jn8npyfFuSOK58WWxBRgLhXBLZ8Z5w1p3iYs2ib9vc/eOA2w3BMInWlEsigs83N4oMWkWMgsP9/ccuzCGGRcFmWSgY2hGOhhxySrIG5FO2Bvsm+0jIpkDkXhnpJl6MdmuWGQSA2y+CL2fN4VfFqzM9lkIk43HiDMu7xrmirPfutVC/BCHUTHDCaKS6hpA0OoBm/P2u5xq+O+b7BPr1ktRIqu/QnF5Yz/h9E3NJ2MdntBzKIuOmhYjsnrjwC5uAiy1k7iAzuyJhv8312ORklLt0juNmzisI83U1pRYAkq1nh6Dy8VF3O0RYcpJY8betRE1ACVo57mVaiclAAsbdOfPzKcCRsEAayKXBTTqnN9RP/maFY1aoofL/1A3IXm0uf6OxcLtMFq6bJ9XQFErdUM+snrTR0Q1XO87hootcZcJ81BhoATQ35uK1k+Ht4ekAORaGVt10TRnyO67bRdUImjKO/2AClIm/mzlsW0Hv50gKGrTgNv3pQst2fyLOAtWMwzIFIZiuTdhaNvVrvFNfQ6z1ZcTCYIzbnTUDOaPm63FlrOv1Ov77sE4VkwWYOodwmmQ+iz9ZCpx+lFttmaWQnUqdZS7+87yNiGQsTSUKVFlYrLGvSprfyywQiwSNa96RxQApyFTzBzhuLm5fO+7sO5pzgsiKFmteUWw2t3z6MthFmhykeBJm94Pqedm2a/sPBHuVL76pZwtjGWO0Ptuqhx881H+w4y87kbY7MI2hniGzpQa3QY55Tw+qz5ajDCtSyGhZIt5siWV+UtdecmJesoQ5dGsLxJcHzcyYcNxzxE4k6xgFCtuzI2swm6cRvIJkIqWqgRHz7CeHxmQcDqcfpjkqKu7EbrN5O75wy8HFDgXZa6E9P92bVGUhPFfKpt7J1YsTNpd+I7AGn40KFwGWJw9sNS+mmD+5nPRZfpjKIT/u26SVJ54/adEPpJ1Y6b1HKxCF5D7cKS9kCulsitTjdsIG3SHezoU2zMaCxXVBN1AqqSKmbJWIvT/pOJ7ENpW5CKnVGPyFnWdhsmmhZTXKZApRCdIKn/OOIGqb76FXcFlOiJ+sYaewLpepB3LqrjODrqHH/fLMDHYWfE9xlbnOYQJm5Y48J+nswFlgzOfwZRPJI9bt3WDWUTSyA/unUhNg90HJYFsapdt7LVK02SNxJNORlYNtA79bQiQeNGFdqV7fx5mNQzZi7bApWTE7OXLnAedsQuFgigRNNwW4fbox7fNeeZAElnGb9HL3MPSFCYYou1kWvcrsHv8FnkxO7aKPrJkcE/BvV3rftg4b8FgkcdXKKr2WWCDH19aL7oz56kE0PwXgcmLggd8+6QtufeNUM7bYXmBZBXKZd5bgFawGIAYbZWY0L9le1c+Vv5AGs8H2MYFVAdV8s0qMcf9iPTIB+64/bFT1jdcSWlaSb5DhvCrGbjzWPD9B8u0VTWEZS7vouf2avvV5yG9HKIHbKrntVzK6IwjTvT1JrhVdV84d80G9vTiaAuaerifooAQ+SnnYFkiaCZ6dnaibuVfOKG8W6mShmsU2di/l33rY7punaJ/uZuqtNBMrslc9wQa8NYUlnepgGOkk8iMw1mI+cbbQkuo0KH5dain+8aY9YOTgqGTEkKri5c1nKL+82wZ2yy8UphG9VNOwNJLTeXXuyRA2u0Cf86SeZqf9SaHHz7/ejpx/ixqumTx/IOkUiyPnHDEMli6rD0OYOTI1Vg1Aq7Q9amGxiNR7oRfcLnlih1s5mAgAr86gbklAdt9zHkUXheriGgOnhrVMmCF3mBJgPo9Ys5FauwiZo+lUqF0QAgkUyiAMIrqD76zLk+CKC5l8PYkWvxUU48zoI+hp1G6wvOZrtFrErMsli+3jyTWnQQwgA5pN3cyHpjWA0wV3CHOfti/+sCFlK9CSxT8fQe3TFdaehrKhXk5iOpBbM80ighra0zO1W3wQnFocFVrQEWsxIvY5dRDhmF+nTIL/uWkSQ1T4ysET29mQSkST+nNVc+Wb8w5++b2sKAC4Lffc9YZDuMJl7DnG4zxR/F3PFfcSaWRlxBWZd6m2UjjIlrVu7oJFHNuJjpKEEVln6jGhivYv64yfUgzvI+S5m/7Doyf3YgvPFtkj0dg1hU+K3KrVjgM7SjHgZmXZiUJFTvIgVnNZ/nThU0rDEuznUNONMohSvmNo/jRBHGY0ZnP2OlN5o4lTnkQ/wsvuamvuz6JeJSvt5Kwxry4IH80Yg9bgfsoL9hJJPO/HXjUFdi0COUr6tlMe96IQMPZewWk06f/FC2hLd+KO01FrefSBLSsewbUJBVdBIrCmU0Tm+FDHniPjUBTrvZtfzf6WGPM+HbL7rL8D38k+vgfwQvodBbpMWbFrzSH4+7Z4If6OL75igUUbEmLqv1B8w7BsFfI2TDEEkywwCRp3FiC8EXrjlb7fTQ2FE/EpUNnRyO/rQz66He2UAomG97e7Tc+8CJocVaqtzmygvrEyKxs1YFlghIFdHKtKZQCrzDWN1blHCaGztXlZDc8o6KFekW0A+9MIG7B23XpwxhW5MEoPkSjRIrsTz7e+ymHH42jwxo7kLq7cBIvfAKaqYJRpFxBHN9Pkv/5+hFVh+PvXej4z6zu4HnFAej/45tUI0xDY2K33torA4VkwJrTQDT2G/a5xSPKEe3hhNVxXWVlo8DwV4bUdPq85XDpk9azKSSexj6gCEkXTIEAEOfhFG1arJsah1xkJAyBZz77g1FQHzpFaohBAgPBLX+bdjep75hj82f+f1uqDjkBZSDwH3k4oUYKqXoP9rV96ljIwq7MisTNOTRMgTwYtNg79+sOrQp6/nZ3t9yUiamBjAeotd7f+TAw+8yfx/5yxPw4u0IpDs+ASW51UBWGyKbHSOjLdnk2L7nceUJKhekTncAXdln1+qou6rvofNqYJGfVFAXf4tvcyXdRMbCTropnXTa9RQ84+p4xZ8H9nAZhlcCWgTeW7DH/1LJIfWul5aDzbxXYsRVc6AyMjkRAW16dGdsjzNGeZMLqUkpagt/9cx5IpDXCLL5hrgdlWH8I11OgUY3bAv/9gmyP1fCrHycYfBA9v1NxJPYvdIfgAlwgHEN2n2RtSJ3r8rHO+0n1ftRcMVIKRKnGANcGvqttd9NxamNw7EjxdEejFU5jHtdVIl/Y3IxxHnZBDgsQFeKKuBGZyD4NAxQdUmFDBRlnuYC7+TkNOSQBnqOuDk7Cz6DV1xzMS0wGqtUftSqCLJL6x29y8w4hV9P13aTwgx+Ti2pUo1BarlyNWrPH1t2elvgKz4rEYeTDCYaZiO2+FqyyhcT840WOIAaI7UViMzmLU+D0pE6OcSmJBOz9B4Ai/SaetbhLNi57Su7m8NAcvkAqbW1nltdHrYPNuWJepavRSwHGVkUlBeKOu383k5yKurpNFdbhSyHCB+LfsY1nVwT9EYr7IiJFXgD3E4GDCyMH46GnWjqwc4eq+enhTAkm0QIMyjYPC91Kv+1Bn4OcPKk1VOeEOxMHV0gEi0UjLQk7VrQbPkrkRSWBEjbPkAnvUyIULbogHu9Dwu88o2OeHsFeehAdS/rOKyx6nWOYSqs5OjYnGPCCjxr6y//1vn0bqeF2n4gcEuZcAOI6SkolvBJNf2PxI1gsvLhkX5fJtKRf8WumbAG42Rid7U5JEW87EwqUgKB5mSiiW16vlmIsSiyLsXLmbILroETWmqldJei3rcDv3NlcCKssXVva507oMlFgmLpLRlnurlAJVxjF15pa9q3cpGYoTmE2mo3jjO3l3PUXJvNtjNIFgqRz/N9ULTYt09Vn8KAu2Onu3P0GsOa2mErfn+mbEqrPf916ErrPV+vParllulptBVy5HUGv6hVRN1hnIjFNi1tQiDlljeUnb5fL/rP+/zGDu2hagElLu0RK6p2tVNptZwNg8KhwUhd2pYDWw5r2syJoNt0UMdICzuX/BDNw5CrFk2njh9/2vIIGUyMSIWlf/ivICzzD2raxjengDtq/PKDjDPdSUU2QwGT/kbF9Sm6gMOu/XbH4M9nEM8uZ/i8PQ9o1E0te8g+Q7PPpUg/qTR4QD1Mvvo4ksso0fA0IDiXX7n7yBCiv90uI730xZ09J94SsarPbNpa93orilw0JDnJzJ/z9gMg728lj7zyS0Hh0Fap5nuggOQBBjWdR09K71WAd9+8POesODgSE/2odNQZGcp9QFiSa85Nlmiwt2W7EZcKd9CsmkWHzAPPNvrBkUf/nYUdSZfz7CLqGZBXkfI+ga8FV/37k7+GVkEJ2xng19c2Ftkokw6o9DMzxxcr7tJfOoKlbkRgG5Z8MGr3Y1I/mdVxsIr1bVKDjtp2tnRYkNUx4UxFbmrgwTtRLnfvNjVot9aS3dKrNe6vSFJTlcsCka4LeqmysORFWXBDmF2Lwv5zE7PqabXlAc8MM2ou7DbKQ49x8OlPiVDqoxd5086MchyJ6eZvqiOQf0pP9lkMRcYLUih8B57dOq9FcLBbcGsRu0mXTuTE3Fli9ZHah1BjRRDUCEm2nW2uv0hE6wOocgOB+qj9M5Cvf8y+40mQg1BVlcIlmNtFxIzctkC5cOEfNw4qAXHc1Na9YV/xxTvGRf6zGTzp/3HW0O47KEu2MC2iHZ3RiQXSqK+ehewjI6x+ecL+XgbOgHqcn5PjprbZTVAJXphRTb73Xo2EIyDF0fyGe06t8thd2T5AOahyP7rdgocQmNcpe/Jto/3m9rzXr01eU7HbySmJCKhYX5FXMiokMDDQ3hxVkAzNcW31t2YVk17Ojk08mDer7IdLcZCeCkLmVe8obPXuBfN4gFquLnJp141C5W6sV4j8wsXv0XxiDyb+iHQjH1059hefnZU+twcrZ/EWzpWlaCRBcPFSqw3/cpkfpTjVb+eHqqZt5mTzSlY5OgnrqB/WYy3hf3rST8coyCfUumnKldLY0fR7RdjHGoTZC1zJp+O2MllroXp9tlXFkmrYA1iWhAGWqfpH0IKSt724fJS6j+egY2TL1Jo8w7U5HzWcXBlTi2UPDVSiUClyhCT9slm9XhBHZ3Mxr0Zff/LdUDp0Pct9fadYk+b10jvXNK4UxkjRPnhVWcXhFVlFbH1lmC40sauWrajIGcL08dSoDhHt6SjQZg8QhI0OT0jgGjotRfgxcbzGqm7Veq0TgqoKpTb6mmcTHelU8+pSVK7hpTG64gw/dfZOws/XAnFf6CVLPx00G+X+Di1I9t2QvZgootRqhsqUvW9zg4n8zw6dFssgouxSQkovHcFJj/llojf4emGrDib6VKOwp6EsLj+Sebv5se8BIkHUvjJlDEMVnjX3W89Yi+RrvU67dfl2ACINGsyL5OfSfDnz+WpaE5VtjQ4B+FBPQ8g2nY9S9Wtz+G8JqitGp9XnA+kbEKXFhCHHotQxbQxKHp9qErF2vGpny7dcGPS3+az4G4y/xSqYCq/b1zTd/jU0jda6R8rBXBtUJvtDuyM1JevCrlETVo7jl45W4CYLPZmNHzGlOrXV+yqFstvW+c0oubT5rmb86PH/YX3yR6tHiiEUNi8X0MM6ljsk6OdGrlRTYnkPmuU78mZU7OPC/mJySMfZgJHt6ry9P31zt2eVY6Ekzx6eNc7GneMPh54zqawD0BECohWdois8tK27UzfXYwz9Acm8M0rDodsTf1ZXK4MZHB6dsCET5qsYqjsGe+gm9twdkb79K2buvms2CCgpTYPAkpx/s6DYuhupvONQhTW1GRhwa+QoIvq9xrHP+ls+cXZU4e+oyYMRi9iWF2kLx+OC98ADhyCVAu95u6jEMZpbMbAz8hE1Z+Pf7N6Rrfu1nq1tmKYr1/9gA3jHFfP4PSvSo9IdrwAk8u+AkbWSeObLEy48tnd1p1QkjWV2LD1gKNeVMbNjummea2P0B0bWmXXraHQffpG7UMDVegKaU4XnKGt8VExHQBGhYK42Icn2PKw95RQIYjcfpuvdcxNt0WQ7b2v8MUz8mLuV21kOC4n3OqS+w5ZgTGfh3w/mzfmx+x0zJt5/TdxKTUNXLHSP5gCMtefTfkd8rrXxerpkbhVViWKOfporRv9lAY1mWcR6cNKZgBHhRAZ5ltHpbBWbKYkuJbWBWVi8ma/nwZ1p0fj9tKRtBkZpJmaJBbYWZO5QVYKA7SEgazJLc4j33T7/sSYlTqxDO6P+506sdqAGVTDswsiOYIvqHkI0uTViFHjDgJtRYjZFyqDZs9/C3FPRUkGnrIwGS0pSOV49Fy154mq/UMrDHa/W4DTRMkHSeOksTtoVrwJXsZfwLEy4oKZpf0PFhL82JdITTv41jzPuhLeLBgke+36y00MIJnsnH58mo3Hww76Qq0CdbqPMhHYs3EaOPQo0+PNrtbC0HrD6qGt/s1PrxJxZOQCrgG/s14OEnh1LncvG1AUKGjUHTFziqyVuyMsIO8KH0EBKrwAAYytlGYfLPcPlLOwNqWO5uZRmps8WJhdwuP+z5GZtDwSxbnEhOA18w+na0vyzEtIEUg4qh0fUjBlgt6fvvNp0Un9MgYfxOC/7QR8xhRUJ8XPyiNYxhpZu0jkMYQv9PQlZxc8eL+s1KYHFk0QgRHubG5U7Dce4aQxXTzlYsXFRUu8gTD0L+ud3vNaQrSZGP3LpAdLK3kp9al+DkR5muZ3Lm+qAg3kVoKMVbqLca9kbIsCzuOrczhQEA0ZHVCtAzLKBu9XbD76notPmQ+vjPAnUrqRoWxkwTkSpZbXdmxA9w2mU1nf8PiwqwQGWoSH8ahxWNsPuBLCGAm8jTRiT4rLdRyj4khCLnmc9v8/pj0WMDnSn/yIfR64BxY8MwW6aVQZf1vFaiO7wri5Wmy7zrExjvQi5KJXVYSDQ8ZdDxduZB+5UP/TCTWR51xBlRS/m8vPV9aUCvEYR73kc3W8V44K0yFzf/EyvQ7XBjTUYeqLIWbFpp9okQAOroHsaOYcCegpFIlcjcAIIvYct312rZIr3NymqcrPHAldkCWF4xpzTzV+M8G2CfHAlF5L5tnz2WEz/RyeYgPZTl8O/SGlF/D2I8jFv3ZJvjLoT9n8LiGAQg4+rBAYeeeDdUJ5eV14CzVexyrGX9locrFnnzTQE6nx/RYSdVeenS+QX5BuGGYzl4WbG9nw78mb8qeD/wAkELbcDb7Jpow98TeoiCa3oFYmIQla10HGJSlECl2PDGIrPa8YZ80XmblPzDqKp+GSg9/A6OhWt872sVTBa8BsYb2o9GiRWENMQPis+cu36Fiu/MRnI0Khw14wzpvzD7Pl7frYNDlKBcuyJ2+QsauPFxgk7X81ziGFGAc1Ec70UbEirh3TD2IyoGWxHvJqNYBskQwzTH/93rE7SDadbTzR21sazioVIOURE2uIsUaXQ5acEsm6BQYhNh7seDHt/wKBSU3bJnHMaQcLjSVGIuWoRdXvOi0k6i8/RE7ujPoanKI33ix/IUZ4osPDg3VRL+TnW+vB42QHhojVt1wUB7lEpRmGWmfWE4LNjealEu8PJ3NkOf/W80qO0K3FNp/TMHOAOPRuL77vzQQZ5iQs+eiLdUkFnEf2QSAXyfAyF2MUc/Bcbn9snZeHCKBR15vUpCAZjS8ZccGiJzYFL/P2mOLM9XG6W7LQMuO33cH9xXvZknhHbVxGRSM9+XXk57u5kwYyxeS2lTfyVAf7J11in5D7HPLDxvPh1z8XUVoo97X80D5H3KAvKT67PCnq7nHbhAg4rSvzJetDmnU1xSKirmGZDp8V5sR07MzlsIBF/IU+f/vRPYOxC3W8QlELN4EI2GItwFqXr7Kwg+dfVLlB92CRLSt0sAMxr4yCfq/Eo0TUTP/YC4Mg4CwCs7HCF/WrnYtUTnDN/oGJm6FJMHaefTJwjQ4oblqykOv/cYlLPqZPALwovdvIUUUXihrVN3QorFKFp0hRN4/RtBW9Y4dPUbOn0iD23zRtiFv/3E1r8Jc7X5jsoTFhK2LH7c2QE4nOu/flRHpgK+F6DB2NbqhbssYonPdziZjB1EUdYnH2RFsC1XgxZBCZrkNCtl5iv1efrgFF1fWH/HyfjwJCIYxsZHtC4BmUNbkBzD/7CDK1wqKIhU2QAaRQ/0RYQZC1DsFPtsVGNzTaAj5B5GAWm2H9UokJFskR8fGizJ7JwEfQ8C0CyaqlOmYBj1pmMG9a8AR4IMXsQAB00lc0TP03Gstaq5FMUgr+Ft/zO94ZDRHtdGTWGD776NY7tsL6lQ317RqeSWx9KktQFo02/WKhC9GsvRt4q7s5MlQMxV4SBAKGKJp+PGnlwyiPkru0RfwFj4C33GyRPL+QZHRzPPG4KXaMdWfmi7KmCpr/kFRc7bSyrP51CXYlbmUt9gI8ETjD09f5yd02JcZ8ZuPnb2bMzCamvUjkSatyivKLboDFj2HnNYpxL7F+uuZbCwaEa0BfZz6Ws6QBPzVo7uTeXBO+K3p444spQvVZvgSitMJaJys16dpWtuulEOPoyuO1QkYxrtksdg3wM2BmE1FWwoOM7ZODrNA4IQPXWIft0Ofj3nJIFadvl9utWCu5aNLGQqN0ZhqRrIh0UjnYX+Q/Qvq0SnlEIkW381EDK0cF35Nc5IWOxnY87SsnwlM92dk1SgDWo1JxX5hrwf9ZzIFnq2ow3Gm8koHa5Z9PybITnvUfN96OLxSEXxKuxkHeTvxnUeUuJOebjMU+DW6XzZjwY3Ih20h7EXMpV9WCNQZpEBiTn6QhujPttuJNel86ZLJRUyFSwxlWYOkF6ORNvbZBCQT1Ov/LNPE1zQcdoKYFZWKC+m5k9rxOhyRa7sjxdAcz5lc5Cg26+FM4u7OP+ZxTCWO8X+9FcLAjl1gIcALqT4TrLHijxAdJ2mcyPWXdyzI/pIWsVQiVrNoUi4UTO1U5Du5/7Um5DDA6mMiYoRDxXAvDNNRmR2b+Ac8KUPStyhJzEna60RVrFRUEK7iIjRnwE6U65eyStCwsl5ZAO2ajiLHUwkeyFiP0t4P7/nz8APB/gFO49ZKvcmEqC0vTXwPZvEiSlPbbVB/2oEE6AK6bIRtA3fMD9+6H958xIDk2y4RqFU4R5GLx58vVeaoWi8f+J5ntfO88/z5nOv9j5/rnhKzaIyu5g9qAtCfOnbIPNVcAgHvOCyhiHxLWSi2N7oLlAUOzbZj3VaowR5CSGZM+a8i6LNu86DW387CFgKBgMcsu5r+SbkgBb7tjdcYg3BzfMNgqh4MO5FSpzNaFXCAFPvHVMit2AmyUSRawxoVmDImQCZ6IAazLD/Y+nOh6341fq+IKIckiQz4GTAiCLtnmIp9nWD0KTzsNLD0K3Hxi/PxRrqJrmplquGhyLlg1PSkL9hXdygsdAznB/CZFSkJ0KKHeGRijvOelhIbRkZSv2i3Ks9UOwhUYYjbDSRVWUfX7cxeq/8Ju2hk1hA2CthxejdZ/c6mkQJPT+ieaUQgVY6Rw4MmKiXm8iTFc3y98WCIFiBHHIz58V5bhFi/wCP7139QY5jqAsSxCxzpKFh+xGcoqL834GWLng1O+SiO8YMJYsKCWC6hHaNqfNpWDarTfqo9B7upygMavzlFF7cgI1FyaD5gvqVP+iMw76cYmWoSFrFiTXfPFSP8nMoRGh8G7IENPHbH/XgaDsmFIdmv422rvdkgjosvZwriRfa8LZqVCoF21/KAw4igIurP2GgeStHGfu1Y+ZiigTqBht9n3A6z7otZArxs9FHmtg6PNFc3OhORh3HDzhn//igGlBrHWhs7uhDyojnEPpfF7SGpczqZm6r+O9W8GIpwMCFw2axTjzhT8GXCO4IkXfjGUF/BMcIsuYMHkelpQ/XtMbCggQu6zDxgcG4dHQ8F6KP05IX4VIJtn4sLT2IHdk4ATDNjgCTGCOM8/HVZ319+0TH3XgYNN3K3Q4fktL+oXMiz2kcycUYeuiCWfXP5GwgRmaaiOxEJNwxcrqKN0l+LOYEnQIoa/ja2ViW26xBP8DUqebQoIAoXjKAuiDVB3Y4GAWcT8z01HX9SfKDSeWRLL5tluF/cwGklCjRrrP1PgviCGQqD4ZY5t6UiXG7M4xJhde84pS5Dedka5Ej7EtRR0sdrQMOw2D28B3GCkLH6ldbj3HiaVqWz6nGPTQDyRaT+J3DxJXE88sbpcUGiOKcuYkhaqGGdu60LFvMkJuZ41tgR2PVZs2gHsYlLJi2c/9sY5FfSjy1d8WhiNkNPw8jZ3sp+qJiQRPlidQKx+HJIV4UZo4VitqEqabwZNj6Yn13Kqy3Rk6+58dfR6lcW/sSK7GvkCV8DLaOtgCB1UeDvY/cPzawabJQDVOHX4lFmhj+uqY0hwHPuqpt5FA1fxbEtXFP0Ao5CMAVg0xxPPwXfb+ZGr+tQoIfFjmFvIfdmOEJTM/PpqEuG8N+/FCJkxxh3v4OE9ALW5jHoRXmBYUmbZgGNGGA1MLaXxD9H/e7yC2ZbUSvNqPoMMCEEE3mPf9S5zK/MDSu4jKkZn+Y63fKl6+Z43uDxrERQMIPTDsiSB5GHFWLesw45JenMYsjaw2k6SRNuJ4Ei2Ob1BIklXfmqNBrvLZoH/RCBIP0OWxGlfCgsAleqx4vnV8mXqaJ/Z59LHfRluUf7QJASreJ/O1xWMlmfxe23T+xEaCjyTlMyWAbjWNuJBEn8/RLrsJX6tjJTXEUYYkrW4V/AngFptEsvyPQCZsG7giiVJv0nrFx3160KsV20QHb49bx6QxV0Pue/mEB4DKq5OiA7H62x7us4d7yOlNTvKkco1rhwJnfmR5tSGeojmNnhxNdEbeHbPkG0sIq0+Gc0ImBeznfYMjP5xOaBFaEfDS6IlknKz5Ed324S1Hf8UGrR6W+RtEplSP2af6eAwzixOuivB5yQq+DuYvs2kXovvmSjgEz1Xwh+CyCVWNq/0QVQCFEUtTkfqj7VyE11Mv+G8ciOs/TRpU6l85cZ5JWqVGJu9IARpHiwWcNGZIvo3tHExNrR5r0VDjLES74HOXeRibrHrAG0pzZ1uYKlzL0yBdWBDR5kiwn2xJUzP+RVu+/vARQesoK+kFoyhoqH7k/3dIWWPjSqP9Kqy+cBNjNMkGXK3pfvayF0Cptia4Ftd83KrSrGLiOEQM2WZjhGzCq0P515uTDns31A+zPsQiXc6QvdFTp9/6rKqikCHRXsKbiRsZGZVi2ja+1Lv5pu2HsFSvuiSlB0w7NXO7ig8K/vM7rnr7c+9UIJP4xtY0ZeqcSTs45welIeOfuDcZheTCA2/+xxHm0WnZt4us5cEcy79JlQuZMw/uAwZTxVyHokI2JLlzY7YpuYVj4obKc3enUZkRO42+ZDHbqtYqj+W2FTdtI479yzKSmA7mebQ6ePKNZMyasnLmqk9J5GDc4W03gLOVIAG71t6Z2EpD+hRZ2acDIR5ym682SkxelCapHePZZhrkpL1EET1cyYxFyAPydZuwAfD5bpw8z5viepgx2SyZjaEQ8H2wil+plufP66F22pV1tnl4PXtdm36Vt8ZwYwnC5usc1hh8x/nv1nI+Rf+PZ15/Gj9Fj8DVC9t+30OppH9KVrCwrNAPLpcw9mzWWtM/O6E6XiuoGtwIiA0My/juWKzOhCTk9lELkaY8lLXIOxa+89Kr8vwHWRKZyCsxcFGKJbAhYjGOsT3pIZGtKu7mfq8bBuzu43bETBMaRwdBnPP5NnQcmBkmh4sUV0KmW5/wHtA89SHAWtv3muE5WPZz69xWCtJc0YkzCU0YDlhu6eiZ6vXnS6nF2wMLjDiwTm0TO05S/LysxEfbFU7w1kLwbkpaA75ULR7gDo0KY+AIxGizpXdGB7rOkrmgAwMSFhAMIwDIq/5tFLKZTxIvF9DrCwczJMFqgOFJwXTVy6ptccHEK8diZ3ttxu9gIpoWyt3c5k3O7US4vi/R5zDAR/DFldkKW/0BGWIWFAppg8FDs4uNv/fkZfm81k0IT/hQJot8ErekCmfOhKk80Ni0YA30eX8uF7Y8jeoJG4qJ2ixNaKXaHisL4Prf31o4fKiXMV1w0vnhdn4dff4HLntTO5ZMbktEd/AxbKUoezRH2KGSwht3XtnkTVJ5InuiIk4slQzStLKzfjP9TlhSczndPHH6HuJw78fNDAnl3tueihc+coANv3bKXrCQd/Ov5/iv0mujcIPU6eH2tABWDI05XwiQSuf4InPSAU0DzbiKf/CRkGN9St7p1ZTFAg7F8dlMKvd/Xv479fOxaJtG+BzNa8MkmVlHrgJOLc0XDNxt667QW+w41dX0smgOuPmWHIhDP3sQ2Nml+WIkRrPv63A7CPe6oFhABTg3MIY66k+s7e82E1ERDiD5rac+Hz2dRiDmcUSad58/fyop+Ayw8VbBLP1v9FCsqyUoxjjCuQcePCGXq12BRDB+RxMXarczS+PXXLywMjPqLU/n8TmfPIipkM7LN74V/sSg1hCB7O/FwYWd9U3zJ9hOkC/XDIesjY4pchVtNuxx4HOmXRxFZlbyZe6DcsofcVErPnaENoLqKUjXGfR8PZdEnYl1N9URzdBg9DsXSSHXwoNs0PDVn75Ln0Uwl9iKiTN/DZZF/fbyxcUvS9V9Uh5+2Yztn9IfaDkGr9f1BaC0rDuloDhXoTBqHFeTY6i2n2Rce1Z0YgGTvMVrTFZ3Idwp/TDo7LtKJylA691l4f7+otj3xOHd1huuFIVeglGLA0/IOYNOPV5ccz8nlyGqQ6R/pph1qP0OWlOH42y2FYrGP+elkccrXfu4SxaBiIoalrk7RiXs3psl/Vn7Sn93omIzuLmGiVeuxUcJsButiNF7WmL02EKV0RD6gMxWHGSO1WzTC5ZcWaoFAJTzzP/RSI3Nzx11bL1jmpS9zi0NjJY/p2cCC0b3x8xThWnzOm4pSMZ6flo9a+8he9VYC0hFGc5dzrqjKBySoiUYpzp0l0fITZ/IZgs2ktLX0jHPUCTpw7pu71c0tH66CmVZFT8aRboZ/4jDDPNuOiXl4EN7ptT2jFHfo2oAfdFF8Jzi58wmMQs2ZuKjGaC6ZJW6BMZPKQ4leifBPIDAdgB3Opk5JVtBAhCOKLWdCBN41G3ByJk3NowPcGnrRDDaQ1mUEcgVXOouqB94XyOK1LAdJwVE7AF+uF6tETBfCjsyXL/MVuYvKALWP8st9P3LFzZyk5PS+Tntqe5pHBpL2ZoKCDo/cHkIWJUGTvk3ZhLRdlvmrB8mQgzf58SmO0wukBs36Ve8NVmhkmN0Bf/xqONIwoPqRXgyjVGsZx/IDRB+acbtzc9j/Ih5FbRWR/d1KG6ZVMjPqrf4iFHr44+QxQKBqetRsFSQxMcdPkuqMTdl3vQNRonWwroU7CLWtNFCkCP/NCqojs4XhNkTVxi8kKrRcYsuCYccwi6BNalOZQ++F/l2Sbh7R+xgmxdvkpq5vL+/ywVK+b9n8fmrRTl6fA46NDk4J6JWvLWiVQsncH1D1hO0Coh/1uwm0dVsNLS6W/JsevNWizTUkeKdB1ihLel0B9fP4dYErx1/hgBGVCEOTM93GDDTrNFTMQrFYPhSMhMFSsbkKuKVOU8nHWmxBeFZVZyen/q/BTNhiwmB38X7p9AS+Ra6Unh96pAwmcEFhxolg84rz/Q7v1iaxR5Ja3gP5sE+3Kr7dybnkOWIHHy0v15Oxx5WK0JyhIcIR/rtizR+waVhwGGi3KvIMRG4f5AEr0uzMuSusWUKPlpit/RkOHh9EHr+Zr82VctT09Opa1YJlmLyRSKoxOfiPnALAK3aX5iAXlmHV6ZG8myQTboPp+m2iUPnNL6wcjApNOSeZVwqEjbFqs/ZoCGHRwQBaU2NtrMJB0WQLU5sw8NGMTPN6eHTjTLKSjPuoNURFjNpRxAquqfnqTc+IpXGQuDlm88az3s57mb5rioy65aMMoH+90+idrY/NVMRdQzO89sykaanMulw/4rIynraZbAV84V01e7sRRjZ/ZKOVf2UpZyJPj33mPdj1Bu6kOPSa1a585s"/>
  <p:tag name="MEKKOXML2" val="NuFxAlvVoujYvK63uZrnBAmX75b5xJgGzYlYlwQ3KQZCBa+Cd481X/YV/ucef0gn/FgWLuwm2pTdIO0ExaxCoKJU4PR/Ypo95ZN2/fblgIB6gc9LwVcHjB8NzocaIgtdqogtXnAUXHUVmMYQKlsBU03HTWqbfyAIHGroiu1Ig5Vn9wLB+fQ97FFl0MOVfU0ptkRwHsWz2aJfkLa2UTVYCJtVTLElpO+K1qkC/e/tSAK2yqNn1RN4UHqpAkpFkSlRaMbxkntxtx5GjUycSWQMFX21wsFjPL/bsWo2/Glh0JroY9AN8M3HokbjO7gVCSMSGTNutmTnmHUxc0723mxP7Usq3K9MIQBwgTjjXPKaCKzDUT/eiUgDhAxXTz6vt2qwHR7YRnbFeUcIJAvk7K6VlRjcig4NZydR359oxiWc2ZoAhlOeEW3CVAnoxffDr55TehOrJd7ifAzrx9EJFM6VfmMbfZKonwyOYFprs1usMXbuFMa6K+u0Yl8hDEXcWJkHft9ULy2ldADxskm1obYpwkvrBzq4egg/6HLcz9qH7LuM0RyDX9nzLccTiQ/S1OUq+n/fiHbIo2cLQ5a6Rm0ZBzyVaXExBTZKwwvpkDVjLvPuJtxUAYAmbSpWQqRd4Y1j10PVK8Qo/PUt+dpsY4cqxBMMM37SS8G4mfJZely6MD5c6ZVG6SXH7XET02PNdXpSaMsFQ/SmMay9Fs0znDwIi55LzAsU7Pk1my0usqTdPDqGYVUmAH/SHKAn6dh+LGTj0Nx+tT5EH/SF43IXBzl8tB9XXOtrstn1ia8GmUCkWkSQLur03MdwUHlZPRef4EfnEyiRfmCb3jwdbBchoeTdWcUd3YZhpGivanzl6+z8ZjuavkG50liXIjXlcofv9ovPi17XsOjeMz0SkgPlDpSD3j/KEJYB22Jwd6ELtkp16ufxU7PwZK574BGzLvCHKJXn59uMx9WdTXNcURgQ5P8utHfbdr8Qu0p/TP6bK6zd7famFxN3nud/4sLzsEUxo5yeS6Usr9xquEA4gRc6UbCWMB/4/aok+w0hVtTc4oZYW8ZV/IHra9yeh0xtOqppkQSGxm6r8zaVLWVw0bvaukG4AlsXHuV9JZM1LPnjJaeIX/6bQFqk/U16LGe25iY/qNSgV15OUedRu7I/sPvexVeKrlcjboqgqKMS5eyCCQSaWp1nvxKkAIDxY4bp0zCs2opwwl5baX0m383GTHfWqnw84Uu7bFqDGWgBFVPFEazM4zmNOTWGsIilt1wBnbPKATE+KThHzynxARN3g+SYrAoLQk3pjb+h5lNbD6opJ2gCP+D2jCed+hBhM2Nmi7vntJZq+inXJe6H1SVZb+leHBpl2ihPei6o4OTv+AaoXMf/hFbB5BQLOmDlqbE3G26ouIQdLik6p/umtRjkUNG6bk4uHq1CtVeMkKePI7fQH3z+opK8yTP0KADwQ9+LNoqtho1d8NSg8IWkiuCKghDtuNbNIiumMHwj+4c5IAVocGl+XXtEGxmLaBCaX+qf6g0Xh8ORECG7EOxu0JfuAuwzrZ0Fq89nq6EbLHoHUXuOrU00bpOm6Ti7hG1ADsC6zYJCQC9kxODQtvZqjn58Bv5ukV7ifrtmaVsahlaw03PYl+arY4wzGJBy1wcBXQXmNwGUCBb8bqj85J40cHFqdx4wRA2oWDCQDbAn+n22HPHxa7hExGq81JMivgdJTaQG0Wn4f/8XGUaGQ/FVaI2VqEo/7oRygbgoX+3nb4QUcDk02/SC//+8sp90O3WftXat5ND36k6SmrPDPVc5w6iyUbDTfob/ahsd27A5GyJ3sv+8+nERDrRp1D+VEAfyLetA/SwQYAOPrHk8zVASZVgA5vk8qlVbD0GS1IZ8rirXJ1jm3xNdC/abOHM8X/LzCxtCtVXx2QV/MHvbbb/n+O+5BllIWy6PzkQpYfuXDWnn9W3IA/Ff/Wma3unBTDOiJILntYGG1CW2ASzG+cH2FiEcqkKv969lU9ZDXGzmzrNV37Qa+nsso7zPgn6AoRK2tAAvQOv32Fq129h4mEKvlRI/PESEebYhxVI6okdVyYG+e6xpVvPSXUlMbtp7fjJOuN9srGE/33ipvJhOYUj+1G0hhWQI+NGt5L98Uux+OCAal+XwsXmwuYTZM8DCVmwLsciEjNDaa12GpGXIoB6TUk0LplXAu1TBfTJFOOAyh94I1G9JFTYaxPU+9TSnhabyJHnXLLF7lT5xlnE4ksAdf7tpyw+ntv0tAY8WL5j/ux8dSQbJZEJwPcxoCgbXOYmwRmYfhqBBVFgMRxbtD1vCJzEg0izXv9eXgjouu6WuDyCk4+4ieKAda3h5DNes9b+VoMJ/aM/vg5sajt3H+IgkDAqyjd0jKSueWraPXFWx8sjAv1OUxwsvtpFz2/dRFJahztAbIgvlWitmXumZjpMEzm6MAEyosOi1lGOXpJ0nwMVupb9nuUfSEa5KDGbWo6tW2e60KJeRL/9ZvCEZzCLLqIPMlD0zaOCQhOE+7JkcdYAalGXhKDFftd0/voEj5hyr2zrYKLAfl2NcQJGMEQSGm1h0mwl+TvCAyyWzLgK22EiEwH9cVzXRTvyfw0zRUXOdUHK9EHlm39u8DlZoxqW7L1orF19XPBo1lnetIgiOdlT2GfWn21ZhU1cWvqJF02h3FnKW1Nl9+7MnbI8KhZYwxUxwmQTsp6NDeuhYCS+lBrgAR/Oeu0hXYY1heCZ+AKDiPk3Hc1OWDR6hMGAmWBN6+p9BPvEEodgPBw11zTBoUO8axZMcZpNaYGuJxp6C1jVGAmx1X/so3Jtud0SZ4OvPkfZRrUG4mIlgHXGFRQPX62l4isAc63Hoe7YgBQBUQHyxDYNjAbxKHXEdwMSG7XdPmcZ+R1SszizvTjvAIiJ5OYTChKb5HgSpwvFAPbQVOwJyepC974nG/yxLI+qkMi9/pA/wMn1fdYXXDUK2vB92CM8qZtx4Qcw/ZweLQCC59Ha+RqoZ9zDkjFSCphkHnzMTHehEqEBUaqBnqJCs17sH6S8iocSkZ+JxfDR4V9nXc2zkiHPBxHjheWN5escFozJIa1sfVdDCqqZpyktCoKux046aynamlDA3rH/mEfZ85uumuVeSPKcI3KVq81YS44nqw6FqfeHXFM41hGXY2TWRo5pM8Qv8O6ewJ+v+39bxydgx3tqGCKnBG1X3bY6KTHugkuF6kxIoVCWZ8yX8LLtmSJOBlKZ2FaNIXEKjtmcYa7m2SiQqq6K7rNvB44sBpO9+8B0h+sdZqic7jS+Mv+M5Ral1wDIdsqKScT08eVlkpBJMYKyMawcSsMSdVMSsfJGmlWB7JBde017U1/db2UnqXU0V/6eq/95dtWgIfkvcuytUpUnu+PVFI5Y2OgI67UuLNNqb8qOOVmhp13jrSYdN6fOjX5uLwN8EizxeH1K6GUPdmbd1ObYVSBHz/Du2DvsEYZFgvuEoXlvHuwPK1rjDRnudKaFE29PzFrQBurKGFlcpKcEsE0Z0FdzAsnjgUw6pmIe1bx+PeAvOun+wj+LL29Zxa36WNG0Bf5Cbrr0STOMmO9pqzSa1fD/BzM/I/Re4iAeJ95xKiDMDx/95cO7CZ9S6CDpxpa7qZw6Dz1QOsDK5ebXeaFwZDF6+3XYHZSjXFs3twE/eSI8tfWVT0+8uMQMHHxehIFIJIIVjhPw4katJk0JnUxPh7IaqLWTs845b/ll/goy+eu8w5BmPxwdctAVDaQHgQeb9n/ZYJ7UddkGik/iIAPL0w8qDlIZVm5lllCwBN+R/jc+hWCs86rbDhVJ31IGCb3rGpg8axaJujzql/Zujr652qq1RF3Q0hOHMaviQFVtOabn9f9DSvpsDgyNrqtpKS6RFJaEawAxYnXlbq3W8XaGKBfs9fb0JByABKJ3FWLzbEvrUK0vfWWPc0+HpmZcXbMOVABVI3S5qJXZZY0t0S4vYiGfK/82K/AAVAgdPj6Yscnq9tiOrXIP5gv92XQO67PkGg+FNablE7U9FGlFusjCJN5LCnQyaaPejtU2B2UQLMqY4T2oCw/7FGIYH4k4S/fZTBcm0TOHiVFE0egYUu/8yybU6UqhlfQX04fFlDKuaAE8GD1rfokScUV3Pvs0ZfYus9Z0yY6ylP8gtgLIx9XZt6r1BbA3KI8CYGQ7/LErH5b0d8ef9bg7FWn6Yv5jdyUv6ajebV3FVmPx91SEeNESCoK11c+hTqRudPEOvVxs465kUrieV2PY0Wy9CiKoz2Q9tQ6IjWyI35cnr6sOFmYcbHNmNI45J4/u4sCF2gf/XtIqpXmZi1KO0arOX8nf4cWkkZpD9LdBqE0tJPZPOq1BRFre8iI/ri3xvNpi4HgG91C6US7PhrrS7V1ka8pVlAbO6Ccr9nOsfh46r5QwmS+0O/AImQDow0NyhZQOsCaw3OAdAd9CIn9YUhAfPLudvoLwkcpwIUz8NU3/p9TVGulbquCY/QNtEXqpXkgR3YiaZqu2qHpMhsx5blMZOl8ARb8Q22YZYhvAPnOKj+fHqjtT+AdGcd8adBCsdpTqnnVDkAyXBOUlhfTtfRkwJ48tkElsdsTB9fm2M9JIgzp9FYBgA7VXNWmFIwE4fmJ1Z9qOAMsFX2FvtYKiVa073k0T7D43QVGLgJcl/3SOy//Qk2oUMBmXIf3fVpy9BwvXTopxsCbOarPc230nTXfmt8bkoD7fcpWZigHxO821nROiLeUnLvCQeKa7ftOreTM0Z/P04WSIGtdFCWjY95c5EuHN7ijnCjQetNUCHZ2zSdlT5b94KsLDl1Sc0MtbyVs6CZsMqz4nKaBWuW9dXcVgThsDs6fH+iR0lPCyahl867Ju0HUODCUY8T/1s5THhHd7JtUAfdKvufUu4wyl/yVJjuf53mkmHHqGEj/SzOl80OUB5xq6mli2vMXBqFdTSoTgQF58l0iJzuG2tv0GWGhKltn/VnyhfnnUC0hv7eZxzN6lf/1C/JhMdxn5tfZgyRar2lB7sRtJmZz5Hw3kSXW0ayFggELz3TqDErPUMf1rqCiUXEbp3Rbhctij/F8BRhvNPRteGlnsX532j/k0uC7poKfg3jlIEUjjd6Ldjp/yNPkk02Gh1HpMOA/2wu/twQBJU38H6RBzDvFy8ep16vpak92dsibzPmGAb7Zse+kqiPF5SMjdWBK6Ie0/5yJ6/KhiMq49Uawl72/Cgn5YHgirepeHiVzdb0WvlW2Re60a258CfBEs6CZKvJ/aBS56hNpqt9cKKJfLwXvEQ8eCybS7s5DvrtBraLg2Vf3IULeTawWzxh5CKzL98/eSzABBt9q7h8MwBas8skliY5V9NoTOnEEwa8vkUBEojzd3Co1k2Sp+snDJDnblaNiKvjj5gmkkBw7I/eALJJ7T3pksIjqqpZIzSGYiZN+lTZ0RPXM1PJL18baK6apixu4aQJ09BiaMhLhHPvz2RG+WMJkNPozmY1CtQpiDSE3AaOXURZwt36gRk/J2HtH1oVwv0AsG/MzrLHARLKFURhQXwJAGYWNT8Cigo1wg2kqyOqJOSThTa/Eb5i5X/XBgEPc3nG/3xEGXw6ChC+uid3eORd0fBiuLp6/VGQ+BntjD9hOrkb28RYzMOnIuWPspX3gQK6Nsi9r5C08yt4d3Cb/y/Bs9y+7O5kfmvXU5X4fjGl5ch6IF+CXUlpUHowLNkybDy1n22yYnjRI22hy7dNIXtjAeDUEt6ZbNZno1FLClavibOhXYIMgZcC/E0tp/gUBa5eTawcRUNvaCEXv7bwbVikxQ00DCLI1r5YwdPspWrOU45bKJPkDbk1Hc7aFQQK5G5Ul6DJuOdas0LuQG8u1rX1NENRy6BRqlIayTh1ZRzzMazgMQhsUlrcZst2W5DX3yEDVADGuDrVOW+D5YfR4AGx4NJ8+Dr6JMfzIzvxMpkjADieywZFFAYufGPhp0z9TrW0wbRPF9GyATgiAHfg1dblRczFgQTgJ7B6qPRBAEN05EFkD4UaT0zpmDJMF4m8/RU20ef5pVDfcUoOXyMdGBYOQOO8fynFacIjThVxuDQ9CIdGGq3xlc3jrxsp6mk7NJyuBtb/wCJ+9Nn5jKdIoUSlD62mb65GPy2pdGIGMRV7/A3uX9zjZB3uN4UtdX0G/0kXG5jjvcUzPWUWFClGwVeBI/tstwPBFEtnJB8SoVQVb/Djtsnqoa1f7ivzU2cMNsojO1s6818rFJ29o9yeFFXV6W/7xk9zPR7cQjA77jKUU9voJrUxXeEDWS+NC50P46opDD4eZh3KpiZK739H6ZmIRK1QzosGfsxy5NkTmgfgO+V1KfZa4icv6z42egEXcHePhhqG0N2fkA7eikP6RaNNrV6UYvzXJUdMR4iwUvLF1M7BPr6WkJmoazuVflGH07Pg7CtblhCHqc4WWWUxAwYaxuG6bD+PFAAhmXxLbDE1biwBllnoy0lkTaRjBo/W1AykT8Ab04I51cVXrafcnKxoFMZhO8ope01+SGr7iUS62+tvGNdj3+2ILk6Dc4MPI8xXm+IkXDDBpJ/ooRpjVrVul3cntzgUMypPAcrzzXdwe/lmHJNtXkzqOYRYHkkhs/qOPP+jZLUBk8R8aXn2EhfptDgEEB1ONiZfgsvRtlzvuviVamvCqGzdZ1MfJ3T41Jb0w9P8q0Autp9I1YNXIZoG2F5cXH8CyZ4yKBSBo3aW3t/dAQ6agEM/WYlBxZBppgcrcHeHEwMIcZE0i289tbFhvwe7wEiFdfCSW2QR5Qa1t2wl+3kAkgZvCSMnTF6YVcK0k1HrUjSlUn16cf/U1zsGKocM5606hYuJ4iQhnvFBgsQzknvRMb6Fksn4+5W8FpeuXCwsxWGd6/zt9lwUuGbyaTyM1AL72bTgGscg0EmLF7mDvETfeBROQbtsPPyUIH5nDj8VbunPKKfiruJeTA2EwM1fKE7KLLZHB88B6GXcNTwwvtFp8c8j/JaE3mPQ2LtY9+NDGVzuRiuJE9OSQ3ojs4dqLduuzsfxTXHU+1d7vT8I6OdpfMcgBwjK43jnfpMlGszOUnzlgYFudHpwP72tk0MSHWfNyJMnrzQPTCiMMpfcVLTjTQZhEtbAE+r/Qq86/tr4B/3X+UQK0D+XlIwdmkEImCEuZ1znfLhpvUqBfiHXC4H8r1MNqMBPVIp8lwCfJTQ3XBqiksng4d14hIWN9Bq12dj9ihd+WIxSgQVyq/Lm5jyo+I7IHJ7JJcaTmtZ260Cz7sQReYrw2whEUoLApiyVBppQxpFWaouie2Y7JYaOT7kgIAYQyoDNt4fcakslfwEJqgqGg9WTuPmaVClmzm3+kHeiFdmKINieP6lR/LOZKuBc3G5owHNDUMMCDw+8Aj0JF6SagENnoDTGX44NQDpEK/g8iLTyiK9e90zyCW2YVR567EgNBP3J0Wn5kSG1UEU/rH5hq286Bu9gUcJ0Nff8OtfETz2rgDTF33gBN4QpwP1ZJTz3AigcF6M+xYa50sC/Id+OQBd0Zvp+3H8GWJ6dncEmwSvaCgl2lHtr9qBd/GNRDZxvg5QE1rm2nIMWPBJa0TOPLEr0VmBfljvBtQcBxm2duzInVzVTLpDEjzIxhBfwPUUeLXYviWgskJSkHiiOqUwHuKtNF4OJZjE7rv9Q+8XdhkKCj1EInYuZ5CTFJL9WQ1mwxpxAWodX66KSP25faw9zb/WH+7Pa9Yo4EAV9btjg3CDQ0gjSEgfwrdmRSdr/X04ejfuGhoxj6QJeUTsQOqJg7HCVSaRTNoxj3JOgYjPzZbkDbts5BTyXPYaXc1vtCzIIfso71yfTQ2D2d95zhV/fdGsSOXqFEupQdO5EtPSz8+kJ9Ngqa6jA4ciONL5vXIqB3RUBv9043WB7LW4OHmb4rsEHJZxoOXaom4Hf6gXa0wCWzVBCAOWWar1zXSvspiwjyhF/Dw4Ftqh//F08qPTBgXqFZSc06Ya/rtleSJHfuiksKB91Jc0hZ8riolYHz26rHzegF0+5M3dUH/alfPVx3vsBXRmmAAPcgL8UYNw6ajOCHjwsKdPgisRWrgMj/UbcQQ/91oZiqIMxUfkoJg53Pqcee8yvRVfBRRJdeloX2IFK7A0VyFeYrejl257ZQI0jYrZRQkZsxxA0rgBIUFsp1l5orolqbB9+yWpdv36+sJYoRbvS27P54sQ89/SyUHSvu/Mc7FE43zsLb5LboIWvlYHz6OBZEQNrCpJrIxqLcIhFIMIcyL2kU2VMNgFtA1vWl7gNa7KFss6apwQyQWXSb2u/v1bJsi0SxkenEVV8GOmxkC0gpYogZQqmqMLgT14+vzvw1gDDT8b5SF9Bp/5XAjkzZSDil2Bs1qrsiQEfSZx6zb/U7PXaA7sRaFk039QEvu6WC4aFjes9sjVBfv6xJPqD90nZrAjKY+PSxVDzzWjqqzssFqc786tfps/TVZT0jmbrbFsmBh0LR/GSuqUI+yO1fpQDJP3D/SkB22P++Go1mV4aAj4BpcDGoEg2PeerH/pw/QpTRhKKPz+JYB6Qq6kIcJCgCGd8X/n4cA4KT0ltwce5OCXwYF6SBbCI0h2NAVcfuJWYuIFomTLcQa4Tlw+ZeetK14JxxGbgvYQiGuwoiffirDuFCjrJ3EWiwc1yDUrRt/kJTo4UW38PnO9HJBXBiRXmPVaU8aEg84oH973fRc9lvXKYn+RUUz1tVpeuA/GD5YCI6Q4o+RpwH3b+c3ZZZ5efLU4ZiW+6Tla2C2OZrvIDpNsxBjNvFwkf/Z+Y+xZ7kjAYrimJyF08veoTkMbGfvKHAca6IpYbMsLRVdS2mS91BWN4jJYfLvzQ8uj2sslg78JqJlJHyPelzcsXS1tUrt/GukUuE3pxqTMKdGWap4ttWWLeVHK31GqbYNrpSycUh/wLe2YktXYCfA0Hbp6QBoAhZSXRr2qZI4gfhg/Rf67Zz/Kb/slIrd738+VLgJS5wtCafcZ0T7bldPoa1rAj1J2pnxF9vy91Gyvqo7l7jOl/SCEpGDQsUDEPLxxUaZQSdSbfFYhrviPQ8G2cLYJRx95wOl/batHg/RfIkz1yyuBUvF6KLbQR3utPZCbuktLXe6FwBim2lwIeIRWzSFAEF8gmf2LR3DGyV8hbacKfHp7qmqEhy2eyzoWsJnPdw08X5VoFF5hSBHnvKU1IuwwIwFEM6eDI9dtSi1MFnqbNbBbEbrBZfL958Q+QTSapF21rnzmPvqyjBaaeU0RsMfDwbGGLB8f9+BYX3CVO4ZrnPi9sDetEnWFWofsK9ONBkKBgbzhVHln6jboe8qzrr0LIUBXkA8fL0s6iXd6j/IaqTfE4xlKVSJC9XBJIoF1iBbYUP8HpZjkLweTf9E6dpwWrV7xXmcD+WwbK1B1PvynarBgX83qf9nhCktGu6yAdrSEpHxUK9C+QW2LxT3irx2qYS82EoxfWidQKF7mBjoe+4/WEQT+ARKeTk13yywez0ahJ8EVUMu50FrOJVGi2GPLT7bi0/yqL6MPMVvQqSOy1dOsIymla83KTSPZvx4UnG1kYAQAxhixtn4DzKTp4j2VUog4OojLIO6wwQEd9xeoRFAoe09bIVoEgT2R34Nn4DiifBXc/uuRlZQtPsSovxl7jQsGPq97+evdWsYSOETPxVDI1l/oed2UNlENHwT2xp5xCM4yCmU9DTOfAcmAsajwUF+afMaCIdSFOQeiCQ5zrb8iZlsmvo1VIU/KUez+cD4/sMJn3ONUmPL7yUK9LnB1FOa/2G4Wmdy3qVxNia07jmRNqfuqOEbpIKLuWAtUhHCfA8r7PwAyxn5HoEr01CbKtv1L9RsZ+JDjwuismgGvuBh6dLq4RWe/RicpNu8gyqWyiG1LS6AIUYblseKYc2SIpLPlTD4nN0w/F07FfwEY44XGK8Rfpn/vb0O+M/WbMDlwzuKX+bAdB0rJH803f+b9NOdlaSaSF56iQP4AHPmMkYBS3RbPc88LFGpjTshwP2ZLp2uwypeEHywB/I7IiRSWLo+elXt16Yxyp6edXNme0b9KHKGWMhlLOJtWOlsQjQdqN7aANB9XNfUp00N+WeBo1MI/ercU+YEX6gLbWRTr9GJIvUBlAt/ndWQjjUYslHkWzdmUKaTE4Ikrv3+TiSJAUEqhN9wKXscTC5ru+CVSU0nzu9XkyVaC/jzQMGte95xtUpC+o+px9SFGLXOnh18XswsWuUDodfMbPOTJzslP88uxOwsBtsqDO8kHLofu+QB0Cd53tgMBSUZVF3YLRkLwx4QQKvaRwTtJ/9WQobZ/u0lDyt0YQyNvQL4QOLSvFTfesoFb6g4UDAyfXoEZqq+pAWSMelNB8fixbn7rN2PlhnP8Nv57lXS+QY76Pds4Vl9wisB0dvn7lCFOdt6AVe8h1uoDK6RwRKZ2BPVjD/SEVghMsqUV3XYQVAg00OMFPGII+4cRM9w5NBJQiU4FDI6IhiL4tRDzB9dmnaRXqXDGBFBuby5eezs3EizVuPVEr4nKywM0DKyA/7xi2XPwCELO1DqUSqPygxhuT12gU5nicIwzRWrUBH56VePqG97FsJgxde5IvfsPdToANutOxr+c8/2+yrlwLO4TF8CIy0aBz+LZh3UgAZDzM3TxqJ7oODwBTZt7ABDhWJSdWvuQiQbDTpmNmtc7SNC6dYKL+RIjKRboIgb0WEIEn9mTWnqdvEAaBEr0Jz1PcaYuNYOlGpvgzM3RL3MmP17J7h6fqpft5CKauNvDW0imhbvWLzq/h3vRADD9zkrWzPk0UpX/JcPQEmj/rygmbU3oDKamdr2pPRZLDDoFASjE/n6WvHA/In6SWX8sI2LxPGvvQLdX+dHJMj+S3JIvTnRrtX/IryCKyqw2yObTZ8SoS+sXThE7xH1lOjViRbd+lOD6z3iV5sytHfKD19m6qzf9u7W8z5JZ9HmzTj7Y9oR0NDhAUkrcIsjKZduEUh4ctfr4k/GOZ4++OyYI4MvzTKuu3+d5+4K9fC677cSEkhocqiRahoZYd8/MqI1hY6zBaFg7Pa5Qwe05xIspN3hP7TCUpAxRig+adElO6cka0wfR3bswjSY3koJFaJKLYfzU/0UJpCT8xMKDvL/yPE07Pt+M5NH9LePi6UxTAv+Yt2mXeV1u21I2KvstDd4lvfVxS7Zyfqm/E1Muh61butjRPH9QePwuDvPXujRLZJdtzZQkmsZESu3RJeRQurbKlF2Ugqj+0etByrLbc0h+BgXoCPaGAR3amHCSOxMDuzALJEOTawUleZoroI6UdYvnNysgSH4u3JZdWrJfBnw8UCMn2PbSAyJFwqohdtQbvmDyZzZAn270xJtxXJQH7mAcOttkU0HkVNbODDhD8iiWcvj3jZTFtRnTjmsEQp88Ldz7OZBcRTWzxD/9LNXx4ZmK6n0DQH3bfkz1qolbNOPuhf4z5XSXHWvrpSgph8IU8L187JQ1LWdNplaYQsyD74p0UxioJ90lqjiQQdg01nbaYgqCJGi6IeElmtyT2beWDlzcsbaUP1pMPQhHLKnYbMMrNF1+03IlNJV0vQlGe+i/H4cf7WvHlDYbjjv2oFRybwDKXv3U79daEMKghXSWZy4ogd+NzOPEgnLvDpwR27jHRvPOyek0q+B16R4VnhU1PKLTS/WavydwI1a4pikPxyxJAUkhfsHI4wa/A3gzAr9FluIeLlssbIO94L0s8hPFMZey0IjBGgPGc4jIKAxnhp6fiK3yXWum7k9my6USx9k4BghNaz5xLJwug/lRKjZgwV6EbkdhUj0Qutr4BceRjmCWJ/Lo7RlLE/NE/54b3uU3QuIkEeTvV0R4WpxxKxIz7keHMSPCNurYwA3jWseIqIAWHhI9tpVFGl1bzqlWOah7XqJY+reevL5ANvctBajWhVKJy8AHlQjA4s3vxTMcu+2z+cY4/GYPQQ7pfyzORYE3ZO1JtezgcHDzV8xnSHDz2Fs4CPeFFOH4w4fNwOjF8iqapzCLVUBiETJdnhHiE1/3D5p0GbScCuom0HYdSb5MD+d+FmQ6E7irpQT1cBn18w2Er1+rq5HMY1xuqqofCQes+Mi53y+NlKmy81OH3haJFzJ9WZEBT6pielUNZqWwTGeb0yBNbZRcNN+cyceuuGAkIO2Mu4azFeFd5q9ODL+GXqQgPyuyc5O7RwT3HhVJwi5DPO1RP/7B55BOlp1vzqlpIG6HAq/kc+43jb0cvNGOno5iE0kzuk8y7HEv25onStTnDYA6cW2IFauby4mb718jC0yfYLI0eMT2qZ7J85V4GunJklzfTXGpwRYOy+grQhJ5D1GJluTUtHUKddHIred3S5jr4WFSjPOW6URePSgm1N2DslKXrus801MDiOb6bLeZjgIaZrJdjz8ZTqv7AWbIj099sAzUWK6paJZG5mwOwhwu2sdxcKC3hclB31WZySjiIduLxQeZHjwhZlJs6jVcC4rFG/fQNjkXLWMzp2dwN1qynwG4KyMw4tEIC5rfLLV+s7IJuGhTCm7eNKfb9s56mAYHf9o8b+DbaYbXB9UW2ame8FQzJOrSNvhyznNiivDJVrRi6tPlIxyk+5FyR+0vuPEtvceUIW3vwrE2NjqSKeF5FS5AHAoAGQkGAyZTCSiqNzXNaORCvCVXCw/8RbkBDMCAmY2CaUlHWtyPCr5SAAhG/xstCwBja/GybDdhKu6CKPBGVYkh/ddhh2FL1BqUway1izvf+GJUt3WiQCPTwmy8Yj+42WU/TCFF5wgzyDkkdtjiHXQVymFVipeROiHFwTwWzNfa6bKjmoAPeYRLFhBFluH9wYQGtBt8ja9pjZJh0E9o2NDX1ocbQCmrhJ63NLAvAdmsnV9VQ7+wP3DofnIr9fV3j8tOFPsPYYoQjky2Z9O8D47lR0oTPxizUIZRHnCCbZavK8Ma8zI9/HmXsL/2gzgASSYdCS2P/SXfb8KcK1QjHp/gSoRpq/wa6EiNKMMsAg/Xz32nDaurs3rNeobHYJKpmzQgZ3UT2QW8wFB/wL1kguP7KLZPZAdiZuGg9V0yj8NCEu3xHqgwWpYc08YG7LgP6G8DBMqvotglh4J1tG7muhM/URbIq+gUceZ3xC5Vc7KM+xAOrFZ5zZpMAK1g4tai8zBQrVCq99tQH+zBDG5gCV9+TMxhU0XMEVhANB4qwdn7W8pfZUR4kD91xx/29ZEjmADrWuUvHc+vdYii09RJVl1R5+7/7Y/xucWio2Te6otqftgRrC609ElTPxPKetrCDzURY3IgTS0euJQZL5PjLFoteqChPbsaKogmZR5QBoPsIq7Afpdpk7siwUsw1D627dbcWjlFk8d9ZN4XsppMKaylZUOG78g2gTvijs10PO+Uq018LeckUtrN4xrSU2NjOhtN7oX41KFHLjmfNv1oV4Kg60nfi0Msww7s/9av/ZiImgpkD0vTZp+utQmSW0xeGMcKFPuOGbzKBPNlxRI/sSmk+LaMyn1oBf81vmp2BaZ1cSwgugszSaVhhog1npsy6Pu3q92Cz8fW0T2AdbnXqkwlskx5eme9z6r8f8YzuH4yVQUG2jYq+MLDsDCxOC0DvOf2FL7RPTFm+K++9/Urugb+KrUDh3icB0rvkCPWMctAvylsCnUUY/wSuLn9gTbKvnAUvpNvZUzReMpiqepRKY/sNb3jNUZPyZRrxSC3Hrrqf1RR961wM3AhAEu3QPwL6NeOG1EOTzEevFbtUbRhh5SesFJ2XR1lHCzBGOgBqoF41u4eXbYXuB29H8cpW5dO72WLgpxbCQf87uH7J9SjU3cqxV+fShYBRDP5zFlucUsaoJqLnLF/x5G4azWE2+3AD+oYx8D5787xDrxSnJ9gyXzGd3p+ADZLZPyTzPLZbsmI8SIo3UsnbRgyfTyUl43C79x4ukGrywcxt/CnaoawMhW43lvRMnUsDg9Wsc8ZhGlJtWiS1mLktfFAPX6ACHMryhiphSOLg90MgJ+DlxkhiA3eWLQi3Ml619k4nG2MztuGBDI9xtVr6HY9d4sKMIOec06nmm/HPXiFCy6Bqx5edkOWDufEr1FQB79WsjYY7Hsijjvil7x9eEA5/ct/ZP+CS/Zqeha1sjI+eYvh5XXRFaPEdZ1/o+zHtDHRXehzcoWQT7QO8DUdvM6JinvSqkBSMja7HwOe2KZ0Z/oHS7ynJy6OAdIXil7YqlLbkzXYDMTHwOx0CawkA8Iowpdxhb3ea5pInwguIVZx5CF3emoH6lbIdZMJ1nHI+lWIdK8KYtxtELX5OZiOuk4ImS52VgmslXubys1+TebVIysnrck2xFWF/3b8xzfRpm+PH7lGXhg7l4Jy6uAND4TU6Irob9CoPf2KvGDLIT6hwtDV8oeCHF+Q+xpQOy515tElA+KH7rv08dURZhe2QbQKI0PxDYDbC2WVX35Ph8eUeFHEhGJJK3MPKYQ1EJbuIjN5m4y3VZIcuK0g/Bu0skilTfHOxlpbJ1+sVNobt55HTPjCFELABVINDuxtLnl0FajUYIXoDRt3gcJuCL15U2UHW6f0waUUFQIv7ZxCAj+O9y0O4JtZ0dZv36ZLNUn1ka0Yw1UOMiM58DnnlpkIp5lDE7lTtgN6onpQnGF9fju0W39/74+VqmjrIN0Ind48i4sYUR93D5rScc4seDi28+eI1/dDNNzLAyP66zyOjZmDpLdrOsTUPehdP3AOG+5Mn0Qq6ZWxzACEA94wfXbPF4arm/by5stCvkxUDM9NQVWDRhVB2HLvzvqpcvIZnyD3EadR3LP6/HtQs4UPNFCFIVPFWpryYtcKVZbRs8UmT1C19J8g0rE2vKHDt++Nn3uyJEzVl4Ei/+ZEPHIz+VxUg8/yopD0bhCkdmi3d7maWfVdyJSMLoILUmF9h2C7H8OpgrsfrcuoMdloCL27wWG/lMSURptrtNyAVotDhTTcrulK5kynJ1sZIRI4yER/t/iw+b25sbnLAPWYU/RsprDJBEqXGfOlfVUeQ1Mh6rrezv7n6i1WS59BUKapCcN01Fc9fAiag+4uvGOVsT2Ul1gWHyBq7ubbPNjC8ssACFo1LcdILYyEemixImcxyYcFX1kQsFVLc9Yd9yfsXYvvamybPQmxQZoAJunBjCEWBBZ2TOpsT5uKKf7VlHoGtFn3Uj/MEagKJU7d1+J6men/+aJFLeLUqSWIp2AgdsBW6HnY1Jr3vyzk+2ElZk8Ug+3IQTKNSuC0gwsShwjovDmmMWT76XeWZUEiUkvZS6w7lqBJMi3WhzDjpGJB79GL3LcRH451Pq25pDXDl1MAuzgsojJnkMYouPAWaZTNTcaqNbIyEfXhUKAwehzeKz3S7EWkC67og720X5ieuUK+pXzqiyxTj7Z1Um+KMIrEOs4cKSQI71bqCjBrJSgqkRRfqwaJQ3AeANNPoZWO6JwKEtyqi2ealByHakEzmawKlpFXj6hjk5AnL90VJdJOpNB+mrE7njF801Y5bOh++c2uNB3aLQ/To79WJ/01FV3tHQ4aUDU+jgtUZMTj6Xsxdu3ZMbuknCiMVkoM6qzNgicMQYXvZxxV11uhihg/jpkf0/TRV/7CBFrxOmi5LT8KkDQTB14kGOiT/T6izeePLABsdzUm2YsyO0HvmEjHiFZBAZYRVdnCTx84BMTZ4SlagEISe3Am5DGMhOU9qfveJpqqUAJYTkbAajOGLOmXzmg1UKEpbXBREauTSPCUf4esvUq8LDS5W50UAHmAWbK5WPJ1RI3YKm/h+v9k5jm8sZ2no4lB1ZP1Q4gI/H6uA39M6yVBPyUrPPZPB86dmvNnIIB2RO0gXmLxlJHvkrFExQ016aqLyadOMG3M/DIBHThoIHXwaFrUXxh8lBlzKF4H71e/T8arFJodoSzXwH9ytLIkNb8RJxoVgx2ToypEU9Dyl6C+uKdCQRc1jAkNzNpVrZtutDnB058A2QDwhBsFms9+zzXdnDqRJCXB15X4UOzyH/z36zjcra5cIGGmU9ewCctA5TR+9fVqhtEuwr13Z7pjOuubA/lTDUbAfgI6Wi3arz3/2EIVc7asRUfhUZ2v4vCUkxshz3Ktkz2SYdVxCVN+2ZjZfY2VS1odmRTDA8QREgON1Hc4fMYBhWCZyJlyvmC0bDmjvGOx9iWruWm5ilQA36X59N2cWXkFlOH9xWwUZZIazUsHhh6VHOIBavVrjLLjKLZ58Zqfu6Ed6Vj/TRP7vT/f7nQK1vUi/FLSQdnxDfXkXBBhHBKF9it6xfUSbuBKyEBLoW8TtJkP/fHrEja/GoIsiNGvJEkf4wQWKmr7//k441qfVISWukZ3sQnnAT0nFR0BP3DZgu5pcapvYZM4ZeNRZJrxgaEeCypOxPgwbkOFho1E0b/53X4uRu6A65g6QrCv1yrJsgouknEUKMIiT5I0ZWCucPAPfJkS9XWuGKavFh7KF7vHy/we+Bu7xtBr/xz/Yul9rLTfJDuGZDN1XPQp2jxoJF0no2f9IAFuJXlLyg+k+S+RbgYejZLNM55hHKot+g0zfLjDyVLAkSabroPRq0/q8o7JijIFqFRccsond8VE6k1l2lVbIQ1XEW2zDPtG0pndx0p5U5xhEky8bkYjMHtnwBWUIgaQWcYi0yySxQnOYarrBBWUlFL2ASIXkdEJNkev6N9n7zlrgSaAJqHGVVWE7Wy/A9raCa3pxJulNSZI56qXU3rkgFXPqU0Qa4sQ24ydoaupakd8XLDc9EPPdlAev6/maqt89ZeuSb8cOc1dMuoxIWIDs5i3YpVhu1Sq03OkrMTVQx33GZC1Ca6v4JurUeOf3/FbkkwZ/1qBt1ebDy8PdeQtIbGD2WdKzMEH88WtGuU+RIIls/oR+mk2iI3GdCHi3Zuk2ZdIh+u2Y+YfT90//lVkygDn1cLeTsHnVw9kUw8EdZAPjeQ18zTJA1W5XlYnX+iaW7+rIV//l09u+yItyxh1ym02TymG4Q1ZIABvNt6b377GuSu6uw1Oko3dPlWvJnFqTyanzuKtfG+JGcXu0PHQ+YXmuSxOD6BiMhfxPZO908H6bwgnlkvNEjHftqTiFdJ3piycO1srEP3Bdsv9yDD8tGnwbdpLfLhMS0EXBy/BCsESlFJ5Z/5xZbORp6q0q/NqvryPn801mzjWZGoqvWFO7leNj/3PVHcn367Y9CL/BbDgdtMlZBQ1mdMyV4GSUbzWz6eKILSYP1Okz0OVAyNcn29mAA6M5wyUuQlQk4+M/UhYrq9+hlzBe8t0GoIeJmyoUr8HZ3qs7kZJu5g4gFzdZ8D8sJ/lc/o60rTObu1wGuxvVzC7o/dPUljGiE5Xxe/ThaC9gNczSQwkdGIyyEuwp0/zXdWcFHWHCCzwkANeHrk2YTcg49z7Q2yNnKMjn371wc6jzlsGWpD/qKJaWZb9rILeQ4aMrdz46PYN1VVwZ9gihtcJGN3+CckxsuKHkUqsLED+6dcehddauCyr4Fl0nVqAOxfy/gDvq9PpYQ8FIO6bCuLUeTwZAJOHERgPBFu93oJU1yVBZXKk/B51zd7E3L/SFU/A5n+60DmxQk/ghErof94gYc+UA8XcVKRmf6i2z5xnMEuIaJkhvbGvM5AQSU+oMJK1rRzQMI8LY/5xglsIJf8Wg+iWy4w7KIH2epZceoyWpbKxt1tRWWlLG1JXjeZ1wshvUZihR0NzixSbCzpqdvFG7PI+8r0v/yAbuiNWlUjDg5p5YqWyZQ7azjkSzy13e8kURgkZipdf35LABIdGHaF4qmX9bIPSxz2ELoezImTntFwWYJje9qT1TCaJ7nUlnH4HlCvyEatB2DmdDBiXOezI2lfFIKAFqoGYoHxb6dxcGb0XvdCn1PZCdmQn/xAVLk7I4vmyQuKrj92v9g43le5VFmvNs8zU9jJsF/3YNnQLHAcr9f6se4KlghchQuuhv4kuTIkjhf7HNhlPViETCAyKodBSRytbCwKG1SCIF2go6Fwe8xlvp9zjLzT8qDrscfFklMtCiJP4QYD/0Tyblm9CkY92DOFH1B87otT4uf6CvLtWVUPPsB0ghpfV5DhnR3nNQv38+jkb48jCnY2rHw93rM8EysRHIlH7B3FykEfAanYzYMB/DpM2qRC08ESROOlrSFIhb6JSmomRphvX+M+IHtIS6wOnTszj4ewtypSfGq/CDNk+wd7MmAR7517Qd6XTtKjSF24SaI5tXFlZgKLA90zip3hb6Hyi+HQ3n958uq40cOO3TIhIaCdEszyIeTSTuSLE/fr5OyS7t2+EfVAQPG6Dgv3mWhkVixXIlxstaWfCCdPAZQk23CKVusxdvWU5hD+UQODcYuo2fAKUB6UD5Ci4cMu8wBQott2eGEswZGKHIiL26GO06jW9WEFTYJ3vXwGeJEibcPwy6Mzll6BNoq0ahVYJWIwVfedX4HslqhJcz4Fvhd+I3/YKqT87B7/B/N9Dgean9HnrPxmLwxe2hxfQCLk3KRfovwMDouEXMaGxawrF/MMLMHANA638rkPqjZAfDUJ7mVAbVY1PgLjt2D0zvY6HKy3149EBvUorqOljScaMcqciDmCGypWlRpL35BeaBQTcsrVr04qAsVSgjngua7IQ3h5UoilHcL8UzMkQtdNAr/uTOlN1h19dRQa3V1LL9i/0gB7vbuIygT093X1L4xDowuhivi12rlPkP5lvTpmxin7sPTjpOjpIm5Ffr/MOD2x1EHQfTcNP6TNBTCiSjup9YWyNz/wtL9Y4bjzZUdoh3i6sxrF1FSQP/AIqjaFF34bY0PCEbKbs7jJeOvcWynDpfD5Q6Y332AJtQje1R6OSWjMadM3SZvDk2qL5TUWUmSPFuRLDQKJ/UIwcTCg2cInEpC72kzDSJlLxbbl38T1z/TH+fZZcc1nETkH8p4BoHfj5n0J8uFgLRliaFztBLCzptyOMEKtG2lmn2BPPVx7yOeeSPoLsEokXR9Tn39pYPuZWOoHOMySDgt4Obh4FzHD5L+fMvAzuzSJ4uCyj4dd4Vj2r1rDBIW10H/mH07sff0Rv2JozN7BvI8f6qi+POeRSHZmVpXFqRyOUMnjG8gryW88DBVj0wfYDwQ4+pWanOt5F5dSTSvk0tJC7SWfcEdRzDYG33Kut251wwLRJRil9bcD90MSUyf8Q/ecKBDiE+SNHtCks6CHwOpUWTArXnZVmgjLfJ0hBc0N0523s/kvV1LAU0HtmP6f5Nf5UGBRENw2DUca8ttT2oQA1A73n/cB2GL7641R3IvHhFVxGbRK5dQlrIxjxPi4pl79Y2ybu8FhSPtNAP0EVZdF+Cb6IWPBkhvWILY4Z3xYnssGRGQ+15OvaBDmhlMtmX4GTWl4Nj3ofZMBKYU+1BDlUfBPxPaGqamAUr4CvW+lNplsi0K0CmAce91FT2lVAoS4YaSPJv6hNh5tgqGvWRx548/frxP4w4HlxMaKUKdFs32ZTjrFZeWShCyz1X1FP533Teh/SRhx0P+1aWz0AF2G9ORo8m3sWbVoV7GlU6kiWxeWZqC7XMKw/Ree19kzdGDXUTmAZG2VqrooddEAlXDZ7g/9lEPEqvjO/VqouS1a50gak2HjQNhfAyD6vA8DPfvAWZMGkSR264USlwPEnJRXEt9Ljv2KSlOjAv+zn+UL+qNj/Do9akM2RlKurhR2HCs7dvx+8ekPtL9pujRVdZOBADLaLC0hJBkKAchiWFpDz7zzKWVnKZIVySZ6zy7zReeK1AdJR0/JW+p0QSElgndfEj4H1Iwmct/BdCjzbKhUhWTotxlMu5OTX7Y44C9ZC2rS1J5F2OMuTU6fEvFAkW7xn6sN2IQR22hTMFiEql0Bi+7xeqMMc8pP76cl5nHxYsUTCj6WDd7C6YxEPHLnhMdrbkaaFiq1P8B+cgWfC1GHvqgHOw7QJGuSfsflX5UAq5HCGxJGMyZiXhulTMhmaz7DNZzy5G7ZfLoiLPsabxyvxA6n1re4fo4ZanZ0yXMpRljBpUQ0UotDHC4azrRLQ3FVzton5oKP00KtK1XaXJH688VuNQEiHv6+e+Iey4AaVy7xYiUpBsz0VxgqoXyvJwSoWqupAWvTXxioHkCXnaxs5DtcQzSEbLxMeO4xHAVcyltD4whdXey2oveMT+2PU6tXuKfV57c/JxlLVBuYqVmf4PbB1Vpb72BNCQir/+6zv6kHYHPc5zS9+C8IgCmNlrKTTa7NGCJNWiSwnjZRvY03icOyhIfCiva6JETGmUzjIFBooNfIjbBJuj1uOARQG2+W9LrdK9xTPUfMIC1LyG7x5ZMmTkUFAZVaPCNflNY6YWQSUZr2YLG6z2za0uyPlmtPgT1vl7WdANAEAteb+IxWNyNb5F5VWN9NArUhq1Hx3XLVnugB106G1f8godEPAMCqxBdwtPfPpJ6fZTWVPqZvXY+/4ZKkgWCm1HKfh3IZKEmhxCYhCpl3ucP0CVetw5KBggqdQ4uXY/Nn94xE/ORhoVz9WHOb4MsSWWPOOA+/F3oMLhsiexuM8oTCQtraCmg5XUVh2DtlJKhIag9Ic4/CKEEvRaVAczfRNKQDua0Cbcsb0jBTobblOzITjWZ9wldW+QgSBkLydE6Tr3JW0y3QYlTsr4VqzzclR9iYl8reGpo/uHY7zC/s1LRmyDycjbkwZcmuQI3U4KhtdcOO3gb3Gyc4vvyzbSi8Ab3U+TJG/5IlMfP992sVfmWeKaLPCBfUX2jngUpCiHQkm47wPr5hII4xzwtuRX0y5OG1OvpMZ1POUVR9coAkFxcQNloYPSHCXkqnQEy2uyfRyVa8ZhrX2ssXarsEFfhJg6WKGg1GBmWOU0rzM1JKuo9cPp3qmjaCqBgWAI1Hsq3L9/U/wJ1WLrKnQlZLNvz/SUawemHqSpiz2ecARKhDJdsrjRZGwS5Wd/Bd8m1JWwIU0Cqg83xLhPNR4sQ1+95FIBzxaLS5T70IYIhsQqIFIl2wSLhFv5m0mviKwC6BeBP21HEr6nUgwmJMgNyuN1MHZ2tVkwaKP5YpNpHdtAZiQasQ0euXbGF7fZOFMNxiSQnJSuontW8ai0YPF8y9t5D0PpmPn8OsEJBzyUcpfO1w2xoj20AML4j0OKkekGf2970zAiYOeyZ8HtTlLv6EL0RMrLskQNzENisSiWOwzlDgXRNFDQYTzw3jQTXx8qii/FW9w0MXbynvcs3vWyVD5RP7s8+W2Clh7uIyVIfN/SZ3qaWqcyHDsALi95qK8sDYpMZZOOSemG86BopZePO6kPA+doIEMC2TFbP+d7FT8l/MzxQKFTPWgJkDGMOGLHrDhNab7zJ9KLP7ZqF9GoLkx+jFlPm+GmlPOvDddmESKNU5qei1YpU3pVARlPSc+6pc/vNI+s0a8RP8gLdy0Ua8fVlmXkRVUQoIH+t9EO28WFaPSDku7Y4Sc+PN0ZoN6pn8Tu3vVwb5qiOcoNtct3/J9ynSm/8a8qEPGwz5uoID/k/BASGp8sf8Tqvrj76E+J516yO1ya2EqL/LJhKlCcpfJ36nHdrTa46MQuH1NBqYiTnfHYOU6ixJ0m8ZmxUtYEgbHrbvXQ3uNjLLR7CAut80CcQ4VnIn3tFMaJGdIYRkX4bC+JlbBX442p//AZnKjp6ZvDYAAGqIpJ4/J3uyGRz6ocREwFfs6e/6I9CkMXoluz/CNVcCchQ+dpcVfUr6fo2lUCag3Qr491Q70h2faQJsXZhwtD86PxAmwrNbsRyUt90syWgCoNfbZJpxuVRIgy5WqULomeqAlJA4zPZuJYrJtNP4L/QH7dueRYl2sUtHZ5HoRixyE33iUXHqLP4xbRQnOH+lzpS0x2KocC2Fm9q5IlaGeq/Pott/UG5opNC+bF7UvDAevAMQIxjXvT0eGtFp/yOsEggLDOOnh7dxObTIaMMlDU6+FAp9BE3klsUhsaJp38pgFpt2Q1w0LnKucnVccyAy5ZVSOwq4gKITQIRXueMctAwVbJLpJ7+4/Mf+jq7rhl3qEUeJ72sM3OkIbTLnYxWE8v1wN0oaMhUo6PWQhDco6DGfaBUe9xFqHClmxZlATVM3Tav4FpUr5Kvam83AJjTNcjn5K7ZALxAhfpj5Ea3PHaF0EPmdWXd6STF2Yx2VfjwPa6idgzdAhOGeToWZHMowIxwD9dejMkOP70XDHFMHtNhdsuLwB/BlaIKvMz5f0jUDbDg1015jIFk4LRify5jJjXK6eGxsfiBpQSSTDHg3cm96VTnfHnd9XlFvp5IolrbE/Dwjy57i2V04gXL0gRWm3fmYlV/D4+noRlK8S1CinGJ+Rn4gTug/miikWmuxa7db26SE0OHYV50us4p09hOCta5Q0kZbrcopqpHc29YU9+QLHQdemfCSMJYoXCIVhhg2Hy5b9tq1EkRkZS8g1bIU7UhoUL4PktovnkGyFiecDpf0rjTyuvSRTq7/HLZg/u7mpaqh8Ymk0GS1xq24Q6mLEiVpsEqMmqUTnfuJ4ilSO/JiwDrjQ8ZKQgOO5BoQnKmYL3+vb7yGF859vOc3IH3cNpVNO6Ebh25LM7P0tv2m9lmPWRTYJDTmHBKpOEXXRqbpyXGYR0OXoQRFGyW/9ofjqr3aiGedswFKs3zqg01jYNZYD7iEwPUBJJubf9FwuqSWTTD6hokmgccLXOAWwGaMa40ShgV8sG2/6n5kKTa/eD+P9GZhncUP9IydVV/hJ5kxSM66X4q0/S6Xwni8rJP6IK7xB7mNesfE/bQvNBoqJvWA3bTnSk1hAHeuOc93vEDpaLDw9CweUBNKA/OBDy/c63obl2XdT2r9a3Zm0VJGYRJwmL0kbZfihNMqC8E5f10iN9uXwwtG58HDuYo6leU+0iyznNuZTQLUQWggqrOqm9tWKHthaMslN13u4XnHuwIylg2g9cflQYxiIv/LiYT4v3y6O4ez1QoIwpeUdzNjv58FDKhjTotQGBKWzVXuvgLLB8v4POtIhJpZIpDINHPZo0prhhP9rGa5/eERaSis1e9GXaiH4vFCXRm3P7RQCtYKb9URxlVbqk8GfUddY61AbbaDuN6fr0OKvdx0GyaBcwd2m2BLImaIlVTIkLtvj5oEe0nzlQp9fYSHnXCNADpEuvfrYYqrDUzcd1jmxIz3Sbh43vdo5g3nPqkHaItKhlSpeqlWNmdXe3SKplphcekajtLqn8QrTCQUSRTdh6Tbz7ttmCY71GdtoyC5qLci3jnH9Bun1uH/lRFD4Ptx/2MK8QLqjCdgkmMtkUKIMuHzvS8xQf3M5EtcMQ4ZZXG3BVpIstFDwVSv5Rg95FDiTd6oGBjWceNVThU52wFC9dGcoBEsasR3U/MUW9T2ZRZQvmhFHyJ3FyR9WjsRNrecEN0e3EkDwNrO1fpSOcOKW1vBLYR8CCnJxZSyijxfQ0A0xnpNLg0ya4631tbOZ4RCdUar9+l5f7UiocsCK214tL7INe05jHYwOMoSObr7zhtZ3pMSfRD6kEIxhLpStsFGsJhSNq2y4xM5oTfPAQffE7LryWBe0TsfPZNHsSBFj/9lv/0vR8zLp8DmVGZwztTiWJPB8cCEcmATVmURenirQfv7JlyIw0NJx9RK98/iYPN1hwmaDt8R9eSaPReT1Q2aWA32FiRUz3r4ryK9lyMQrBXCy+sX59bCrPHBW6J+X15BcNy1VoM38kDBG1g9poNGqb4Iym39pQSoRYgmw6shnB2Kgu6xUY+sbe5efWBBEtYo8yHgndmi2tCghyVeglc95f5o7P2Rw752qDYlS4lgelDePVELKf9zhvFIruKpRBA9QCDioLVPjvkTHTrI2A4NdDy5+gggIcBKG+ylQuvaxJHHeft4f8TS9clpQhWBUIPsmJBOyn/5B/PwZ9pCzCwv0LhkIjkqQtnzRbSoPYQIKLbL9UMfDDfgJJHbTHJ1xW1K3qjwDAAHKTZAkCkt7LgJAetQ6sYBNZaWoXax1NMKd6H7ynUEhTzFCrooSmWri1X5Hqn0tcQ5a5VRGWQKuuR5KOlkOT46hE7T96tpudPf8TUzwHzTlkvjENMVSQLx0Axap+yvVJLQDfFKJY/NANltTbHT4fb/Gv4x30wmhDYmmy0duP5ICRbwRQEkKFhfKXSDt2SC41+VohJDUhXSNHHnf1aotfcCFPJAxeX4KVWox98C9VTooEiN47qtrf2La/8iZGf0X71Lf24+6Jtchk92/AWIkUVP0oqBlFA0ARijb81lAVx4TEkYJzMuhxa9axQ/L32lPi5g5/kwfSMBzkHwp11C154/je0UYwzNz4YaBo7g8ZhHwSvVWNLhjGQPO+SSMnwjatID1Ub317KOxpwenJSuPlMDGq4Xydr4e1chFgbIkrQHgAUNOnsKjZ9RMnfqFaowBjvtRX6KyUN/Y9DdEkg56C4eGNEUFbBNLoxUjP4PoNQ6QF/akJIkXSpcvMHRUkFP1XSJvY0UKYKJK5pqiKk2uA9YnhFXtbb6DoNQ8OpOsdy+semCbYQ6+JFavxN7nhaD3Cs4tVYOktCd1KV6bDO/3ayg4excd0SYtpd4Gf6HN3JUV+hehGUZcQZYmV64caLUjKb7JPfxFX3nroQmH8htvb+BnduzRRiFSjkf1QupWhz0Vh6QTUl4kXvWVrzvWTXkOYAo8yfHTibQqOeZh2W9rGlHXge4uTOEiMuSn+tNzOoukiNOxygm1rfQo98RUnd0F5Xjw7cHeXLqjUwhy4sGwMq2NGR5M5DrTIH3lH2WBBfC9zwXCi7U2cW14fi6D/iVdzhpuYfeSDYZFFTgwsCly3VWlSzum9QBvoCbRMLk3vCCm4HUTEdDeeAradA8/KRePFesm62wHdPGgYYh7XBQvO5fzHUWcNWWNjMha3QB6q0XQigEdZgwfhVoEnSSTOzWPXS3JB4M1mQ6caApfp/O8W9zMBsNMKdP+3NYiiCSPg+9Zr6cZnKdO2PEknYXV7CIb/sphto/e/gPQJ0akUqTzmUnFePlT9SGlEnFYURry8Ooe60Mm2RK+VuPW+My/ZVH6zJs9VV6I21zfuHMnGCrNdHFoKuM9rp2ltjq203+TV4Uyn34Ia/T8+1IQE+gKdXVM56nWpXvVO/YfNS7pLpSZ+m4t1egkPbBUawmVJRu2v9OPGFKEV05nTPWytMnYFj3L/rzyRavbxNtVb8hNSu4KJX8eJ7auU1u2mHgtnfBVG0VAwZkBaOlymLk82GJMuPVA19306Kuk/w6rIJlChsLSVDn6ZZOY+wJ+q3KRYiJPfvaNyMhBn26P14umRTBmE+abSyzTzK3cOZbI4Boke3o/fiTDz/6SsUUhp9yLX5CBz93zhoCYTCn4JFYV3MQoWWkSgmLYBDH1UaWW9CRgSkfFSa1hWZP0Kb3X+duI3u7s5vVjUiy2OEILLgxOjtskz6VxthiN54HvstJJH6sHirA8JhBUJJR0abhdsNwonM5F3JH6EwQXvj71OYlqbV5+HDsznFAdjzLkGWTh7IlB0a/nB+8q5M1Z7HD3I+1GBam6ToCjTg1d73oSZgIUln27NbMksZakKPi0oQyieNRVLcL5LqH7ThNs3X1ijkOnjyyHyhGY/M3uN2e9fs+BcHW5FTZuYiufIGbs8ZvbsKtSa4Zbp+brGZC9fzRLyfMLNBMzfBsM+Zuj2U8sNKlDHJ0MCDgrF7FDIIGKWgj5UUkLYvBsARwLrA9e8N0NeE5FUNZz93dtESgSs/JtD83UrXgqVzYSLYlijNdu19bY+FyQX/6qRHnGA7duCMCuOkFl5x7QDyHH2t1PL4sQ7/ZnZrYwmmI4F20gS3DWOpcT5cyRNLd01QgRdwyWalNEh2vHG8QY4wiq2uvtJFgKXdilEQ6yAXFNo2Bx+31zZ8bDnmBfUepLxAmZpOdicnuLZEHVhERcYdkaWo4OluhN30enDbG2Hwcr/ZsbGh12gKWZSJ5R0slnKK+5A5C0X1a1mfENJhJoTGUIRm1UYdPNT9uJOWs1S231P0BP/NQAKwFgxrTIXtjm4spBwsxMu3dO+1fBSWmex0D90n2MBHvLTBWE7JJbxNRNVdVxdCOKb0lN5WlxETHZyVohGteaz9juuxAmZT2QGr92XCI3dXHZw3Yr/vXdYwSmjfohQ+amVovpgjFx/hkUJ86ekRmG+7eVUbWZvdgSbMc+vPplFd2PS1tNjN2tFvVzf2hSUZG8yrL2W+Flj2wbqzRrMday6GeAUUFV8c+miqjd8HJPuIoGKtvruONfA6BckqcNLVZgUj4y98PPPVuEHSvL4c8QIs2FrBdLsWed9qcaJlKTh5D1i/ce9ic6yFtnSsA9yXE2JnAfXGEv9lWBrI9J0BYA7UfQ7DVEY8H91UE91z/eWjw5IzuUYFrqWN/SaoKtV2FAuTBJaYIqlf3wdKK69xbWnBySbXbpHhCttfGPyzuxzKFq3t5PVbCAcjvsmeJk4ZqtUAF80aJwL7df21KeY1kntT7kqkNvwkqss9o2vs3hYT/mwGpTRHx9qooRFdqa670SbYORZtNfEeyrIwZxGj5RbvqqGe35UwM3opcfv2a0HzeIMH+3urucBepBxSzXsljeV0HdaaTgPR4Rgi9x8v+jZj/Afk8PqyYK9hmro/9knGrL/JCbIbLv2dT7jdVu1aoKlHwpjg8h5VSzBNKzxlemTq1ga2u75d1OWXZwqQB+uEb29w+LyfW1j7lws+6BikIF7Xq/OuODKtkY2XWFfaksrUkPEJJLTFArUigDrxjeEDWHQwWTyeh64YEQEZ9iENr3INnI7u/jQsklKVQ3QMVNyu3UMPAqUpEyoHpn+cecIZSDBv/1EQT5jqeowX9nM3tDOzXwDtO6C38Lpl1EH79oXbFPK3XZASOCKIkzBhOfcf2V1GxfTaAz8SXWda+vi8mgu2jPBZq0k8e/3WIfwosEkpZxcdikVkJQ7SDtriDJuNJh3Ob4AbCjxBEuDJE/yg+1m+UglmKaNSnyXiNNmm3NpoEIT3tFDxi09mmXRtZzAqSCn63Xjznw/3gtmR57XpI+i3pXNfgSZ36YShPXdkLSIGSgLJ8xtz+gZmNRYV1cyManTaKjPtz/29aaHWXEEjt0uXxGmyVEMu5yx8l4dEGZIcfQSh6wu+URZBAZ3N3pvRniD6vO1EfkytPvJTN81jc6jKR7JZ9o8SrcWi7yBmbHd9XBH5Pg2UoasXqAl9hMJvUkzRicCVLaVdiujSfCsvb7BANruNe61WOU442dz89kA5z+ceXRyVfmSXhU1MjzDfc4LVGe0vXpEaB5PQYF5Qhhc+Tyo+742m0wnMz4al5Wq/Aw5fgNZ13TGuTCiALuMMXiVtLSTo3G6+0Hvw2hau2ZJjX7CoEazTuZLdbw6vFockpfKIClo8W90Az273ObQJZX8BDNCyT6zaSz6M7FUXSwV4NMHTvPzOYwNPe1qq2uqdSCHexDg9iTM03enLDx90Frd3TjmcEkm7UWGtXdqfqHwRByxhZTeRdXSUWthEdkpd3PvESNk+u7ZA+Se5sSSRPfHxDKqa8VW7ZkTIFxTsVB6ornHV7p3qBQ66HXCArn4+8mJom4pqlfxkMmer+pk8xTwQJx18l/AqmP2zbYnyshsQTuq+Tc5dDYgjxklfJclgXU0lUDundJaCx5M8706CvNtIbCIl+Khet4e5qohDT4Vj7K8Sz89BlmhflXTKYEixyANzcAoTLXSk4N+ChmMZODwrK6Im22ZI5E6+SlS+JDtPkvs6xi3Zhiwdzc58Ey2cSjku3UO4qsZXjmx7VjfTLcW8tuANYtWChjHCWCPdqOcCXiz69sG8on0/uo0tNQC0A82hW2zNC2mtmGdj85QzC51lG+78PtUi2UyfMkzQPGbbONGzB+NYhfyP+6rSGeLDO2KF1RLQl39N5zrWzJ0T6C3k55Gw5tBH/lkqM3nrxI5fJMBF+o/SYnJKoAoArQnqae93JOOkY5DFrH4pHj1L+juq26jJdn4BPn4GtLVv9Sn/Tndavt4/lPFpv+EBbLNRzqQN4JnpxkLCrWkN2AtAeO5hWKbHdWEkYRMvvqEjx8XQcGG0NAymv9Ulc6alXnAEohZzO9aeGHKi5IgAzCMujEq7L90/JZ2FpsspfzV0wE1NDOcNTIu+zC/5dfrvyGBVuwunqpCyxqBQg588xANkVvBsKPMqtDRAusDs7XkP/aGweK5OERZpBkoTsD5yseGh80Fq68tYIIMN+c4yZJ5XxvlYj8mBZzVU1xwAtuCkCuvA+x+jtFWRQM6PjDSO7UMt7DrbB35P64F8efpMGrHZGPr6+2O2Armjqf+zMzvFJnBkwVMZhodpYcwmzIamr0Ca4C+iwmo/NetIbXAC+DA6v2yRfbnINuVkBLtH8wG6QREhe/7JS00z9Mzi3jPXMa2G+lMQH7KQPd4ku0atzPopG31pq8d5R+td4OXlLxKFf7YH/53rsgXJa98WtRtma6kt3ExZ0nO7ZGzBQ+MNJvvOAutk83BQhg433bbRa4rPfGmxAZJbkyef5CNKx+ipFADPWFMmBEkCrgXV1cp4DJuXkIViB9BeNFb24wxk4m9DgSQquV/Q3pcvQk6pBTfQqE10g9Ww19I3cpv188qDqoM1xnIN5uBIkwWJr4FjaSJGWZZhDRRo8Bf42Ug2kvnm/RapcwnXpVGT6/VPeQOc9BprPX0WG+lcUTr1mq9H3hDTtlrYjbSw3Wb6YmyHiiciQSC+D0wldt8/Tl8ilncY6EBHUY1aNq8pveMIRiRuv5StwgugAvKOPNg6kjAHValVwged1C09bGvn14vcTLcVzw3RV60jllFe109u8ukVGFawlUaVh5hcFTLmDmq892bexcoQ6rEbyj1sT1ujBxAySfMy4Abkto8FrbSbgTUBvEfhHLIoZeSI3MKjyYY114q+dRcmsKZ29D5TCeeKIta7Or9/qpUqtrYxGQTVB2BSnpEI/wUcKcBqsFjQOTAs+2SdXIR9ocB4ooAfGRsaOgv6GPTJ0kiR1zyJQT59hU0ENRh2hmcLosEfwbWwixqM+DWAqWZhoRx/Ga1FGZJjO5BfCPmOg611AOz+6jZ2Zdy6C6iKx3WgjeqZi3OYh+OVWRYOXy6tsIT4rEPP87QAfjC/1QQEREcfCOOtAD+4tlaP9vkpPjtpl/ae9c8jkaHMioXRh8hrg1xuHgXrnosurBgus1ymP4f8vXwWgCzgaYqap6qdnTWIJ9fHaErCqOtgwgtsnPasQI0Mkju/BsH5cNhvhPjZEq4WmyYV6bxSqff521AVtD7BMMph4N0tUvOU0D/lcfslMXKe+wmP7K9wxlba+1CRf6v3GUZr58n+OJNnZPcFLfmctrJPOoNK2SkhmJdakiXvve6nTd+39lXCQGAAmFzeCDxZ5ggp7OE3VNJWV6aAAcZsPatn8SXHV6NqsWpWKXcG7OZPZ/smStjw6y9LxsLrx34QwjX+l2JVLKLL9X2DvaIq35nOpoh4hoRdqHnGqqvCFS0Hi1yAI+K8mIywSc7xcxMdROCN1chyowjDyLp2Zuc3ZqQgqnjw7CsEoc4k5L95jLTVJ/s1jIxL5eHGfv6iIOm/wuH7rX2563ZsiZezEBbIdjFccNEk/cyMr0nfkuUBS6Vfr316cMspXnrtNNgQpn9zG7CJr5RZz32oolIxuRQ6iaGtG7Iv1YUXaKxaPsolNCr1XzbRmyhiwSQo/vmzy/DFR1m54VcEAjKKJmb20+gSL1xyN59bGfSYwAwPVfu6qT9GIMOnOrp1I3Vy1/3n33pU52iWPV4hR+C00CWoxEw/fOsN9KkAZ19+8+Nf6daP5aaIsY//mot0hb1VGw5saPi8NrIMsXKYjBX/Yazn/F4umO3jYCtzQ2N5cH/balXy2I5+P1PT1xpxfHrDhfD2tAOchuKqFaBS0xmlEWcTQVjhB6fpI12m7FPyl7a5CufELiApXPRJL2k6GRG7X1EsP1WeQQ3wyIsX0hw+yUFdp/wryIOOLb4JaBkYTvE7uPSVK9T5Fe6EzQLkTDK+EIcpf9eOOJ/V2vmVnntnMG36xBuzKrargbNLHKVeA0KzFcBpYiFeizZJ/VFS7SjaPCjXDpbhK7+u1FASXaaqtm2HVVjlGfXjPEptRXsxRyTAnmO4c9rEblt39+bsN/RwuQnwtzK7ZnKdtqopEcB6N4e98kK98F6bC4r0QaBDJF6gAm6EfJeF+xkzoJn5b+F8VQSbAHiL3KNIlyDgefDJ9ZUM+iqO+bpqkG2zKVatjdaPsbhAs83av96qvL1Tp7PKq13OFuTEGbdUFAp5DioFdj7Cr5+QRq5uAMeg9gxIC1k1+YWZ8XUb0UPfNOw9ZFmyeC6z4uNVWYopq0ey5HiWx0LdrnR+XsIwdhOrqi7HAM+NIfzOe7C1VmckgKM/73AOF+T8OLx/HY6XTcR5kZ6j7l+aosbIDnbGVDU1pHnNgTRyyrWVQAAHTq2LfyZqP6aZj8pXuAwZFZ0WTeg2NpwGZST4+pLEI460AUHSr3lfLKcBMqYJmoHFy773LJ9vAgkCosk/2HzQw8WKZy9p19HSbJhVJUTVqWh2kCAahofhvfIiX0A1xtZe1EaZt4Q13o1x2Zmj5Pp/gcDLiN9KpSBcoF+sQ5HlBlQabpk7IOE7mrr3d5K5GxH7MnujbHmFDftGTcDs9l6uoBRDqpqRWVlBKld/vq/lAUaulr3J0r4gJzoJvqoVMaWEznBTI+Pcn2CMGIfG7wyiD7uZIaYPG8PhK76NTs1eaCIumeaLpxx4NeK+FNy8yMenv2cjUIUcDR3fotyGg00POw0dk+8ISVUbrWmAohhnuVEc7PCcBq6A8MZz7nYE4hjccZFYdyRLAnLDczadu+Npe0Mx5fW2gtdKDxFYceY26USIs/oTxjBQauPDuoLNoelmeWTpnT8s7OzAPHXMC6HumcfEWfLJbBbVqwZU5Vss/FFQUDKdZ0RbOjAtSbPnBQt8xT74gz61oN/lt9CMBjrAeQ/IEX/ydkOqcZJsFpWE14bSnsaWHb+zH57J4vg7vF+wp4+42EOapHspc0wWoUwmdm3WMjK+NihHDpl8pBn/WTps7mvZ8ktB3+1n2id84080FSKzplS5EFY/XlUfP7v38W7PePG+qQIzQSF5hAQE90P3dUwJtyDwKYEQ3Mbk0gx5soXpHHcokFH2sfwEwWAtd5Ec0rNJv/O6K2jU6uq/S2DuGcoRHOvc+gpz+jReYa20EFhNRxSXmIp3XOu63BxJMzZ/s/iAPh8NwZJMjd/Cu8T83y1KWWEDQO7tzwSREFvGcKkmcXqPpdcEpV661G2suVPB9VlGJa981rXg/tWEwfnDAa2z96RbDvHpSI12+i64UmgMOzD4hCyqn8gYTUERQctYk2f0Y5zwAuA0hSgzlh8CW7Qy37ZCvR0jLIqJNIrL92SX4M+QM3lZfb92cpu9hjAhqIW49iORIy6X+moT7DYjQ9SAc1kiUr18UIsAu6z/Q/W25R90EaTNza0Py1oaOUMgY4YBWtgAGYLzYzGxzUs4oVlKhRq0prFtO5t2EJwr34sYz/1nKWGUFEc2TetnvkmgDSe/CVE032at9cR+rk/kDbBrhDcAbn0gN8IhK4qbz0ygo7gG4FqKhLM91i7kdOivLdQ1UoXwJ7b/Ad5zMjJivQjEfwvu/c+Toju7IycbqupGjnbAsalF4n53NiWwz6pZ1P6O4HkacSAK5d9VCWOM4pAccpcUz9OHLQKbCugqiN/xZ9ql3rsVg6WTQVUifXHGtbB6Gos5r/b0S1DTbRKK5otpMMF6XPtskrvRJ2JWLmiqy45VGUhiTKU0zYXEAFeY0Alaao2PEFCLyUyjUz3jP303hVj9uWSXqwKXi8R6o1z8ebG1PEJu+03pL9+F1eGkMwokt7lB9MXzah9hUoxT2/P63zkmjpnanW0aNZu/FXMH1fSo0qgT9LCFTGoY//K+HmT2NFWi2tN3soVS4rxRf+Tev5ve+Cz9KGyRxGTFaeqE5t2jHFXyGeKBaCMzDifTtZG/yEOoOlp3mi7/twmBfOISPYxyJRcNr4/33ikrqtJA8/x111eQmQpp93tYNyynqwrIc9EBPohikL10zgngScth9IB6dnQtk/ffc0tPjmA8EzKIKxG7NZI7stm/4fe5hCXrP3++fjUQgMdaaLHDolmMqGtoxVgDiBOELhPjM+fbLjNT94SM7+j+qvt3miom2jGpMDr5SFHOKYlUW9zRPOE63GG3j/fFtlSFu/eBA6Ifb+lYBZivcVXwNauz9KmsmbqmhQimnW9a0qNySiJ3e0sjncgPQ7a23WjYdJVMb6mEyWBYEyur37sQQ7k5L9on7Qeh14fPC5BehaeVxdo28+KRGXj5Wo0SHYVq7nqgkhuXVrzCVgR6xxuMjBS8j3Baht5p7QFGionoE2BFK1+V13fpZq8cYMU92L+QUHcUHoRDrTiX/yjqcpZdQISWE88vy40YCXYGliXTnbZQG60Nk6eM/b2we2T/Kp/Xk/pra9ntxJ0sRApxEmsH1i+kPzhY6vj5g9kxiexPNAmU8uEfQb/4iKhllMMECl+91Yvsripm3d3G00l48UBBMgA/dSj90kgr6nRfuWmACjKWfDaorFfPbvoto7VuzgTS6YCHyQ8SIwwq7ko8TObLmWROCPrGhWtYCFKHZ9WOMNqLLA475Daa14rR9qdicqOS+rhCFlLzcFdA8QBidNcNCm1FqyxNjqyjyZ8PtBjZN27wLD5iUhEaJqyrH9GEcnCZJxRYXr1uvxDMzqwQKNwivkz+410i1vIpeIEewh1LQHSZU/Sxkc4kr/ucA9N9/5uc7PUvlRrWny9n6LnBsbBRTEbXo2PEwAcuP9HSb96akqNazKhfhozUQu3W1+6PPc3ypTDngYqdb8FYGUGNpCLVsp8Vipp8lezZMmYx0EMGfiVsoB9nNDvHIR4Qasv010s2Yj4L5ronDTkFjByLxesZTSL1gbxWWKhUxBJ8idxtu2YZBT3MD4UVZYdolEiaHAOHJtiWv+9m/gZwS3HrWGJsUd8FoY4Zjp0IAMB4aV/sPzMib5ykG/cDEdlTCoZ8JBXzSNsk72Zcl1f+EcwWmN7dUZAEFkiuUkEbPUHVOyAwCB6dTj8Ogzge/SHpsNf+WJ9i9Crt5yuHHohAeBLkLIumDaZau5CTcyF/+17qMv/ZbsJaJVFFF4SafonRhg3LFL3ew2CVg71S5jNTnIbBF+a2D98Z4S8zCS1YJQgMxFrr1FKAjIvOWvv2w6zrkcl2Z9epIuGlXsJucRHP9B7UjfnmxY6/yZvjyIJ08JDGm/xVOLnznbgLX128FtI0QcoBGmq9u7epS/buRN3hYxBUA31wgxv0/XF8FF+pjapnlkvy/lJCbvDKLXwdikyjElmCVUb74/woLBS91jtJDwozaFkWx/JrljvzosESdbvGJmAt+S43t552+cIsZkEc6FknU5aC1vol2gI3ZdxxjLoAyctH/re3dxJsxksa2YnpfkiklIZQHn6g4UGYINQQavZUq2q2z1In8kc3yJ9S8fT6mZlbb1eAosPvRELI/6pEmIrq9yqaezpQs857L3c8D4KUKRACB816VEICPLpJxCdF8SW/IS6+4y/zbI0oxLsT8j7UBtEl9nzGCZfyLFBFcLmeePOAciWp45aiOI+f7N1Lj+MWGUmgKxkR4uti66IUFD5iWLB5S46q9E5swjGG05RzH8Q3zPGY13D/7gbUt1N0SUHugesyF1vGvPu0ldutrcjq9XkZiQzlg2t8vJy+DuSIW2me5/gmlQFcq2uF0QezOVnaB9VgCAU8Whl2tYb5JLqHlHuWFDFpbC3SONaopxlUa14XcgQX39ZzW8coELPzIBn2cqLKtBq9HO1hazmCe7rSNVgc8g2PlBmiy4gk5aSOw7rzVLP/IqlABBZp7C9F0vWChb/HE29veJN1UfAgqhBLwuI4vSj2ZfIrXckIBKFP1gp7AABuzu87bC3X83eNq3iP3MWAzT+sR/MaWnomqTW7jpx1hVeTxJrxjr5NCjS+ytR2+FvdchKCs2SqBLmf+EAVv2h7Q5YUAGqcI0VMd/7SbTr7hJpFDMd5n9KdZKgt9PwChU2AYGDJkVNUQuPWSWp+HSNjIZOrApZsDODedebUOpDEThrL9Jy71Sj3mX/XAxBER5Mdp65cVUVmHIL/Ao5sueS4Xe4ZX15qKMtcjuWIxQUsghNozc6KsQaZEVmLrR8ZLGA5wGF+07xloOEE7ClKymCcMCpEdPUbkMvJ908lDCIqkP5woh+rkZPUCXBZ3Rxz6+PPubbAMyZ1RzmWGAmsG5cqhirvDWlrJd1gtnh9UonivnW/uZ78jpjHB5sfVEW/48iZDLJsG0yvGOTGQy8bBNl3yLkfC7eSsVa/+RgJwnIyK6IueVIrlY1LNVJfl6ah609GUKiUHX8FwbtWLyAsqL/p/l4YqSpXlRw/obnG9e3SmM9UxU34GA3t/GvqNEs9NMx3emDl09LMZaZu/+x4WCC1j+z9KPp47uFDitIkqNbFyhv+x5JYVYBWv6wJKyn8//wmfOuS+bILNBSbSAR5THDdjeruF7zBpfsX+Mql6uk5ATibb3igdBLWQUg97yUKI/dmzKN9aCtGom/56qV2DSaQN/m6C+HCmQoZjrD6gACtXcIx9QrWIGDw3LD2kglb2em3hXBW+HwuIYyfoEg2W/ft6XbCUovNOVUpcgyzcQx97ZsdqbjUhLbk+ULnj7nMrajeFlnemWtKppJZjYwl0Mv1JdGmAl5Btt2tT51AtaOH23UFSFJmsXUS5FTTiD84WmonXPW+kBuSNj3WCRgkGVd4EsVpOwU9qjMK+CyYwsVttzgy8SJha/J1hpix9XI6b5taSWlgTn9AGQZCZNivExpkZwyzGPbE9SVxPw/KnUWOf/aFn1cMjKxePZ+pnmMpcaNEzwTBRoNqByxCTjMLcQBeH5wk0BcX9wz1oQ5Wt2dY1hc79CVElcDoI/ufDhlkRYsto/tGd+Wutq12cgoLw1s3QnLbiTg4FKdftri9xE6alxgM++uxu7QkKMyF88lwCn6j885Lp8yspXSPjQ+gHK2gWUcGygsxOveSG0knxY9SD7mYrtC6Ajk6KcDAuQbv2WxNj/ArDK0Vu7rQJvh30ohq3gw8tEK74SGPaHGLwlajaDQeH9fHKhySCfS5QayLrP0x9ASr07wTVkQjWEtcWKXWicdAzbk9ExRTAj2UjKJO04niI4ZYIIvFHNL0eUHdYk9rCp8ZnD3+SsRZxpgHUjUWg1fFjArfTFTuxA0T8eMtSBfP/d3as+LpCXCX8bjcjUBrGpHapfPAPpT3WlUIdAgwSOg9Xmon6zzWeBi2czgpUMxar9YQ2fPtaUd76rQPCscELr3Crpj9m0vteZI0ZY45rf4JbmgpBNPphXkqa6DDJv85YYwiKDsADB8JUqQogn6tzq/zNpNCxmtiX/hY+wquIfG9soFYnyY6XYDu7GlLLUhxzj7jTSGksmRJMiHyAKKLSHOF8G88jC5otNNbFCsRYKF64w37ekzyzmDlM09YyIRftg389TDhUCU/7n3k0+u5jx5/e9aHkS73RLA1Tl1dNC22MBVdq6oV+q6e902GmBG5sgvuvpoRhLFHc0y3dhxQJ/95RZqiSwG1h4RFVujkn0y3M2QKQgtaFf+uBFkXWxgcUXI1byr1B1807sWFSOUHsMVnykPzH/dO6Ix/42kHzT09quFegLoAWxC4UQe78GowEasK3RbnbBLNfAD/WBHeYyPPaDMTq8FLWYxh1LEn8WMf6TgnqXKNCNb5oIbVcMhFiZsVdkQCom95DGQ2c0b2xugz17KWGLISKLUDkhH4FzQY3+uZEqphNXFkxgevDRVMQwQ+B9y69Gt9j4K1rmA3GevbqE7OymW261MB3mFz1D7vnrpOobU680vs87EdQHX+w6atQyksqFjZpF36c66IH1p/dUxVMg4SFqBoq9TDcsOfPFd/NzCiWHZ0L1nEmLRck5QiKGUjM9m6dacC8QAz8YX5oDgKuhc0G2cllBX6vsD0paic3wOkWgypUVtYvzM78FPE4ba74gVSYFmaGhYWFIkIzGJ6J8TDNiIqSmJpvHgieXhZGg7NZQR64xzp3QkCuqvYO4cFHy015qwy09tASYinrQcVQHiA5ePTV+rTyBuXrvQxLl4JtPOwZSD7Krl/MZmSTAy+Qj89v7Pu5LBu/v+KMoz/uCgi0RYxlWMuJ0Q+Qmufy2G4Iv4cv//F3jK1k0PVGNCG2spK2wH4u2CcHolohE2l8e9iZiv9XoRsbPwnAx9ase6E6pEN/4LS3NnvlcTkaFfsXhTu56VcDXd/YpZoZZevydjUbRdH8uF4kH58Fwei1y7W9t9iW3mi75hz2iWFuoNKEvKwaBVmTYDrjcwUrGRbodCjhqAUSMA/BocdSeSZqEu2p7euCr7ndnQo0IWOxjDFrjc+3ldnTkbtqoPLQmmRvZRmrhRdct2eQ6ijyLeVVtEWjbk74rtOfxkB3qgI7Bs1UKxLYAaWdaVwH5LQ6vlt1HEZmdaxTgsLjNhOsHP9OgN9RJEDzyQZDlfXCGXCqNZvX1TViPc+2mA4EI5bDe5upeKHaGwmZJ2ugWdg/Vugt2pKLJLn0X2+0nJzhOWl+1CL9UdmQC6V/O2ZZP+z+0w1Qitm11an7OTKe9It84JOtObn9+M5zmV42hRtemlX0GCuSiO8RMHGjaJl/z6dQ86+AQTuIEqwRB67LJQOw4sn5ndqLTGJlLOAippmHIu+UaR0DXI20nqsLNCPcnDcngfQf0/UX1GoQnb+oeJXyemPXQvf1i3ubzhxvuZSLsm3PKGIhcg9gF2SPmVRIGchLfmqH9TiyFu92oCnWYVim9DkcahqldIKKYjTa9NtsWVCrzaiWxh2cgAAOZF8ZSIjLx/VnF0TfYH7gUjN0Ye7ho1RcWZmxz29rnVrlbh4TvyHZDjA5YIQ8oMPddWUgrABe8imUObfTvseL1st9ngbkWpAnzAyfVtK2YN/zjD8zUvAJJo56CGdJY+536Ba2rGbAqBfrFLQJl8V5elNB3bBRagR16BNrHGc/8o8yvXEu0IRw+b5n0w7zKodtTILdll9idfT42i9EFoMPLoGJVNdYlnMsPZnU7cs9kS0PYhpdLJq7+y5/4aEWhq/mqLJSdgnfHswOIGaT99Z4Wq39tovxqb8CMY7UD+HFSn3Erp0uephI/ezyJKhnun6ZidjYCER+8K9S+1XER/l7RR81OMNX5VC38Q1YdXrKE5iMw9U2Bt5vgwRoSp1qt/kUbk554/MiVV5JiKrGGJJkpz5+/c8SzlOcjNFP2IkWKVEYbOKF6bBZ4Rws1TubJyfp/IsTR2QH33xV6myLR8/HJueosIzDQF52KPGmri/cHiqy8IPjJ1fvPlsJvO6joA36eKh0v/XN63uVOOhW72YLu9GlY2ZOloAaL03HOwUo8Ygfnbjg7d1qdEcvyH2l+UyzaapGj83g9ND5kti1xXJ6y1UZ/jB+JFx71XKba/hJr3aoYhfamolyimOrXIfJIGGB3oXhxiuMMkEorrjzwbrCEe3GyHdkBRN9s7qJ9/x4kn20xW3lzDFfKWvHkdu1fmf6QbjzJseFb9xukTbQnOO8SgWPSywB4/NkjMPKI73DKcEEFEA7Rw4ELWl7G+OC6jb/+oODI7k/axO5RCPPu7NNvv1Jn2zrQIXWIF5GNS9q0/nbvTOKsXsKZ9xomPK+Cl5ON5Ano7u+ft+BfzA7ak6LZ8M/PcupM5fp2NT2ez/4spU+RL71lJ59Oz6YxVtNeZEnaZLUwIUytKJBxCesFJKhY8jj9eC8lwD8Zr7E26EjH7DR9WEIQEobDr1AsdLli0UZRkvkmDseivS/qmGGZIDinuf+Vd6UWgobrcsMKX+zAZ7WSFZn61tNi6o+b9hyT/dnS+rolqDJUy2NJ+OSIUqfsbPD4GVBy8BXDwL8Dum7PFW2aDmIfKJOmNSMySPAtJoQSlZzYVL2WY880mdi3Ef97mGK3SKsSWzRXbQWnv5N+PBr1bfCXSUWYPVg3/xZFrj8JRHXEmL53mEd/manIG1/Jw+3/QkPMNE++19kPlFK+VSQpWMcHIsZT5Ncax9Oi6xmBEoSwWYhw6dzlbEn5TlRSv4F5QPIG3kSTdXo/fkhudk8pKH7yQPEXvwlXIbzhfHDgV4CQgQ9xG6BaqtbmiqeLWlC3KVi7bxRj/io7ae3jbhsd9CFi00QTZmQUmBZWnDgKiWovc2HH1fCR2CvHsaJkrHJFzsxJVeO5suFL3sLXihVzOzN7wgQ6XaU5fjXrvWK265nlXtq7N0oUAzAtBkM+zk2cdj9VYW4pdlw8Wzw8mDEPox5zcJUq9sKVTFajFiU1Psa4gZwKjIw3uxB09tD3dV5I3TXtLxxQTM7zK9kd405oFVliuINx5CyBrXomk82bMKSGb5KItIhNE3857gNGoq5I8SzokHRgPrQJrTMU48YTMlCd6DF5Pw6frdtJmDdv1oHk1pEgSfb6T2zorg06dVY5+9KSlubDMQ+JIiDM/15lc65k3tCwfrz82hPtZnEv3ISco/VfDHRqJ6HU+NpOz03k8QcU/0XE1c8+MP0TILxjirwcC0CCbSheysfSLOsZhuM158dV3WP1J2TiFqBcw9b3SwUnteZxY+rDZKLBj2HS2lERq/Rf/RgCQhirjyiOx1FLwpG14PPnQfjdpLDY8JuFDAn/9YpH8viujFtn/xp64o61lV352Lo3Eu129cKr6zgQABbyYf9/5/xyCpI/1DCtGsLuqkAnYLIZyiNJkhZapGOSnyN3vvqlyrjQ5U7GD+RPVxPgPPu3EXMVZG+FB2oR15c09dGfOVrtuFwekhU3xL1gCm3O216axvSk0JFXw7CybHokJpze1IJlfDAJ7Lo+Vlu6einberZWtG29K2rdIWgNHEPOOHnofz0acT2d9ETfwVaUIZPD/MXSXG77ClGeV7BsId8QY0sFWTxkbtHPKkp/ciUpj5aqEXq/8ptCqlJCAM+LIpEsUGvqg/Evf38M588uBbkHyHsAPa7hnXzJ8n62AsqGaS/pLcNAdRHWq57jK2pR4zukMpCKqCkJM38XM6n5bYW2R78US8yB/4aOnsC6OOzhZSdgSXghZvhA8JJU/6myDdc4Kf2Pl/H8fM7V+M5E96wkZdS7g17VQT/7AJi4U/T4GnTgJNBCshywuRxvlnJYzQNu4SaOIUOg/JtAIyvtEbo6HFYN/B+33hhsAZn4xRgoCu5EpN3E8vNFRPXiDPRF5U3FG+C3OCBt96ydUmqKW/NBCiRrVsgdez6m6sYgfY8W3PWosxmiS1sVATisiKrnHwzazOsbgap8cBj9ZuBjSUNpheQTOvlU7R3R/+rIWfL6bLc60ghceVXffAPBkdrG3cT9+b6/ov18aK82fZ3VEmWkmyLtZ3tSIPmaBWy2QU1RksAiCKnqj5sWf3xDgbbOmimHNLqbSmrmR7GY5gUphHTtAN72Y5GuKv+791JSFghoRGx48o9l3Olx6MpkoR1Z7Kou7omlDWBzqgrnbBpKY2iHU4POkvjQsrx+eMOu5CpNITI8WRE0SgrTh46cuTmnPtMQ/zcDbfYtwAPhP5hw3Bnr2W+7G+OHptC/yVr980OWT/Ti9kt+tWZbbej6ubyviQMWbu1Nc+xxm3TF6cuICMGOWuc3erEez3Yl3o4yeMiY1m/XiG1thu50ok1aXMN7Rmrm7Qq90hnD/vBH8UD6SrLYsZ4lvlH7IDLmb0RbiE9qlzLAue4Di0qgwMOKvnG6OURfwRxWIti265g8I1umQQ0oq2lQ21TChrYnIA4y6ImnnM8oDcZh/LA3Bu51ANcwkbunsGuPUGBskwhKuca60Kf//sfnxUoXQr3lGhX2R8sQzqkAjdPZjzqQAosp0Xr43IdJ3VK9899YMGfxnfXUMR2cAXOaFG8kCbQBlWOySj5rR2vZRvPvmQKDW07pBTK0+QuBG1EMpyIoCLxxkNRj1NlAdRk1mgRqkSINawdVxqGb2GzCgjZJ0xHfdnT9FO+W9FZbQypEbp0x4YLhdUk52ZJyQr7aLS5vmGhslQfDCvWBwoTJxRe/r2EUsi84itrmGRXBhFE3Nn8BXu14RQfpvfsb5LUhWEe+9hBEFzffRz0Qubony1xJ0DPVPcJQDbRkuLuDdD5KVpxMMWhl4v72WnZaMRT5l0oUAS5h4S1h1XFWbo71hYDM2DbBlhqVZS+Y8iP0LGufmnVumZQgYmIUCUfbHPJ2pYm9FlQxzakLH3yyK870IjaWwUHjd/rmUKRiXYc9tb4rH760D1HgBKuja3MKgqqKiyteul2E0DqROg2G/uJ8Nv46ryixeIQ5U4XfOBJZS2L31uYAZO+r7JSLOxYHovHrGXdjs+Y8wSQVazQLWE3IhrPftMUGWoZyfDMOwABzp5nEW5bEt3hp6bboDr3e/U3l9fNPtVDHmqEY1hbUJaaBhRLnizY3eE1wosCKQ/faJiC68GNbOIUAn56UaF3Nz4mbKAlYqtlc1vbZfUSPiu1mlcEPknW044BTWuj8x7J+bukFlmLKfABY5ZfejGtvqG/21e9/zeE4FZuP++6tZraxk+5jWy089qRltYlfcuQmRG8IwId33Nah/iRoJv7IGApIycNnWIhbi7iTmXpPUKva2hoXdERMmCp+rTmJPf6W0yTbSOgnqcBvxC/ZjBKpwwyC3miaOGwsnMLOpVp56YQhHI+qMBVrb2P8EHaCJsVcL1iq+m+AavWQCyitQLgf7GSKS36iVj0ul3PzIpUI2NmEYDMYmhTeC8ew8fjfL3gaysh52QrkNlXOE02DwFGTuAPo4N78o7L0ca/ABBg4YJBGdZRvoWT06ku0bMrygQIXoEC3V7fcRn6q0WFrMc/h4CWWVEldNiangODJC9yo3TCV0oCaRSmD/oE/PWZb0TIgOP8EaxraKPD6+gjsAP/SPgf2QWDiTjqzpw3NEzLU7TEDRKbTWrd9FjrbHonT85/fQg9bPfHkVrvy1ZGTvI5ip/te3/ZoxQV4vRJ8Iqli9ipP+AjxsXSdxYy9U7IuhH+1yU/NsIMJG6HLa5900mtyCV82npdYYgV1fSkYc/Kgc6Eq39eQ8AywQHRShKOUIYXrQr4gH/1DE7JT+kRSw1DjCZpsW+hsi1npp5H3lkL/Q4LfwEpuvh4clcdVHjkwpjMZmZPZsOxSebBkYCKIxiVo7zbu+JiSxTp3P8vL9dly+dmGl9XpFIzNVlxLrwni5JsryLm4LbpkT0Wsnehll1os6+yHNNN/GFoBoGmrL8/xeWtu2OhIOzUD996SJT0iWx6LRYcOaG5/bU5PI+PCLps+AmB4hy7GKJJmSfnoHqkS50SLqPdZDLn5maXZOm82Y1CUZDA5lcucbNQQg8SZL4px76iQxAsEzFctsgoO12vsts4D4FgT6PfurNDbHvLWNVbR9qgpvmeher1oC9DfIwuaO6rYZddPJ1s4jbJO26TwE151HCqgoiV7VZtyqbHnWIDxCu8zo9a9I4hyhXSqS70nrKfZT1Izwm5wQY1pJTHkvNagntiuJNrCLXcuMpQvQIHZkEIQffpixNws/TVERGsnoqsftSdtxeRAbuhDiaoIL7YdU6APs1dbyYS2Jh9hOGG5M7GPyOUfGmEzHXibvzLRtt/9Qo+Fli/voiideozuEWguYyAsYBz+sgtN51P8I+DK0w+IyuU1aBOZ4QhLh3sWO18zY8zTaA2sN15HS9hf2LHZumCLSv627f/mQquP3YXYZhK6LIrOdFNyOKyXnmSACrFyVZwQCuXXTSsgWYqZ0sf3t5425CgA5tBYQUGJaAi3cHcUYuG9wOzAJ25bSdl3gKDXUuUIqnJ2lVlJlktPzXfLvrKpEuChWy7fVkogjD8pMX7q7n9Ps8UguRuLXFe2bnjLRPKGys5AWEFamM7mXYcc41rxksHC6yK2JKO0tfa2arN553spSOVVD0wwX/YCjUSs4RMgwc9W+Nx5mZtfGSJFzLZElEPvYSc8OEdStk0lzX7FIXFVT8AGjqjbKoIeYUqSD/u84Tcs77CxElCO3GMrDdD6c+Sf1shVCSYzfLe5K8oAbK2WfNo9E0WryvKZYuEb9SDbyowzR3JcUrs4Qz5hi8JZupzV+WJaHtRPqmAdOIg39KtUFnSkPfR7lXy4fjNvZaxkk9SlVO1wH83d34UkjTU8g6/DQbIMnzFc3ZZC3U6mS8UPiA/K2TZqN00StRScOy+iag/b/t/iNmQNd4jMlQbq7FFHlY5l5Gn2yaubFcY53rzeg0A9IbHvKPQqycipWUfO30QamqSILmQgV/0wzfYG0sZ4TU432ah2alPu3N3FE3XcuQIrY3sXGjvIqnN/2hhpaoLfEpFvdyZAm8Mn/bJ2E3tpmqPZnaaCpWoB19ERdIR4KjKOAavAR+iphi8dx7QJXMbTHFsZFatTgOzT6BC2HW0AAKpCHrCem4VBVHfq0JPMyOpaydoT/1Ocn7h+F9qe6TLErKQXiSsUw5RRu4RgfamE+e/gaGrIaj09LDWSNDpMuBFZS6ZbPdF7bE5LXax1g2+Tqzo2UqcdpeFfpRBi5o85PdfP4qlougTZlCy3zvr9y95kygVUPhWRH2HgpbN417Pz6v9vr9Mojw/dijmd6DRSLwvZ9cm4S+Z34MbcJpXjDd3oBOMYPusle2Bq/REFH5kEPMwKLnuqau+BI71vfvlY0RqIR3yeUrnU+as7FN8dJMhjPrWX5dZSYOOSjRDOPd46LzC7bmiNI7k5sl5HLu3EZYzryTynniDdFo5ASY8yaYFbfmzvffIap64G/LXj6Tn/3A2E4IqDX9PmxduQaBbt+lj0M6XX92y5CtRE6NHCDMFf5kIeJWggCOuBC7VpnIKZ2MZkhcRjE/BsmLutob7J62u11dBoEDJITlsUa4UdrkbcG/NT3wLsx0zAhYlY44l8VrcpKzXHdbbxvr+gGmi62Z0QEmSQj03wBy5Nqe2wzkBmwvj7FVb4vKXYFBw2ngmEcGliVAbtqiJE9isCDBdi8zSSHMPMPV5s15c87vfvDf7TSQd5mrH2rMrNS/zyymRMIcDJaQWEFargg16TTMquBismOGSNICEMhv0j4E9j5AoVzBckqkhU9J4j67fuxSPb3FUJQuTa9Uv+PJ8bU90rM9MPXyLfIOXcqbZ5JE7yZCg/3IRUI0VHt7fJhSwftd3R1UE/+Uw5pzoXZ2NbbJChfV7NcnzNJitAf5kckubtwh0P+Pgy3/nZZZHRA7YBHXM6YGAviCzNtwChMYUksKLqcKgBp9tXbM1r1gT6MC6ELXdq8gB2Z+k30XSXW4/ImMZIgmwAK44QTsEiTimToZqUyucLtfvsNQV6aFsW8GHuUeDpbADEMTSKBb/+8ZJVSbpNZNHq26Y6GjCoaalwEpqp88eWO1yM7x0Xn+cKLqgmqvPw5AHrdoMOWMkGihyFtRRAvleFzNf7zk2pDDVasL16RwdQVx/iLs//eeAmzDatdRzSH9dh3i+Tcy4o1j3ES0WG2pvcy/DQSmnNnZR9TPaPbWqvEoI9oymyNtz56RKpGuvvtmKnRd6TEjgso+fOg0HeYS4xOmg6wnriqU2tcL3Rdgv15UprNbN9ltd+yM7lX5Wf+PetGHMkZJYIi0NexdBJ0CxNcbF3aNjg5tsdIlB6ZITd17TwF3czQpYFyXPxzX1/OYgumPs3tKhBP+XwdH5WOy6vLiqmPsvw1wJV3qONyz/zeXSr+2THfezaOfLsLfF69Lc2tYfSzVu+T1HsMzjdk36iWxMl3Zkla/6NQDufqpTY4ifMsvHBmDVsMNrwWYUNe2Bkv0YabD71zCzWGGr5q1CW5Rc0bGgMk+sSN2KllaHYmMaEPhy6T6ETHZrJ2k1y0ajMPqe+Ig0T46uRp3ZS0OZBxEpTPu6eUVraqzRjhf+KQtbnkfr/Mm0B7dZoBA0tNARdibP5Leq+mk7W0dyHNScrKDrxD63y08ZYChU8h8Qs7qhsgPWGZs9RjOchSSSx9YAYWMZDVf4DA9Dn/2tA1CJ7z6o5t6dAiAP49J3xr9NBxvQMMsp5PNlYbmA0wRCAblYFjXgBRg3RraLoSRqDpYNj3GcsARNZ1Q406PRE7NTCOco0U2hT/omrENpiT+nDn8X4o0Gg5uNvN85L8j44I9/R9ZfCW2XIdAXfkntmHMPnS9756raYEmnlwSBvCcxjEk+r9jtoY+sRlsWTVSTufQ5R5ZiQNj71Ho0EuHPA4XVhLuNEP2c8mUdYu7V5a7It6toGeOYFr9kKDf+iheF1a7opnKQlAt8c7N/8Rg8UOV5GyaRpIMcWS3eN+cvLBgfpw4P1lPZQc0Sd90H6Or0vmzf6wmosxuMgPAw1EKS6+M3IqV4Fz7cI2BXZLWEXQQW4hGbA8U+THRl5HDxW8r9eqpYcQw2F2ICToLIidPQ/OILe3l8DLh/LKjzsOHNib65juHA85sU3qPwRggqRvMMXc07hl70GtOeqN/1dgsZhEaaJ5YuB2CdiLNpJjhfb33+K9qIRBRl4t4ZtnSDYWtPnjY2276O+4ixS35T0m/aHRHbj3yihx0gcrUuSC7FofNlE+WpcPTDP7ZBe6rRqWav3qVK8zlX6awXCRFPy4fDVH+7lsF9ixinYRzfGaKAMbMNlITYSE6i8QZ2z6Iabjg4NoK3kkqwf6Gsgf7ES6CWdvrRh72BIHVx80lN80+7mimY8/BnAg5HdneQfWuDhunbmJbkDxgdgCaVjC1MduD/Qa+uguGM7FrybhL+JHA0UhRjTmxca51Hj7SYXhEG9zgImF7d4pkyujplkz1a4Ni0zQpMl27myYFyglU1dhRlFuDYUe4BDBuPB3eMFz276Bb17TKWDLb3RKlBt3aZf3AHeF/zEhHMzE4USsHc/P6PoqQkFmyFxncRIX6sasNk64omssPqy3BatGxwVZE8u6zcAZY0CnZOt77CoQ9x0V2MqkFR6+dQzFKu3MAaJBpVc6fbQBd44yQsOFsyh6ZttKrPtNIC+dGOe7SJntt5XQE6vAbO56FqakLhz69kT785fpMOWAi06gHzAj1Bk5qNFGELlGIiq9WcrO6P/63xrbo8WHgRJxlLlUyGvJssmhHHrESXqMjeZ2/pFlEDPCC9p6u5RTB45oLPGx+ETRePSUwBqMWLxKwmFeFglJ2JbEb4skMlceA/PpeouzVz5atHZyx1u1hGCuM8vtBIvxxAIt+QXysJd3exzzsPlSF3VjWUjMf5VhyB95607Jpn2QXHbqUToljssz2D37Ue9E1XmGFKjCPZv5ggyFG1pUhWsfv8vDhGPjlO/Ze1V9RT+0XYGqFeAd/SAmZko3Aod4jXBsmKbv0MudPQ45XcF6pmWGdTQ45LEsIxDJO0MOuRnipx6Yce6sTcL833Zt5BDDg8wRlO09JclFcITSQ8Ssm3HSEUT8dLt5g04s4A0z3NgHFyR0d88lhF6CIjJKk44nMe0KN5BqlEkFW3JMv+tFFFXSyl66r9xB0UI+lUu67YDB+hOGI7+TtNofMlcMnGB6aEFu5aif/NuGP3xXnBKyX49pWCffWj5OWNbSuzRUDY0ZHegOq0QncTDkGiyGigf+y0cNGXyx/k4CXYqHdM1P6RAd22FOHgZ9sCT69+rGYHTDNeyrmYzOZo0dEhQw+I6sN+OOhImSdSh9Ja0j/DX+OfO5zM0lhV11XMzxGImEXDiaOaETB4ieWIP4lotVV7tWL09jTwg4fIFMekmNfzPDTi7iSE8DoeqiLkhhQ2ra8Th+7XVdxBk68WU5XGmkzbB55Z1u9EFjr6qsTt/0DHrsF5VF/ggcezg17tbStpNLp0NQFwHxsZK7uyv6ufBg838Gy+pQCM58jDDQ4QzZUhB/GXve/MQyV0/kWzr8CqEUj11y6G9oUNp+BuM4K+s//d5j2HM/+h9veR88PKqpDMRh8mX7S/BTDpoATH88ZxcS6vgMaQHA1j+FgPT45I+xmE/ddSB6iFZewo6hu1FCF058h4/y4VtRFUBykZS4gKW91DZgOaFzzTTjrZly7Zm+kgl+0ycpsPfpcO2t3O1sovb9kewdv30Ug26aGoxrdZwoSJMACNzZq8uJJZMl4CiPSXjEnFxNloqsjw1eOxOioNKmEPpRwYeIyXzvk1jLeCgVwJHu/hiE0vmZGyAbe7f2NEkAg1aDihiO77j/zZMs85rke3MAry0j6xMO3GbYKJH0/vALRfqZ3HtGnK0shq0TkVSE/jP/JsyBDQTDbi5F52eaZzajSoVSOvRF7Gf0m6N02xPZl6QBxVXkQp4tJ0zl0Ncv+MIV3B8+y88CFM7oNzS8Dwr33t75HbruHaPWfXeNKjEHicIoqxd5McHvb5eZbu3/V05kdhCOTdF2Z9ZI6nfkSq4X+YbLhLY9uS0q4v9cD3qpTwqFkrLBHiyRi/RtpdslyxoanWQOdSrw/oCTeKcjZx5c1Ez7KwBhr6YzY23XOPHQWUuYK1iJkfMBB6pJO/qZ7AZoNP5qo5igWvn43l92m2c/Lg3XFmWzcRUTASqoi64+X3oHSPKUE+ABa8C0N1yIDR8MTcrZNeuWSYZIXUQ5+99sNAZ0QooHdqVSOam8OXPey/Wiw+B3NbgHGkCBwTjo/b0iyNpMc0ns+0ND/4OH3COT4lqE6h6nR99ELfvmP1BjDeg4Bst4lgR+tbUpUlLwQgTdsV/U6GPHsmyplq+Y0skFv3ULX2SwIFjEpyPby/MvBzZXrsbfxad1iT5DJyF/RR3Z7A5w59XYfZvHe13NdrLtaW66zYD9i9foy6ABUg3PuSMSuMl4rNqL6UelP5iFCf2UXp81T6wIBEHpO4K3diOPNg5OwpT32rhFcYgo1yAs79IoixTxdh3mfpdLUrnOpuNMNm35otjU6n8LpbReo2+Jygbn9ukrYjPwGIicrFDpQzamxuwRHkAvBiN0hoqPCOxzlYzupZC1VjFE8k9eItCvJBm6nl36OW2CeaJbhXiA8FRXg659U4wh0fwzZKetFZKQ/ly3nPHJ6EEH8DWsMVstVZEJviGvoaKcmVo/O4yEAEyHjoNdG34TQKrQyfNuaqUG7MBA+PAzklXY6DAABvGx5+LKOYGVfLYu/h7JzcHwyxBi6//1fiEWqQf37Ws+Rfw9x3ll5FOiVGiI95jLG1YX9boF9qlbnjcKPf+6CVTlCJxIDA4b71eavHPBbmPQmp4MncZBnF4XdlRrzjxH/OYl6qObB18To+YZ2nG2AFlgZldQKs+wEIqZVNhLsrfqpFt4jOjSTREmgoZPsADMoym9tXsfT4KGBO1E16K4TdNhQy5t3WoULpDtFF4K0LYtSmO3tjSnaTJGlSFGyRqrcNVHDdJ8fowPFiu+nuVH2+EpOskPeGWarApvbAbV5vDTOePpipaaQhhV/DwIBqB6m3CX39MC2xwpGeDu5h6Km2yVZkmsjb8Rs9qhM74HhJPX27kSAxLqFKpbby9Kre3pBZ+pniYoXgQSGnCrBslejM2vFZXedv4uf5ueRd01XlJMVUXewdSQF+bXy6gs8sWRAa16/G/kPHZl/Hs09Rrg39SSdfm5x5OtSzFAcRw//CwnLv45LA2cMEM2HmnHfACiBo6WBVMj/PH9Yww824zVoAaN7BplswO2346nIAvcov4Aatn0eRwx33PU3hksSjehyGOpovSf7xj0zb04GrhlXO1j5N5FZoMsCdfnXGTxsES8Ph7tJEI41qEYaamtHnG5q3z6gqEA2LiBk/XEOmxZatE6yvb9a75Q1J5Iad4eqVUUNdL24IThAs9+GDRjcJeDupjV6NTpYlgLmWl4F21jx7dlMfThwf8ZqXvDG2G74CNpX7KopxzTG8yPGixFl0j/Wru4erC4VxlDztRoVLHun+f9lSC6CtETTuzusF5US+NgFEYigDwBsWf/R9tYhwr7aQEMrgW9N9b3b+Wvc3ElU4tWMdeaoMmjdl3byZONTyCMcLGotQqtagEYFanL4QCdxc49eiDdFuQ6TzDsmzy84tcJJ/fdtDE/MLYBhB2coEBhaBUCtef5tJDRu1mgRrtQg8uPkeqtXJoG+OfmcsfTb6eU7C5QzXioaSk4eA/MjSKxuaD80kaKDq0m+r7bH2LSBd16nbPrrClIzCvABme0eeIngn7vFMr/orVHJtYjGXsVSL4IlAnhKqQTVYl/xv2YjasWPHn5WAwjtRQF4WW62cBo10bGcWVVJ5109J1sSmzofzNzXCgeYyUsVXiM7OtLLDEWnptUreQxl9nbrhBnuHlu/FExnN3puFT9O0JCemL464F8/kL4A9SaWMTSPbya8IQuYe4dMAq7iA/rVeGXXAdq2TPdkM61ECUadPJsEi2PvYh6wWRuCgP4z8hhrHcFaIDfMlJc30v1nqdf+T9mRSD7Dn07yeeALX7XOJE/W9fFumhZBU0XTIxIs9NG53GHCDM7GjazGTqu9Eopl+1mCG/0GsTeLMrNb28NmcCVWh9+TzPuWWyh01hSlrOeR55ACK+2VsbTaEko7OOFCC2m8ez9eqwHeUt2SNQe/n8dSD+yW7eBb9EnO58Vsd2WFfmNEdFC8ENG9qypAVf5R4MJed/8xxCvjtWk5737ae3fJUE4aT/T97+k5iCqeYgSpjbR4MyAFU+5Fc4M9dxX+6kug2uKsOS3crkPNLZ18JHRqt/eKQ4CpxYIne8Fm8M3sisVE7HgnqjNiM9kFr78uBQTMm/HFidgaPQsx+LI9OX75vuXNM5g9G/dB0C1keXNycroyzxJXXSa2psU7Cl95OABd1+KBkI5Nw0rQVeDsapOtC6zAAiyt+jMmv4kidRt35CwXpElx10aaF6pj15rYiVETVww5NjY4yls4gJEuoBtBsoAHePcTs3cOP6TU0dCtuaReleKtMV2cbpDbfO3+ndWA04BaQYVWrpAIGaY3/f05QTAKEWwnIee+W49up14E6y28dZNhm6i/WOd0XdcA5mWTgGobiM47/T0WCIvkD7CT91DspBx0JXuZd6Q+MGbJLKeF/4NkoYZj8eXjg1JnCa2Lqz93pwpTIHj2F8Zr0T/9oTw1JBiFp3di2fKBa+irXRUxwhRQ3DnNH31BYsUt7rzxMx53Gks1BQquj2z7CAveUwDTSWzpnN8BJJBhVYp20r8cfElTcFQPBMBrA1qzihHiIIUpWzPygtGOwn43UZAFqQ4vEVl5+J1aEkvOk14xyAvv7o1Gimqsdzs10UJwCRKxgf7V8vMDgVMlQC84PP4Xbz6kcO90i1TYKGL95cp5paIu9D36Dabc6YHIQw02a5NSJCojPMor7Jl2QF8Wgv8Z8646FTHPFHx9fa5PtiErO4bmj8UUH3wFX5DhwpzP1C710w9IX4uBLnuhyWqgp3fUdkMAy6PfF1BT2VgMUIqou6tDik9QkaSln9reFahp6iDNaTOKBXh21pgm4Nsp3yuHUDlVVOrv7j7hy6oTUH1qXRMtTmZ9RwtXoiqVcHjZrdfHPEzP51cWqdOeeF/+eK5nn2sAlbTJu8BLE8fLhvEGSpIvW0tS8Ki2yP9UEiMWYAappJU2S2zj18Fs5Qywj8HzA01knEfM3/rixiDpNg4V8kiTcV9EOmu1YzV+n70DVE9Bowoyn74yBe22E53M/iOvapQ+ghQKu3LzkXzGbAeDAO7uzAWwiEyirPlL3BMgZh4XzSycreJy8o0yDe9saZ3d1H/Bq7bcxC2+kgjtuWXgkbnWQGVxHUIOlbvfmdbO2RULDgLHKBhPWq1KcoHkjDACBadqFAX6U/tlk7kfSSQXJ/a3TBOXPIs8Jv47CzRhvs/7NUNvMTkw9ZoDylq+CEZOv2x/GzwL2lJWa9xyLiBR84XnWTCNxoR6ha+mtTphezF53ZtoyKjvBVoq2jVP+93xBQZWTNtaiMt0qILsp34FVQSOdKSinKmtFNQ/pNVlmoXHGboXRNBxSlEklbJGRvX9AkOb5yyflG1KBhO2sykxZQLHdO6TQ1BFb6LGdsSzYj7rbwuSj5L4tXoUAvQQcEERmXn1pcuDxqfLfaLe3805jOAE9jwgzvI3V62A7jU6CZzDgznPLyzvbneEXegmWR2MQVqFI39UMtvQ0Mvu07fhPEj9U41lzy2wFxba3GqhvhMSPvty1kAAgA6X05WvshINxw7LGMDJUUvKKl7AwK5tTVvBR4smjd/cIEG4HZfubNt5M1854BkASyU+co7g9GWlf9g48MsGHK0Ssb46mNrNAGlvJwwVmc9S0BZEqJWYUB5B1q89mYMnbTLtzritUnwWmmC/C06TAZYTgfiW1scG3bq5vZml+zaWYK52P1Ame5f2VhmPzgm8YeSWUnEFE0UdCIimEzr6CdWeuxhwaE8HWcC1Ka78Ls8oexIR7H1MkULPkwhShQ0/+O8mIe6WCWuvTeuRzPxOXTgOEJT6LPVw3vBBI+mv2VzvyJzZoakglbeOH0vc1up7b+0Xj7djTpStbmE8oS8IqmugW4w+lNRLF5joGJ7U1yYRpL+2iYmB1E/HH49spQcUh/6hj0X+4tUp7ockwj0ueSl1Y5dm1AzyUIcDLuFdFW64gdA0UuB2ZaRyFvsmmsat8V3aVSfb4SW7AV9SfaODQxsPy8tFeHGiO6MlUIy1n5h1CwEe/5yXG3w1BDRTK3+HP1DWgTE3TEy3TRNxYPDcFOUBa8TYyPJg6KBNGLZVC0f7fVVzPS0CogDQ3ffzt4MDfmXSHcJCrG7PF5Pmtc3H90TQrbYsjlVgESJMKoygIFkPyqUget0wVYVbGoaEYY/3FIS7cuU2aTZ6AfxDTxrfk+5t7bmkLLIkOnXYWDbmzF936ZBgMucKmDdCaNGxUHVYz5ZSdXwhzNYW4T7+mVFWvvNcVJ7vInEYxIL09RV+CQ+3zbSYzgCBfZq8m7eGkgCBECzJu+8X+kS8dFQGJnzTXpnqY/7hLTTmCr17AioPcDyOlI3ChfneeAg/b7qQWRu+l6pZM2GHZjHP9oWkOe4xlSUy5eRIqZ7Wu8tVFg5qhu0WJKEVO1SnExeLBvGICCzY5CUO45ffZ8mx3TiLj0zM+Q+G2JTtA/2VFGkFlxxyAN+lsZCrozOjJLMfPpT5ZZQKsdr/UVAVWwabG+5CZaxGPPs4H/BqgSkQSzq59wpqA0EjQr8d6WATZvBkxucIE7/Vnz/03iEYN+NVBYZpg9ckAezsonp8TPM4XhQZ1aSjPosvVATMbe0qkbl1czljBpOMvbt+QOQXyJLlLmf2glNC3H/GWclx+9E2yUCv01sY61H8fLxMTX+EpDuQVItA+D+kAkALaX9V+oiVEPoZnlXoznHFu05hmfR4m5wSAn7bXJRomZivKqZ3f2YHHjP+vzDsrBFWopIRitujlVD9kKb3yLOOpUIMY5DnT0miCryJVSywPMmje2Xjq0uUYywCVMcHMsBJoJgvOavMYVeuQVcIsAEc85tH5d3Oms3CBKYHsB79pHBW/ElyeBb6nOkwc4H8rZSb7IJRz1mzE2kOXzE3N9wIR/SROA9owyIccdf/gz3ltsFjOajU4XSRC7DnsvvbZNgNvlzBhWaYDF4vaOAYA7bap/nq7bfywo0SP/Nk8dRY2DwFx8fHwj0aMlwAlUQ5cdQYUK3dNq2QAD+5iMQ5xp/Pl40kEy05nz3cEdbboRbhK3F5a3DKJ+h9d4aU3ja6SRcNkQil5IbWz5s7Lgrp3f2WO+/59y2N/kLpJXRdJpgVlbLUfI51zXKWMlsjytU6yqjESvzDp6UGEUwonWbMMsUZsQfwJFZU+oIo9MHqfrHpbqyydBWPD5V/nqkTsQMNwzzq42TQK/yY9bC4CMAycuQ1/eSrkCnODAwWZlGwMun44X3dBnt7GmbDZKWK6KjuirPAzR/q8OuScIJRV7u63jpSZr282+D8P551xVTCi+i3Yk0sLJ3YkTf+Z5quHPbvtyCJDMOTeAXsLZntpiuHB6NkZHRdJdCXLLZ2zh5/2YeL8uOSRn7+dx+tdupK1/qR6t41TpHTLXV8qXdwYy+8JucatGIKCMWxTEp7X24KnOMRf8MhEU4f+JwdBBBffqDMbIA6DgMwKV5DK9w+/gGOM9amVYpETv6Gg7+zrX4gRAOFIsCRlKZUWsky0FUbnqZwsYmRFOeB4lIfyCPVU2gY7vVMnAXoNuC/ANyFT0qw4ymNRylJTUdpATzo+2JEnYKVEQb2lL+VUQ8/4feOqg7uWvNpJbhqm/MCCdrFTYuJhjYO6ceV/RQPZMK7HVrRzm5GgYxEUntfvdXJbN2szC+NoG1tsCFh2zrQLGc9ecGGJK3xIRn0dAfVvxLcvIBkvJPIqJGiv2zS8bT8MBP9yeSZ5kLdoLEC/zVsioQtUpRCaIfCPHdqyCcI1JOTMQWCd1XEe7YbhhgFcKZFs3U9zOzRqOIsqIMxApYNKTtkJtmUb69YHpaSgcPFj/9HuJpmPJXCcXtMH6QguLNZ7lDXZOGPWDJSmjVjp1XX07lUAzerFYRu4hIPTb6sXul4ykdq8TnKcbEk9oG+3lSnZYxWBZUMbfE0zc6N9RTBWM0M4MO7yB6RlIdr/8jcuQsGiAYCNRpPvjiTzYNuN28AiZ2l/zNkILGMviaDg9kxFMORESlC59I4XAW+3qN7L+j98TRGZ4+9jiukupRfeua+6NEw5U0449C8A6PrMyROXwKjktOKOKA5AZxCkxB8K5YxlSJJaZptQNYHY3dBjcIralPhdQ9vIs2CnUm8iUGPQAJnth0dXr/lZCK7W0WptTWg20sp63nuES014DuAJPqFW6qLbVHrH/vSykHgbBT1qS/HV2AlmUuK54KA2dSYEc7CtjdZTONjfDv52iLmuuJcOP+99EZYCf8mZS0vNIRRcq6SlDKYwpsoNq4PdNNXAORoVFU+/A/i18YKeYHPf506meJsVgNXwwfXvir3ybGLkLy33QBMDPntoVdntycntjmehMhW9Km+DWzQWfo6nIePR2afrJz/nY7X+iuB6tauZ3XG6NrGcpWcntBnJcbI/xQtBjoH5VYv7eu7wB+mnBQEzRHKZxJMHx466D4MzSrv39+fLE9/3Wizij6KXOXXc/en292yCBJHqRHCpyPMYExvcEUKgvtQnQi79jSd9HhhUQbo3yssu2FeqVvegwibwWBs8imAIuJIdXL8XS0gkyQvZRhWYermu2Hgfau7PWg48huOD5IsbtJXP0DbXKoYOAOdgWFVEq5vESp0lk+1rZxKoMiPG2F1ltEDH8yWcojhIQBJT1NNGl1+ltsOaCyL0IqGdv2nJ0qNgcUb/Wbpup8Ws0AAqSD+L12og7o2mOFggaxLucWgUmGuqmkcmSCX75AqZMOkrD+jlQp1s+nGMujQPmISvPNPjcZ8p1u002jAsXSWK3mUuz48cnKXUlUm+5pPJ5iXQ4sDUHMJVA+bD+J+lT3lZZpxcYi4FHKg0NjHUTTKtjNSbh9EjfjEqO6QtuCm6UBfjRcLwKIvSvmnE1RV5lv9QVtL4zCdZPU804BxqCilxY3j+v8+YcCF/nV4q4nv862OVxi5biBWSoY3KMcL4GHpaUOzP7nxXj34fr51qzJdWySCx6AEbr43nq969kMc8F4TYBQT5BGIcyGwngx+SkM2NX5by8waWa5d5lINTU3i4HAR+S5GjwDQ9vXDD4yaFbI5ctQy5CQic22pO9xD+f3oHGcliJmhhLHp+Vcgs/1ICuH4nkGXJMVZ+lZrq/QPNXvmIqXqmeVF8bD8A7CRvNSwFLiTfQbnA9xspv4bFi3g05ag9KR1f1rhZPqg0pveSrf5I4PUGEVk16sNflAQd+FDV/niSYFYZwuOQt5AsrYlY9c40WnbEclvNBiZSxahlRdFUS3Vez6NyPjpmv/1USwLO1sNrLtyxfgDgj43bgfsQ3arJB3cZRceuvGMdo6iGO6VV4viFw6KbVY+4hYFu768j0CxFaACm2jabAeUEcMVctQ6ImVotkQ/nmjDrhJ7oepJLUU6zQHl7WduzwDZox51Jo0n0jSewFgB5kaL0aHIj+HsIaANamJtjaAGchTyzlUxizt+Qf6OzauO9SF/Hfgzoah+YtcPxq5wwKVtcvqP8lm9TCe5CALXs1jSeEFkJHBg5WHR9NBuCiJCsxiNHnBy8p09u7BmYSRufPPPW8azZc6Kc0tI8Mr23YjRy73CcSuG4lf9OeKLsX2IwjFEY9/D0zcDIXVuyM57p+A3nuClr2eF0zklCApj890QueX5aqgd/wAWC5Os+2wU1icckU9RId5zuzklUeSNSFH/AagxlEtB6vq1q91NzexQrQ/XjglBgVhL2/+ZiEe64m2FdF9ucFIq0oRFLtHEi3aVXJoeZazOkWziXdA2TQiVIignauLngx8csAuN+R2tGpy1XRt+XEVKIR8p550CfLa6GcRCQffR1RSA3J+NPnj4j5gEDPGYY1GgNdPdGX/VhhGwh9jOVgNtSBmIfw089tlKJfImbzEPUBjATs5v0EQ4wUMXFMQnXRLag64RDP1IlGLc6B9rJRmoWMsVKpZcCXOgmsGMf74fn2KwzwS5owhMx0IFzN0S6gO5tdB81lN37ysnA7n8u7lENM7HoxNm1+yy+AXKnKtmkUV1iLKY1hkQBI13LPUcnFGewzPCMr6iMX/UJv61VUmzaN2lcb/OJa0aisSU7E4ns0FevwJNlQ/hBFXCBef7zl000KQbgQ+ea/dOkuyR9VKTQKU0mhPqNYHmO3tXuRUnBN4LKfTv+PONfSG1fqmSMDR84j5MEPrZPUKdnK4ILB1eGOOOgPa5Imjvt91L1PruROI22yKKThOGuJ1M+gwnlPPSdhM94/WRfY11AnO8G9QtGIGrk5D2n2K0OIkHlCoSxp/3XLB1lp8Kmd3dIRebxA96XLe1eGoq8lcTV+1t/Hoh97NmSCJWIdkpdq34ymOFBEi3P9+OmwvRigL/dnHTOQIOuqB30Rsb4ICJuy5LZUKbwwjRTOjrcXBdIVNkUcIlELefaUg1iWQ/cHtQaaF39la51oVL1saSf5ds40ywtTFhv6AejqTJck/8hZIccNnxrt7B8IoZsEJxfKpb2WMLssoxyE2wHDbxYPbH3IwMHcqMkq18iR/FHYelqtQaA7Xa6VnaijDG0j6D8czMuXgtIz/vxoGFw+83W19QvrnTvA5FoJdWJ0T8UfKqPA22VkCYc1Gi58PVvnHZ+QvA2o5sCZm97mom2DssF8DMl8+y6Pd+r1WbXOKqYe0VKu9DO7qeznI3xVTZ4+dOdvGzvAolQQgdSnne14gCXZs/A/Cb+2cNdR6dcz1u7NHgy7vc7Je6HBUrLUBvLIHBacQ/EBB3krM39gVqeKvu6TQun+BQt7pMO9gmWhk1ZbJn6XTWRbsAUc4Ku42O4Pg+XegQiXAfw6lnzYpkEfnu6MRAbQm2XK8MnwXEbIDEZD+WbY5wM8QJlQ0yq7QUk4Ioc+BIzqJ4oWMEd8kc9eEL69JaLhRxo4/Cq1bI88GwEpH3d49JlfYYPqMogdJNfMAWOjzK0enGZ67bCQ9x3wpJIr/XjiO8fvsbH6didk0/G3AURyX6XHE5HdSNNQpBLR5Pbw57wNedZ1x/XQ4DwuNOOeqW6p9Q9MMTI2ynh5v2A3ocj2C7t8/hvOw9a+zn3bW6VUgOGfe61RzRrx624uC7zMNBGFsBBvU0IGX3/jJBEw2NgZcCz9TnpOI4665fLYFzKWWodcVOskt/hi5TEmV79198KR7auAawi37RYh/Pw7wfh1qTdyUIbZY0TNeYcK0IolRfZc+c6R9RncTPT/fK7GsVcFokZR+/mGSMpcgwXOYp+kpvh056/9BM2hqQpr9DodwF/ZGAhoUaVrvpx0GXXdOBCYkFepoIs4euJ2eEOx1N21Kt3i1WPQicq2cnTb8iagmAbXJwCIjuefLAqhVJbsg/HKVMnNr7/QUwxDSLTpVDgdKzEb1qkMQHdOnNtONwT5dC3cgpXnmAQVMJ1ldAIcf0pMnnOQDLZ5143Zux35RIZLDKYI4PT+Omvn9j5OGE05AY/wPQX7JALY9ldIo1Ct16IzfcR7c7dirwJESEAcCtaoacvO5h/WryQpk4aOzKKYrwPa86M7c90gECCR5uZ8xllZcsok3z2I2NbZSipx217dHLUUJxlLWapwiHwAdpHeEfXb/AtfTQoDEE4OmTN3Zn8sYiuCHO5Exy5ecVa7Wg+rk/4Cf4/U5ihJi/P1hQ5rScW6neCXe/ZHrjmGf0v7YWVb95HrPedCwJHDRWVDG36rMMO83BCDTjcIbrWeoG0rDbSIAjCRsKUxrzJHKmF5pYzqD91aXWsBI9bKsotZYmc5Z8+6LtVXZWYovwI8HJy2voSmOa3Kn8tccZsKSBRFVv/jWXmHkiSkGE1frwUZenpDMtY1iZofITHH8B9QbEdZfndyXPKjMYUQXd/z0LAPqryvFWRdGA/hSNNNgBLzh8pSBNvq6EwnNc+6whGNP1EWs16x/v2DTBNFeu86ZQOAxA5A06sjuNTUoBAyGMqluyyQLNUazKCrmSnxzxm1tjtU7+irbGVHY0KT/DaS6Il5b6HfxP0hI8oYel6taVDDerthuSJYbC6jfZ+IoD2Y2Ci5eb0wX18lTByBzLh8ZHkoxzRQKg9KnC1ZJtYQs1JpJ8aZhjNUE+l5eXj0DYPuPJ551YQ+Ys5G8QygRsFIZ71rKolvvm6BA2BucTHocbW/YGoWWVhRA9Rw+HIhCskWnexKuf+6FsZoN9fPR9fq+ZbLEoG2/xLoAwUqe/HncIiaXi15s8v8PgHSxReWnpkgV2Y7ZI896dgFEpquVrsCWe7JJO2zxqqqs1+l5CeWkE2Rt/N8C784Qw/4Bb0Kz0KTuDj9Q6vPKL2exSMv94V5v34TaDnsHddDu/tjVpLuevnXIvv22iBUGiAwXCveiER8GgjQ6EqEKLFWSuNad00UbyLfu1aDnc9AW5wiTSWyqVFjZxyGrsBxQVsiClyjjgJ+mOVPW8dgPhn3OEw0Z5bzMC8m/qJA0RjAwYQcDlq6D3Pgv3HQKZ5TazuLMg7/usJHOHIbl8LRipwths8usukowcWmfU9C5U9++C/OgyAmAa+kLjWqM6RyW5k7xTm/Ezq988W90Qh6ARwCTCeFy14Q5n7EHI+GF9Otyq6AbitIv+18eCf3XfFIou9EiCKPeSxwDoDiggBua/DbWUE72JJTK7qMnY97Cc76z6ty/qQx4SDl1NWbLVvHXOI203kpi6hTsSC/Wr10xNApOVmiCEL2/+VJq/wFWg5Ho8YMlAyNlu5wklHNKpTwHuaWLkl+aRU9xWamFpftVwY5LlADII9/GhtPy1jTfjRZmHbJUD5TrtGRVP5EvsTcA/ALtRfcjumI9qH7brvuVeCsFbAHZGkqT+xtHKRGF/sqEUoeq3YD5w8j94g9l/kcXffjRc8eOSUIlXu1RvCYONLjatAm+sCEQIf3N+KhCmuLijb1Dm5SZCN/jllNTeoOQ9ymMc5bqUWNxtY4U0D5IetQGbj4fMPvVd6T3iAvr+eiz8IzUfB9o+/u02p+LpUShE6FHp08A/+qIVofi4xn0NqwjInumiUA4z8Oc1XkjqQuMJdsaLJEKhAd+j71sX+ZP1Mlbg0Sc6vd013xJlZ+umVJL/qL1EWShQdlgHC5PBEYMlMF5EoHb9Yw5lBjd6JDp/GM5YzXpXonQFF6TV7oXtHF97KJ+Pk2AVvuaTZZDgMKAIqy6WxguQMEJs8bznhIXk7XRu+Buww5GjLL5o8oG546yobtxUW34ZZWkbM8A77gAnxVjKsuZRj287Zx1TRltp0tYxky4s2FaA44gPXEUgXg+op5nrqnStlSpUP0jsMt0gmp3dw9JrqjNQehhTcvBSjB+trMaDup97t6MNeikY9tsvYhMusmLJjdE87n/ExyfFVBExkd7mbIyJyk/MR40OMttylZAGaIfQ55IO3hXhjDwMwH+noEbZJGAeryfNpX0FM9G2Ib3n2U8BKodqxrAZeRNthYNU3d89AjtlVxyahJMpD5q//K4932K2mGBYXay7isKGLSF3nAQ3KHsqkGNUoNww7NMSyHmtHq8/WMyhBOvW3kR9gcA/4qUPOBZKSuPlEtPn/wG48R0bqlsZCWuFbjZ6NBL60y0ZXLx34SIjkDz5aH2AcJHHC5mkeb5KOuL4gXtdh2+dJApyVVXpumSb882ZL7FVKBjWXsKZaesWfXWWaPAzhGCVh9xmKbNnDVZoO7C6SmBcB0RLgX/erSq4ardgHGavg82L49RTYC1I8J4bs/RCaN/MMKG/zLZy5k/UXgVNcR2sdyYRm8SaAapEYNS44faTDrmu0IsJctbfgNNiou5KABj2vrWP0COBLlvCWTwFEpBVP7js4CoP8NKXYNxGHCHg6NtLeXEL0BA+3bGzEfpO/hbGLbTDjLMEhvFRHBnyi16+XELB1VGkBUvyDe6KBD2RYS+5KU5Vi5mHX5+NT0tVk0udqLy7Nun00snT8QjZ3pFZ3CsAHhY0E0gBzK/6MIjFukEPXPGezuh2VxPxTh3JFUhNiMvpA8um7Rum0o9iF/BItj/CIOzJHn0593Mz5OSnpwT+T8kGBTVBZzo9jliftCHtTm1JueppHQLSZzeOGsI3xdR3Llhhe9HStAkD8+yEBgszYOspbz2rn2XQy7pup+eZVP3c99ZNsdxe13nqL4qlBQZSEY9xRv1RZZsHlfms8Wl9/O+vX7pUunMP+QE2s4s51+Uo/sBzFsmMsphOqOWdFUyYIqBxjmCFl9vmrSsmtx9QIqDKVQxQ0XUID7l+uuVi5J4nVKk+2IULvQ1dy1ofLfJNxNm3LqM1na310J99RYvL/bcXf7PsSQZYW15588AZlLhkC+mupneQGhIJ7VbTRTQRMLfc/86D5OP2+KkAfAB/jWpyJyeop+YRbrtUbnnTJ/FZgmPhVHjf06X85AnKKl+Q1sJ1gp+Gs3w0Cfb+Xn1XQd6GNuKRbM/Z8h864Iu7kbaj573dtbzb2Tq/bN1ZadjrlRpgVYmjSpKnB7tpxr5xBs/INkf06jvXL73uie2ptGxU+3cXLG65BZndKTspYXrJrRAcccEDXHJBQFlnN6GUZdwuhOkD9Pz25A21/k3W6AieBlwVBVSU3j0tArIUicOGwhnDl5Rl7e7ma6M0K7W44A5pMJzwkXTB36ZLWXGFTvhm2zAPqlEc4rvqlCtw+k8ja4JNP9NOhCk+GV5r1ZJKtbmUmlGIeBFOh7NfipQf4ZGlJRC5tYiN35Dnat8CRM5tQu7BrbME6dtVmB/3mWmspu4/NcgsNRmIuazCWgAdSOQ8yrsNMUpnWHXTkQfCxmhPnn7/+oBcr/E6BpA2qPxmXu9xGGsBrX7iVtcidi38pLvk+NVOO9jrQsj8v+jTLqR3LE8epxRJ4j5U4hhJq3CyYvsccwtZQCFiD1546y+GSna3/TvOV0EleOOkrr5a1FtBAsRusse/78nGpAUmbt16Pk5oans9DgMqh+NYzg2bU3P/e4u5iUZrRX+7GvwMMlhWe/H3bCUAPSGC/lZq0stbtdaYmhio6a9kFNWWN4p4vepRXPpZAjjKonxp01PX7icv6d4d9fuHKm2BE1aWPYjgtntqPQF8YMyUmQ8fbXNeADiyL9QA53Lxe7E/HGMhCbp970vvgq1BQa/A3SR4/NzW3pXnCZJ0hgU0HV34rtucbG+RpxZvsP+QG3figf/ErUIpoSftU0nPN5UJHYPFCKQQQleYItGxDZ7GBroRx067fpduDuyQH8XlBZxxdviYg1Ax6egqpClQpiQRfSO0sa4VKlgwbHgQh1h9P9lhY9oNd49Cfi0vB+HEeNt3KWfp8SoSrV+vCm39CGI12C/JtbLiUW8tLgMFFspGJPGpN+ClS+rZiYsq6JNhK+gXotltJpNTetT85yJ/FMKOO0fNKC4IpHFl4CDdZGXAwk8uQoXYDCvn5Q+34/9Ojp5QgV8W0XVh3F9rHOpEMttGTexRvSyjKgnIN4tF5TDONDhUP9wO5Zw2FQsxgtk4M2GtE8gn0knMB4Zro99bfiKxPaM+b7mfp9ru8Jt/RxxrcTsf1q3SGuRwdOfXZ1NA/Dacnxqg91CFr1vv6dybmMoE98ZebNOy8m3yYJpMgkKN4n0Ohba+2eaQVptR0lv1dHlFkgBvSLJtbN9h82JGtYRk0juppPraD/j0MBXVUIunR5se88YckC7r4JRVxSdaKfY+dd+h2dLXhxUHVdlq4HTtleW7OSIdKK3YYZ5vyjM3QKBaR8OdgZYiSphkQQM1BzdtmhRSS4uoHltUOlrXkHAXtVp80hIrW7DUo/ixN49drq4LzJXSWlBVIUDU89GwIh4SuspNf95Tg2LkE792NmiQWCjxhNLf+9LVfCjIoBb9vC3TIeNOJABe5DNwI07FvSNNx20sYtTmvji9nHzHcCUrN2Kd6bwH4uPH5uuUVy5klWWGCJfMahna264girE/K/WEJUphCTcMQ4OFrtt8jUo4CGO6iI2CdP27j2AfIQb+kmMhkcjtQvIRkRtH4D4Fnv3zh3lQtKaEgTN5AHRc18Icpw/OPKxMOncnKCu3bmZPPtWGSWXBM3aph7TXItO5aQSgSWObNCYHhVkP/gGbEtHBLCym2052h1uyspCqNfvcjefLbM8osAj5D8H19Mto95+SHyzwFb+lpdoL9dsFhK9JsQ5W0Ze5ttJvdagS4Z6785AWh3Rz/emGRI18bc553JzsQBZOOb1XWeF+Jitxw1Rc5lSDP6m9Mw4f7hn9sPSZ+igRe2KMarQltw9MBDzG+S6rUQwvobmCd3my5fNcLuHZZpONz5flJyppY7rqHSq4l/yhWeeoaf9Mly1xJLGStR2LWrm/JTRc8ibkhH42Iy67GAPnaNshkeWp8/T4dO8m8fwIrGfjEJiA1llkUAcr55wAZC50dvv4vOnCOtKbgpq4H3hqiyHw6S2/+gOzLUdgEyhOh33cqHc2PmBddGtKkYc3g3OY7ugjDD908QFtWeTdfkGZD5QpMBGHz86kdtbdFEBsH3snJETLYwx/45ruW3cKCz5NV98EU4nKmpSuez3ZTuhmTHjxculMd7M+0aG/RJEUKebW63Tts4CZ5mRpbINN/Qwe6V1abVK1PYfVr25YOVEQGCxbiTIOGhyz5AxEnUS8z9h+Jq2JEC3Tniu/W9DCM6E4YbwVtleHAkEkWLyK+1os1ThK1uWQQ7s0dtg2gNVuYgK09pqbJvab+h2QYZ1Vb9EjI0/lbygYACYcm+BOaK5aNPRmlSgo6TKopsdanbH3lXxHODUCW7wlPI90lalepUMo6ub1H8O/CE9UHDIpd6GzxT7JjbwIXxO33DzZccWkEW6fSrTnQPU+IktdkPyNwNinpDnJjzZldKLOXETETGs4Gc3zACcaxKnpcL92T40r1PTJGDNnD9UQEpgrZY9wHE32qxOu7W9cenYOEQ+WCGQcFhN29qfQTbuIQiHAHxLe8B0OVPNwwySjNccnIIdnmQAsmcKkZy16wYkFYugm1yqPzXVFToF/PHk4MWcYdLCuxu/6tq9fBmqgnQ1u3nLNi2ud4uKXY6K6CxEQtPk9MMkrHgZO5gT2gNThD2qgFDPT0nWE497Li041+5T1PmOgOMomqkg/Xyep3ApjddTgeIXqrY3/RnAexBXgzMuiFVgTFxntibE8XtxMEX3PqaYyS0qaExI8GLoCwQ+beetoVOP1e9aZLu4uOboyDUMGnGzUdCv2KFYXpDch6omkXvR8bEQS+dcvGJKhNtCn6CqhaXN4VRoKvRn4Nokf++MTTnp2M1vXmOO+xh11vjv5Ux/nxh9M1xD4BgU3SmGPkUVJsEcmZNuB9qWEuksunRewdKuq1gnEVYtPBMuglsR09kcjO7poTVRM53TJmNEKK39tEmgEqLgcvcdaOAPpz0MdsqgMjJUwODo5XCj2vmJ0yFfIbM0JhqH9LSXlgNcnpN2ypK6a/8Wm3VxH4+p21nkafJKVDMI2N0gVIwsYWbgDaoooomnK7JSZadZmWrS3QG36O2tXA2N8P2NL319QRl5mCwaQW3KprSaHzJhjL/1qq9OeZVrzxNTl7Z502E0JHaGeg5bQhpU8LFgtF8uNz0Vw8wCid9TMY/DT9bdFEP/HV5UTMKW2qfeHpR6L9t6Yg+VMWVmysxlrsJjFLtcXrtoVJ0w9gEy5nyWOCj/99SqnCCcwpaCYEbBMuVnBbQRJE+oThsO+1SlT/ijnmFhvZ86HzQ/8KiD9iO/zwvJ8n3D/DFfC8KISiRwqcu2eUTNjw2lqUAfIspzjRZwQFEgIKzy+783w35qCzHHRhGfMGnMBDCe8LMBg+bJrsiicHJuJ3wqhmo/V3Ztd/T3dmYRc3qHqfFKSnf9WxF8afCh5+DXANsmagA+CAUkNHneHq+6FBvBdrE0ibh02A9O8zQyXUV2aPqO+EnxiOxs6/dOSPcxiBf7ztmErsKe0kijciaXoEVNqqdatpA1yvZp6Gsg1XUW2ah3i5iYaOZvo9PxlGxmxqhitaxC4VZ3B3owUGhmsV7AuuvvCH6izqx/WTeZ7zNU3K21JPqXT2rTFHTg9Jm7aYfEZCCGCGddtSzHcxPhYQOMSF2vEqSauQBh4LZ0hi8dNlNC1uInGcoIww8kK3kiPdYyPc7/ZLYFq1PUAz4gNOPKTVaURHCjfOio8fWG5k7lY/z1/p15T/WZpDCooPG8+eMr5bux+q+SfrdaQqxkOqk0R4LIGja8+mHr3Vg+ukIujBc0sSrta6aJ/GWrD42+OM4g+cFLQTXby0cq6ynDaKiK44hZ/QcpuXZfgvyuSvCCzponBMwOj7v59SCgWUywN38xrrCegLwjVAnrh2jcG7V2nbwxvU5vLBj3csQBE+X+/1dm1DpoWnbegRwPq1bOhFjFHl2NJI3Xd1W77aejAx3w7Tc10sFTm/r5uO/JlfVXpW4ME4isffuhszvGZRrt3XttGbpuyfZG3TOXHtoFn6FJOdJKi1vtl+MY7ctSzw4jGIp7bnvaswsdKq3pdKxpyGjAgNg+bdMhsqVJl2fvjQXVT6barc4AEYAiUu0ciMx9LCUjNGvVySVxhHPb16KrZ8M0jTV7fpKNFS4qi9eulPiqTg5NGfSlP97d6w+Q9pPLn7GhnpS0Q/k3iPoTe9WquySP2DCh4fbjqhmlY48ZINI1uhfpmQlsIRovx8DWe8v9U4JhScIdK2NhCHHR2TyQ/Flpfm3B8LJ+bYPGb6e5UukOCb+XcX2dvNZdXKWEIBohG1GY7dFbtjkaXJmq6xPgAAONqGH641K37Miyv33LBT/UawSU/2jNs9/cjqkAXcCkT0xWXRwOUYsFJ8eTLbeAOvPvTrOCtHC85f6QMFfPfdZEYIOf2ZXPr3f+eHsoRA07M/RUwB7wQMeuE1c1eANyCwGEgOH50+qrnCDNGm+BqMnlCYZJV+5Y+M+dA3uxUnVg/GCa0i3tQggpKKlCkRJMr0Ms1SfiCHoMXG9XaoQmzntdpUv11OvFj9gCB2ZKs1fRUQQtb/cEJ655IRDHWooco3gPCBf/ALDhSN/EmsagZBIivtQJpkJQqQ3W/y8lqSiu9vjiy6Py4A6SJ5N4fgHA4hiFTKz//yy1h3VsN/aAf9eFqn6wex3rDlbKChaGOOpe8Rdadx0Q6JVUJKZqEevzdAZ0cKAKl8JITUVPnfB0QMqIXJar1HMY/E2fuTx+X1JmP/0Jo7IytxPkA3ryJMJJfDXd6s2LKFFAIDYfF1uljUVlHNn99C417ETxSjmh3HXpzldFyC5cKJWs3ZCILf+eBTqqrp5oEWeFfi5Aete/HHJLL0fIn5nDHpD8cdZGjO6CFOLgCM8YAOYnld0wzrzr2L+7xFvJvy40ZmJJ1ezRG1kmQurzNIEZoTPyiCTsozUJk4atCUTv9ITnOXoEnAGAcCZFtGZW2lWZosNPj4sl/BqyJxC28oOi1Kw/Zcy1gD5rxQ0SAdd2QRWeGkeTwlW8Td2foAw3+MIY+AwgoUNQ1suNztgqoRbBvCXReaEOw6Y0Av8d8VaMvq0dJHxgHvNK20ybZPCUrJS4KIaYfnOpgjo8MiSADbml+eXMLH+HYd9btwH6KXlzhAXsyac4D2GGCw03gKQ2oskhfrdIUNNKeWLGRZprYEePmLlPaDCJhBvkGG4NbVPON/nfHlrFvkXG4iNNUCj69tNtUCu7eyE+82ImQMkyhc2cq8BQ0xHEXl1pj9tfPSYcGFwozVYLaIKhoFB5gpvR30Z3iXSXLvzyGXq/G30JBz5GRrbNAjvjSSNL1Tx5mpS2t7pjVpMHym8c4yRX7s6xxGJ8Ic1ODU3gIPgCTsV3Mkn8QhY2wYfjOScdLCAvpFw8U2SvUsJU6og0wVD6bICMuTufFIVZJVseXnv2ThEOGA/BPIszQ4twMcv8s8z+9Hdi4RygtJF+5cr2sGmFXSQjU0ROIzU8POC9s/ZuJPfdz3dXzmfAsnVZuxfGoxu6W6XMVh/v7ZjCuJAv2wvBMWIxw/MGwB3nnaKWgfg9jP2VhV1IAZbq61YxbfNv4WZQQ4YENpWhTaOzNGxqD/l2sz0MHORMosEoZSg35i7ApA1apTGgjMQFY9j027U5ssOUA6mok0RkoX8jT4uMRBDLAtQnIxhHC/kRkl6AsuEW55JzSfvBVv14vFkYn0zunLG1mu7ZX7F1cFY5RMlyHlpSJDeBh91u6Of0SzEsMJN6A8v9n7sT5Dwc71SvS6Rq988iLays1TIp7xkmEEVwR/M0DxHtUIUIWankOoiFddBlJjwb8P68TpTVSZNrL5lQVJaHhLsSY8lft+X9yRQMb94kIwlgdLg7cJVhr3KL6GzstxdY0e4m8jHIihSPVM6xfQZxX1uY6r8r4AXura8ouVo8Qv1mmvOsQsfrFq7kr39T5Qi7OTTfzwBRqQOfVros3gXhN0F40e8ST6d1yddJqQvJeb8JRKNNHGJmjNKPPzcDZoPXZ/6sKbpaBBnRHuid033wKBu9hkyJ7+f4MaBtgmx+ysiLlZxLla8VWZSMKV27VG66kYnKYCIcYGTQ1p7yF1rsCsb9BBxz3Kb9nfGsOUXSuoBaHvRTIzSLdSL3lofnBVDQmy9wxK4ofNNwI1bAem5BNEgnAAU694npP525TVU+ZVSuDIInkIzEyv7xWKcyyeQ1LljOqYbfSLsP3O9CnHYZSzHQjxowPuv0+LM5J0yH5cCnlTqVp9gwOK4JlmikweIT1WUJJd4ZCnQd1gq6fNwRmknz4RiyhwfnhhXXtCdThG/o7j5e7LXUM6N3OfmZ9sJvS11K6/K5EWRfZEpED7hvYh3l1HxQ4SR2i8PN6GCqCASRV0XlEC7trVtxqiAL8tF9+MZiLxXzYHEhijKjO7bKiW3CP6V3ca7DcVW7Xxf/4JM9qwMw41h1e5zwHcnErjHlC546R8jjCktYXT19uoLl1ab1fPL0fr33di4o1c6syrPOcVtIsiVvTElP2DzYbPrvE05Yjcjbpl2wJRww3w0YRPRHxPjeqENEUB3oV3rRc2tdbqL10Hei5ECqrrVTUdJIVZgPWg38hEMiC/jB+1ueYkngCAKIHYO1/xD1amVE7p69YlWFDFZ27EwXufCFLSfOBWWLNR8IGR4mqRW6CAjQRDWllM/B8ncVuxBUhtX6BgTJkuDWIp5D4ae4gpkLodLnUQiE/jPKUielOXx7CqalafHXXiu/7uPZB67IrnAK8SKh+OSp42dYvlQwXgdsocNCKMUvHQGFDBlHdi5Tj/VLB/YaWulKzNIfD/EePbokmHsuw/C5+yW2ui/5o73JWryr1sqeWji3HESjFfEaYjBlZU7fS7dXOWWJUwY3IHuls10jrwIKKiQtcFOqbhhW1PQNZITl6Jw8Hmw0KhHTabVU3wZ+LGj/ZyG4yEJMmnQKhwKvbiz4PKGg1wDT/BPSjrBXVQa0avQvnp3QCsNmsfDkqlVtjnpKDhEDJS29dMsi+3bxBD5o+YIDSni1CceiIIlQ6+c7GALFnL/rrGtAvDFRWonGcKVS7EDtj1FAJTTcNZ44v1x4bwbiC+3pS/cHJT3zlVXIGfcaB/QB6QdMNjtpogP2htLIEJoVFMcEJXfQz2f3VfJLuUYkNIcrpKX+C0lb4e8GBEuOb/s05SdJTLuQMKRkXNyp4gO64RC/KOpaghrbhuyzr9/34m1462zqutolQzAqm/Zgbu6v1/HdArTSBZDhgBlu03MgUzeewpHsfJFw7YkPfLesC0YhflYcXSOboN2EvzfVWr18GGe/JoMSVCSsmh/NBS89WpGB5UHh4Y3a8NjSQIRoO4qY4NtlEAw5NkvgN2nYUkx36U1/FKsxWmvjK5wEvINSXXA+YLm4IQoRJyC7us7KWWiF0coFDJQ/K1wBhxFX8Y0dxvFQFyccHMsafzrEGcb6043cglekcLaE+lKQH/t9/5u3hECLSMYXoOyAzHD/9IDlmf+xeoGQw6ES9QG0tdIsEz9G2ETlXXCsLSP13TYEchAoTwye1GMMFmX4tEmum1yPkPzYwwZKyKTxknk8hU5zz4DswCXYINPDfvi3xTFeYRJa0qDV8Lwc7DnQ0ydxm9kqrT+H37oWmXxikwNSnvc1q/aZa0dXa7RYJHuaD1B3rmLq/kgPyxwYfG8703mcT6OHf5uO3Cu4Qi9NckN+JcgUnvRnOdNv+ayHVFMbO4/nnc41Z/bsxOWraFIQNrHFRVxeP5ztLC62ck2CYNtRfUhVYU1PZRG8lfvrA8uw/PuJ7O5yHqm51VFV7pETl+9iKAm+dTcw1wA/tZbiw2G2Ppt33ZSiYzrO2PB/RGoGc4TGiUXcyH0+atPrrYssMjj9fDOd0/Bi2Ljln2UFZVaAe1jDVYhiSloGewo4/x8fmllUJq/ztbSTloriEt5mHWFpdiJ5GUJl+JzmzvUT5cYej5BjHVMoGtW+yEP2SlqGzLUBbeAuSgHSLE1MHGSxWDOiu01vb84XKLZ9IT2h1JzgJu47xbwpfHZa4HMTcbaXqFKhiPj5Rb7DDj/0fW7NauzRZ2buUMtbkr0x5JvZYjQci2mXqtKtWWGgBcj+glugoZJebvDr9ZFY5GmewHiGcf6vvW+a86V/NY2oohiJufJqBwH+N8hsyLr0KS6vOQkzpS4d8CArSNHp12F2pzi90poSuA+oWPfMwpl8hiKSeb8aSfBndcXtCv+BO6I+wgnciLoOB/nMKTjy0GoMPCuQRTm8oXKckBHir4wzypFKwiBkzWIulqduyoTbEmq57Xn1agcLaD9jy6tQyKOc0RhlxvomIgIpvC3GFaoQPjgw9ePA28Sif4qcv6ncjiUstx2A0Ew3Px5GIn5uvWJk1rPW4NeFndAbaSptBs1bL7+v113eJt3z/2+GusYMz4ml+UDE99IlxgM5DrRwsQ71fOUHPxb8QAUXosc6EdxrbCG1sniuLgu0Nz+Yl5XNZjtpEWXj07Bj5djzdI9o9l1lQ2JnpCthhhUPXDLIbTK0ukmPAIvEDcnbopTJkn1/Yd1XHT2QlYwM8PRYZrYPyXE/MApyiP+mkSwmm8x43DhXsQd/2KD0eAyZUeHPUosQNv9T9RAngroPoNVU1hi2e9l0Aawl1fgAqsBXJeOgPtEKtGllxZuKLwSpEOGmND45cH+cVva6uV6YHg5K8BKirJqRjapzvG88Xe5hCnsf3GKslF+xXHTuslsz8vpjoWRoiNAly0/Rgru9ZcTJWTFkuxYfgzqmDVZZN7h0jOWu8mRUYlPCm6o/0i4TR7xEYYONGVDWipgL0e5n60FVY0RTNiJQ+ODUVJhtkhWSth1ZWozAe+vb+eaPJoX9lU3WOPjs0qIZ/pHMlo5iW5cQwOuSSPm7hDOgMTBOGYE0JpHRLCk8Xe8ouA6GJ7uKjRbIs+HBVCVr2YhemwNHDm1RYX73/rQ2DSGwY9gQukoOIg1Y/2fDMdFL/OnekLwLirss+iLWDJ+IEEXcifG+BkkPvmk40XkAFDr2dSOKLRYVoMoRtDewm5wQqOF9hBBbd984gsPMMGifGdtdzPrBlzsDrRhq6ls097j7TbND/FDHm2P5/p3HHi2X1j2fUl+mN0FeE4aAWniMcPfciJCyYINxsR5p4kryd3RxSWGjtfvjLFQcwqnFUExJBxmRygxpuIxpn/Hk089yIayTgPD+Q/Zkhud9HbuEJgPsD7Dw38Kqe1/vySsYEpysmx8vbfjBtGYRLrcNOfpFnSb0BCDjWizKaSlYBOaKKyop6S2raPxuuHTumuj1VqdlLrP9SQGjMm/WlH7arpwHIG80dXY/hJgsiW1JweNvliRohjn7I7/JrU2OQ0gHdNZtx0z3UJfSUSxHFq9au/iNW5ccucCf305/oOxo+m+49h7lpMzlUKXMqHPEbHBMcjMXKJI21qRnMf4yKj2Vpay3CuRbe/DCTA1yMCW28MPlrsrimTBod5uyj7KgFtq+XmU8CBw4SKRuQWQOMn+h58722bhbpJHO3nANO5Skcp8p7icr28vZf6Q4QOOR234Fdp+EwePdolgQdn3I+SfKyRwTu7me8hrsKNMXxQUOsTkrhBTFevKj2PNqhQpSBe+V1ndFs0EifcfB+CxA7KIZmrB0UHkDyR99WDg2AyWog0iFeDBEBPGRZ6g46t2LqIqc13xiOSnB8F0krWU8A3HRLDDx90qNcucXlcumM2/iYA2cxN//A0mciuCWTsGh6vClXPfEAYSoaN18HCK2f/cuZ2P39PLqtGzuW9FugN2F4+hruWFEt1SLt0/W8uhHc1MwSi+dAvqMRpBAKKauTCHEBWrDd43zoPBmeGObBedN3+uHhVFEMZlQfM/b1TCSlDd4Fwzh0yd/kaIjJwQs9dI9Vz3PFZzuEC4ftR2SlHSieQknLgP8PnYwBX52MiWVglJm8lfjxcsp56sPvYNmUy5qazMW/03XJvneDS+UUYvItmq8rI6C5/9/JatPW4LOR2xJXHihPZy99n58IJv2HsaO+AcRn196OnasaB+wL6qRP1u6gqhJI1cYWUivPoygyfBRsY6vgCuYwxCtugTJT4GRhfRlAseKo5/NUAutfnL9PVCRLusndixl2DhjU2Z9WKW4Il5Y37yCOrmwQCGxz/uic7rO3YcREE+lsw="/>
  <p:tag name="MEKKOXMLTAGS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jqLMMMTprJfiFfMfF2PNjr0nTPMuHDHXmF0vAMkMG1w/dTnnjU0+FlYq/WE3HHup7UgO8RISD444AyHX4QDmMp0PO+IaXT6fuIadik2tzT0w60gIYPX80gpkm5lKOAZEz48NmVTB6JxGCPWoFqk+qhksmRWzhwGnHAx0BBm2U+tPE01nrnfDHQZX8j6itJidB6L3Eb5gvKnkhZFdfYHQrisWKwLG3OvFBpdne1N8jeN6A6N4a7On9r7QU25W2qxHp6DmkcoImd0PkVQeWTrL+U6FPRj4tbZJ3qJXGjTDsUqNLNP7Y1k8Fup8YBw8vqeAPlIA//qwhbuNg3IKluBhNqv9CKpS8m7rFW4wLllq6xh5FSt/UhdVf8KEdOB0bASJZ9okyf3vuIrMDe57uVeYSTw6OQan2bnqSepToC5UePVrHJd/dxP+IC453PUuVamUclpLidNgHZgcAdmw9lebe4Rhz/XBz632HLEQ7xCcoGcuZ1wIRatS9T5D/e9srxj1SDk1TvZ0BGioTZSUISd1GqTVsbd2AQW9rC7oKSgs4zA9/RgMH+dvjilV8IRreCR9a5KhPFUW+6iD2v/CBTBG/UZy5NtD9nCNyxcfhmyL5U/8NBgOYWwdQnFyYRQGIsrnDIrC48EYj5LylAxeUNaRyDkoBeUhZu06k3vE/Qv7mSvJJ+c/BdjovRHdDkttH0Gf78PFNdQZzVzmHV7qRDGqnHcLf3WZjmZrjE7sOf0DEF5jDd1S5HGmywT4wCO2LE7599TYRFkNPR+Ii6MheRpR4KoJjfAEafffBuzTaEDYuuxLTk8LdmTnhVslLe21cnoWa1nOHWXzxMGVBsok69AhqDIMuEQupgn3SKl29/w/fGQPykuCiSoZ4VPo3xprsxzBWe4ZklB8Ut1LP1nDyJNPUor9pXWYMvL0Np7xX9AwmQTb6c0ep9br/C7A7f8LVnu0I2QvsuOoXVIdHXM2fGB11SW9RulEcBlOrIIVufnI4QmeuHFMdaLb9q4q6ll5qbTsaw8XMVOrUabGr2wHAXJOG+wOgy5TvMgIHcECEX8cvagEPsfE2FDsanbE8lQalFEkbiymO4dsf3FJX+DSSptrmyXJXV16JNdtnY7+MSU9gSQzfpd1PP5auqm8Q1ffydyT6qb5SC2qWB7bZgvK9Zv5vVwdvPkqWRq40Mvs1j/ZuIlYcDiT9EURPOKnvMMxtdUhOQsiNoqofIW8MvU3WAVAWF0WFylpi2jRiKJnjEeQF9j6+frh5XNnAAKleHSDen348l0RCK6jxqQIq/HJQ0yxq/9uBhrKrpMwF19VW2ExEqSrW6rxwbM92s+bDskHc65ZZy0Z8Sy5hSe4b7Qs4/QYzM4KE7JpWMiFcGZJBdKU/dOkGxb6ZuBQqNu7IK+4YN4y9AdZlMABCuGzfWlbHkiJn4umpC2sYC7RB1/WByL2AyPNPrtMF8vNOiHsKhKlZuJgAgDPLR5EnR/xaCN4uysp1I0GwfSjmCYwHODI/oIOomlCZMYGafDHk94BDv7c5QZ/Sopa0CtZJ+FSXR1zhqIFYdpOD838QMpZjXKALxU4KaX6H1Z5nHC4XCZP6BNfL2YWhfizYK+/rgazUfQVLjv1jKO5B95NxAj1Qyrt92dHbOcNo1f+g8Mpsy3ZMJJUnGT6b9eZ2LER4JxzaC5R25cNr/9apHNa8JXE5NLsiIJZOmd8NbF+AmMQ+N4+CwMlEirOcX5YgD9Tz1r8MP3pTyHo9LNoBr4uuxGeyQCyFtOQKgop0oDT1/jhZxqOJDMnt4UynWRNytMQQbtRpnS0hDsLSzjoEmCB4qQVvaiZmu0cpr+I8zCxnFG24Tl9tDuomtVHZ6jXA1W4y3v7LibxgzBQbskm8PYOXpD4zEaVNww8Ij7PwU2k3bGB5g77d3DJTCKdcOn0xaGzG4inRDv1VOJE7PtixTmCoxJJk4EW8oepNAiW9uq5iboASBhtGcKT7WrQIa93BMSnLqCikhw6zUaQUaxsWCfbtNiiWVq7laTtpz3gDhdfjNnNjH423S2y/42kPPFdPREJrdg06pGJARlwcoId1JrghcWbmRGAf3IMAEY09BIcgwdukbURGFXyAI5LX1TC25O2Wm25QD6IlvI0j//Mofw7UbdR5u21IyyOIwlm89Wp+c5XRRK+WxdLkRyNitTI3J18Zx0PmcZCKjMCkvmFt4FD+jvBZ/qxLp+7jfH9d+5/V32qWTWrZwvdX3jxw7p6Jaym9He7Dhu6lHg1qIV+janS12xaOtsbxWwwYDB9E4eBVErUW5s6dqqSorl6ZG0mNMP/GQRFrj/MtsN6es1OnCQv6adA1LBrEi1QV2BRGlOB4+ifLaHvIMk5Tcj8XByVsIGjkpf8cN8Gp1YBLrBZhCCuuoOHnDkonlVde93ghn+Cex9qoJfIjUYMvpkaqduDo1ou4e5/U2LPYBQ8O4yVgG9tXhK0wU/Vx9m6D+W5phzVkeAgD2YBnBpzgcyqhNZJPlmnMeQeJ1bCUo7PZvU0fQDvdsjzS+ZqBjbLaNnP1jgY7Z28IASmpuQpK9famZYubAY7yycJEnGm+TqNLgE5mFkbLu7XkEnQhl4aXMPV6BfVz3iRr/YE2poZD/jddngLaRCFvISY2BfNAy3aQ57Bnw1nLqiTHtkZZL+B6f1kbx9gUsSIQ+MDO7u5RsT45Y8ZBQ8uBGABqdLvyTBG1n4XMeW+b+mP1TV9RCabZn4ewzugHMhut/A1UacQe2eD+FNtbGCxFNgO3/DhuRb3aYVOzw3dmqqun8cxPgL3cfbPAJiN2BoHlbLNDWP2ulZ++o+KYB6Ou6tKcb5Kvm7UxSd4OGyCZCBTXwuXDbbTn31rxAniv7HaqzHJs8uS6WnkgHJeTV9P5IcMGd9vvo8d3zZXKKpoeN/Mk2ommvQNWXMOVdkNRtB4pG8inmIoYki6+WYNVLZF20Ee2+4Uyz/Iq422a8b1nlUiEPiq8noywUTbvpVs504w5/d1z9oLRLsjdMNZndO6gRktUS5czn9HPJGCbExDnGJPrA/v2JsoPDJs4kMyA3dUmpGyNJhoTBB0M5C5Mkuo8eQIlMR3IfKkSAMlIlPHSmgb7sBA3E1T1jQrsyQ2l/mk1Wk+whAh5sfWJm/ZqeQUMPICDPe3wbreWoSVr1itYkHvH5LWOiLt62WsyeII1nGZdl6heGNNTa0w0jUok1f6wDHwB53FTX8lzCleNtvhjVio2lhuJpjEp5VDXuJGK0MZ+dwNNxR/QppwFjDYkDvnQTAG7nHdHPHGRwqBWU2Fd+TVMytXPwGmJhhQy+rgExS1S/MRv4nYznLdlcraeDKv/130MEYSsG2TzAK0491qgLwTq53O3R/HZ0Wr3DSbiK4nCREWkadPj7BmMdFFkEeORBr522aCYf8jT+i8Vz1b6c+ZdYP3BsWGBpjsJ44E3QWZA9DDGxqBFrhBhfjmeHgj8xW77/9z+/1CgidyYfoL2lOXRP1fynzlqnOCDBOjvtwtp/jl+JLzTC+mi2axefB5pVMJmhFE1NkvUj1on0xA6dujwQ4+oovsFScdxvQO01fJQJH2skhMbrM+4oIiqWGIgjyodO4TrG+D8OX0XGICpfidEL+iam/qmYChPzm8+hhCqYYiT7QZRHiVSvDWXFKjblWsHsSN+njxI88uzIR8rTLJ0Fuwqlpw6mgHBSMEqG/D2ArZUo/kJ5YxCT+BKioRfajOJK1Cq1DQlwSvXV+HQGbKmfJlp1dDqzF6ZLDQ4+wmFZ0NYdg9TqR8Db5gYBc55OrMZ1B5/AAbSnlNf8nidoihtj2Pf2jhyocY9D1JCDsH156T3YuCVeMX1Y/JwtMpt+h/a+TpNBwL01IKCobXQKus9hzLHvokl4yaU7uDx/EdqSXZmhdl9iwnzRe5QPrhg12bYqAejtUL4s8iqNUSnF5YZCSCZQpwjs3uG9dtRK7rIFFAtMNUVENrdxaZtK5N1vFafli7qA38/HlflM15PMdw92/Au7JV6EBfZ6xLZ+ud0zzo3ym7BMWt8083aaSCm9G2tAuWj4CNzCRDMnjhGR9LpwyqtNq+qJlA+b0bNUIerOzHt0s3/cNVPJJUfpjYyIF6WY9kBBXPX5yOTIUxD/XzEbgU18ZCVNC+nuizCybDjjicDn5HscQ5U0Pl9sg+k5IZ1lNCgrQVmjUWFen8Cql8QFtXjzbFgrwVMEU6/PygUtrWpLq9mNThe2A/N6V2blXvP7B4yvnFwdE8mDHpsr6YJ0jHi3Y7MF0PqDuAr33Klxt9cHOs5YEiDZ/nmFpiHI9MUiwtUjwdAnO7cjmyDFP6lKxWu4ar+o54QZxMWvLpbv1zdMWTnjqzX5JBxH38FWdKCvo8YYgsHbX8a3URjOLQkowJiPqk/ujDDITZZAnzn3uLMU63uCxaV8PNd2V/KoTS2kshsA9xTbmJTwvYa1fUxbYGrRw/aExd2IOq5xk11ZBcMHtEenPUTFt2C+onLNEDWvHnIAXxdICOdqkulzK/TtKsfdL7b4uVuk1etJasey3ZX3H/4yDuPo5d54uiLOqlMDJnrOe+aLxe6GDJSDFmp7qaT1ZL3GD9vu0PiwEtu45hU1IiniQaDlqAs9x33R7PkQO7gNPM0i9GM2Uc/AQhYJGF5jO9G/T0lINB4Kwl9ustWTdJa8t4mNnG55Pp1Zs6tTuCswVStQcDiwOcSanwlaL85wIJDDPBRZUMRCYXHkfH8ezK0iLVPP3nWJgZiwiEL6/dyiKmDngU6obtrs22AAHR4bO7G83HskudMhwU/JimSEplNPxTL+kH3kWAjB7ykVcVW1MpuqtSBN03pTOLehYi5lMQTGB5NxqzQJAtdGhh4844dcy+ntI6+uprBxCj2PqDElJVrFgir7HIQm4brXp4xV5t3e2fGfRxJvO3Q2uSddwaA1LA0TlpTMUn7HPznorpcnGdv9LX1wa4Vh+I10rY+un6kP6mpq6mYQhBRR58/PAKhYPcj/+Z1ePNHvGptgGNUXhKfbhZwNojNgPwkco2rCHWRZMWcacFe+xU144dF36MqpFvkWjQP2Wq3W6u78Ynhs/yO/q0LN+VH3Ahv9En4AijuWaykxtzAFKISgsi+iL5drYQ1dGEfUFZ+h67pZBjFbf7G+R2ZxXOuIAlQorGHTIwtQNCPnVIGy75kipE8Zd65lozVzvVa26cHAdXhjUEMYNJez67/+DHcSVSIGtIX+KcgaqGZtDEs4wjFoZPtvzHSkSq9mBEEGexk6IV6UopsFnOXMXn3904pzeDJtMEKXw0XxLG0RAx2dyw8y5DRW3tDAw3bOIE4BFQ6GpslB825eTT/eDXZ6t5Xr+ijSFWNCamNzpngKFVF0yvv/4vCSt7MoMy/+tNucA4qaMp7v7pFhhiszKMmACcpF22KCeVqaPHJ9q6Pjz+gzP6R16UB8v6xVx0V59wmq+MXLo8hkMU9rNgAwRW0GW/h90uccH6MUxUCw8sK1KHu+WQYW7WNjcseKr1iwZ4HJNK7CuJ+yzsvH/4OsjtKUSf5wjAUh6k7rfrIZjwXecWP5BNJqyGfe2ogGgMImlQkp2qrj9aa5xpTROl93w/XsO6OvTEtAiYm50KJOBtS+MsUDDxDaRL1Y/OZC4juRbA3SSvzIo8k1YQiD57UCrL0x93iA/3DG4+wn+KmUhnRJvPKlnAn60clOONUpkMWyS4xrLK1xvb+yl6IvBbKV7UD5v9gHYv1IPI22AUx9SaWcsNlHlXV3baRlyrkxHOxyZd8/qLBdYEzBj6bcnMRYPO18C2UqxI2n1YFRCcSTwPDBJrNZUkTttIs5N7BOVw7/jJAmwchVUuDWTxesYgKovEJKGsbt8/uCXiy2Y9kbuVfCKCBurOnaTSnT0AovllaRsKgXfjtC1fuJNfTJRqBqlDp1SgQ4WkHCnEgdlot6vHNyfXliVyyVxfjf0esrAEh/YKzxcJrE6JOEApYpmrrOPDjciDP2ntC0sUESgYyprb5V6DiU3905Vm0EVVHJKiW+R5JU8sTxqQg1eOsR3hr2vwRr3bGfPw49y/5cx9BP1uOqTgfaGjKq7d1OpwTlWH0mfw0aOFLPUy8KT5oXEhRQAiHKarkJ8qByT6r+CO4GI8MkhQMehGXH3UWa+fgfPSwX+3I/nKlR0oPgZoixlginG6/Mq0dQsrS9o57doDpIK5qgOTny4v3x031qt+RhIPPEfOmEC2UGnT3wAaqPEbHkc2HUBALARp520U6GcFRXpS2Y7vrB/JSBBURHSJAQEq87vXhHTTSJJp37c7BFMQbjISXtCSDwjbH9e2GJmDfaY/3AemVSuDcDnUmKSQ1HrvW2mYi/HaCAB1kBp+tx0wpToJ4KEoRhSTEtfwlpxnkO/GBkfyAmDsKONNBIhUnzOcsxWQqYXqyIvCDaSXDJ/G4TRePITd9X6c7dptRC6/zaG9JkLCaiJrP0YopQ5jbL2NMFtTzhynL0f1HxronCauVU1yjCzC97reXm1Na4K2HXby804I3gaLcRgGSlxJg7bF0wJJUr4CkdHMmY5sWr4vSh9P/J0NnCXYhfQXfCaGkRLQGKyG1xc6/4BCIXzaXxXaXycqc6fMp7K0z4VOSv4GkyAMY9TsHUJgXL4njKWY1ErlVXueWpshShc0QG1d5+phIRv051lLqpLppA5dBjXgmdbsTZha7Doey5XVOF7cUSUDUhyaagvChSTtUZd1I0qll5EK4cDQv1sggSm2T7PY0ztCTYxEUrbVEXoAr2FQG6Y13Itl2LG5E+HP1fixLvSRpyyYTigr+K6XLvxv7SQzggSqUwkc6gfvx96Vomkw9CsE256n3blw1oUZEyMVwJTI1kNZUsE3NqK57i8vPPkbUpGXnlu+nTgLzMGALqmBC8kgeQBQiFbam8PDB6hDIUByeeJhjxFiKIGFeWU2YOPK+9Hg/+Yk6EWv+otnD3LStotbLucojNxCtixJ6HZCrgyQAHWrtXNGlwTD4d+mtLq7eLclOs+VGcyf2wWfU98XHOyK06VX8LyO76AYPRcR/yHDCScleZregCCQq0ie3/7yLuPkFVA/XaML4wb1/ayHEdLJswhfkJ/g5JEUJgCedQazh4kG1Xwxng7cCJ8QT72v5SRL0wN2amvKg2bPh8XPPGtavNLL1M50nnZdFAnRUhbyFLeccU7Af1m2Z9FSI1xvv//6g/ynh36O/6xpKD7MrDeYocb+L0wOVtlsBnlJivrhbwvLM6r9c59nzcl26brZVtvhq9uqzqW78AQfHtCfco/x6l/ICMNHmVUWEQJg86V2IYIWvSz3xMKfoE2utyY4/ZEqWQ1VT9P5yfijpYK0ZUzg8TtXZhGDVnCkZn60UeMe1Sj4mFZA8rx7HsspAXxCaBQEdEub6wHpNKdd6u5nHJOdsY0jRCR4TSoRGCEeNjHjTWFDXJhrMadYrOPJRX9PkDouio8gfUzLkGdoydgxIShpiefJ3mnmbk/gEht/F9iBosjqZAL0IC42GeGC8/TfeNXa7w6OJPevAW2aQSSeHCdTS3NAPusHBDztRL5xEE7IX5Q0oCS9gwSeRvDjX5PXu58g4XDm5eSPn6AHjyJBlJjgGX/xZ9Hqb9aKSNY4E9jbBacV8lJLrbkGfn6hTW7hNvYgC/7/VnydNQ466sQtqDLQXItfoVOB1Yk5Yr9wD0bJ4gEUUeLcTX0xQGwJ4PXIszYLlIDEqwy0xHa0oLm1eWFd7PiDugYVDID6ump3Fe4TLX78zqBWC7eQchq7XCu+1i1hsrlDRYm+uswwcUD6S2L/ifCuJrnLmRth5fgRbSSr0WlN8PSm0IrVnxsRjpMRNcL2pSUJIWIKKH3Tak7UdXVZnfF/yQrxxYdlDa/3KSrC83G0pMvG5piQwh/r84fnNnk9Tj0U5AxBK56maO/4r4QFWOFTfsbxvJ6CkCx0pVy1baKtDQLHDjy4WRwgFm+LUNCpC4fjbLAnhoOK35NkPYJ7b6D3qGwHUzCM/RC6ZWJALnCAf3ya8kI/E6+K1v0ZZTIpJWZmtxdcsMKrbnoMgZOVcmIOK3XggYVk8MsB+DU837Ou4jWSiGP4tQ6O67jzx4miKwzm5K/YM+HPd3jVAmWkEbK8nJvNI6Y04iwm45jMriUfpo3FLIm9us1BjiHxY8T2ajqNdvSKIASOdABCDdSpFTzutrz2vLprVunIMDBUucrXZX7Wjpz/LbpyMX6R5etu98iLVDHTB/IQ8pe3K098FHIWcWHSqwofmwBGOAsepfHhNk2X8Uv2vpd5szD/n4wRvtaBi2oJZ69P1t6W3Q96WK6x6tzMvmQNd5XRlURd9+kC8REPVRi1YGh9TaFGN2xKplBEJ9G+cIKCazWW8r5PTbIqUE+JTIV64T+XJznQ1CfA8F7WzbG7LlP4d1xplECLm1UWWhjfxyE+7OnslZcHU6l9DDc7YASzgBEXitgZcJ3woTUNWTIb48T95GHMziFRs72IzTS+Szk5FUgkV68FFynFQ9rrA6tqlrm9iFe18B+vyD3XpEMCCx1bU/LWtglfFkQD8YYi0MMV3K47oomw69cqX+whBNJF0l/KZ7CVbqgvfQN5d4lpt1+TtOon2+chsVe2d0u+ugC5JvdKOF35wi9IsGYQLkNRREe1u/yrTA+ePAdw7x7HpUguFBf1RQkw0MAxnNpJd/CfehY1S5TdAE9BiaG7VfZNAGaGVwTVBYYYFRU6xu5o5o7qKrNsk5o3liTaPRbrZ3/DFbaLeDb0hB5zhmBH+Nc8OxUB4oO9NKduDsXNJtzj/PZgHKd+Wb/aLnqbuDw4+iUGO+Ofs1iGt5XvO3MvmduE26EN1ZZxbWuzt1+zIdQ5OJO7Lz2HJmEZZzx85dfc+zU/To+fMSGWRHAy+jYXoGKy01bbqeVKr3PO05PPS3hqH40BomqlDXxAdc87zmc1RdpB+5AM+ZbsJNY99dgDLfLyM8+HAVczM/qEAVwDx/bzd6BdMvfVInmILajja6qkG34nFGxYaMriQvxw066tv33MohxO3dMrfAUbobmk9OPih7eto5WzTA6gFJt6vkaFtzE7a30+0RFAqvXqsvod4rNyDcpfDenWcmuauqQ8kq+hj+P3+epzkLGHuirWZW1ak6emFusKUjbzjJSJXuY1NzrXwrnDrJ/mtM4tsiHbgppNNTP61tlpAu/gnckk0QDPHIozJilRGdalgs03D+7nEacKU6epBtK6hHBk5RdCs3rE2xK6usTJC5vOvaV8jY2HRqnXZD6mkcG5NSN79SRZWiVJH4dzzB0sa7YGjQ+oaelalM7VYfGv36OkVLGEtX1PYKI6QAB7QjxAkuJPeNERA0QB4gkYMXUYiNfFLAPLiSADX0rjA4rs38XwcGLO0E7hzzeYapzUL7QCAntURRbqJ2Iptyfo11QCUWMGNKak/vaJmc0nG34vbYzAf/XCeDCrHo3UxVnyhQiF+DErd3bSsGziKIKSnInoYX0yZcxIMrUbaBkYKd5N5sxW7AhOyMrmxgbNygQiRsDrWAbVP+D6PwrnDNZ/YM2dGaQJPcvmxQ59i9JbGS94M3naeNQ8rdzJKtkZvlEcsMr8u8WXpBbtdHGWQ2tswSca9Kqr8GwU0+M0TrjUZCfc4OE/+HM4ds9OwNIn0Ymg5sYi9eLAiA7EDkV7kSo2B1s3br8sV5WrPEefqjvMayWd8by9Uv47XJ0yb7/6N3N22ms1mNB6Uh0lEbu/2TY5w2YmEW8i/1Wq8gA7243MDew0JqqL8hc3pGCdXjKS4qXRtsfAa6m81d9LrZBgAaxU3z0vnPISg+ry07/6SjfFOxOUEfZtxDE+rZq3xQzslvAyGheQNIzhlq3aRKVVguMtlCe9XNtZ9Q9sTfg1AyRR0fHDUyTJIdo4jsKSxFRoh2sbJgO4av85j4GGMFEJD6tCLFZ5fZzBivxV3YHUZPCBwOc9k7KMNxT/GiLEkD/R/6t4e8QSbd21VaSsMbao8PF1A3Vk9exKbr312k0Of+jgGLPqwDZ2J5RreI+SvuJutPohJ1ruP6UpQaMbJgZSPHq81LcexmVuBSu6awLE+rkxBcJ5eAHFmxsklr8kVkJKxYRjULwlu1rBoGUvh0SAUJMALgHRIEUDthaZDLxz0lHuNqySHHrUnT9pMlBFZT3PCCqwQ3SQXq3+iEKuO/YmydsMZq3U+hO9C0GMpy6AtDdtpj/0okg4d00PHCxa3fLu6Mxi9kQDdsMSg3yYnhFN9z610+GjyH3IYwlWkh19fixqhM9sItJWhuiLFS6cXglsQ6Yyoq+HCiIAKu6vcJRlAVh4HwRD7OfyxRGFOi0GI+3VCaRBCiIfhxJ8cNiUIxpyxRMvIzAO7CKhyfTDlXWu4czLP9r1pqGlOT3pIlkIOW5XaEybXN/Zcp+QPhm+oGJAJjiNJeDudV8NUwvgCiT+6sysCKmltxi9Xal8LH/pXkhIQPKM5mKKQmtrC1N6StQkFlV6SlzQ9ZJNjE/PKcikpTLCu4cRjl7/KkBFMfxEkhJPhIxvd66kP1FsDScguBuBQotwFqBZSC+NNsXJM0ommuAjdsA/SmRt4Jm5wHsAkHvpPJlEbX7Cv+csK+G3lvqHYYVW0Dqm7podZDCQec/4F8VcH/UlB+Rs3aSp3bWeRBn9QGfA5oaQcyZaysrjmbz/s+K4J9YbOpi+K2bjr2+HKxRCCxSax0/VTNzkSEazZ2T8jwMLeRf6MqeSANbyi73DpGIF35t1onOiIdVZDl6Hyf6K0AUAYrEWBG7b62qjbDxXok6K+2GBxXQ/LY9vE0kMR+6TbSn5QURXtj7l6ToCHkdynJg+KcAv+StO1LIk8918YbtnzVU0U6nbCraxQDJn1SsKI0w81vBF8h5/R3lqDprgq1N4lew/qcFka3YhF1NIHCviUOACaj+r4KaIvqpwTt3AOhh6UF4DGJrA3ZvAKhnO4p4ekPoLRHZN/Alnk/2xJRCjrnCFkyDT6Ep1/TYu5GAn+WKhcqrpripV/D6crhWYu3IZjH446hUUYvYiazRVX178N+ynKLIf0IPvDf0Y8PMFxiP3239HNQQi6cnS5N0JksfFBLMCjatVPsFNLH4MBfpP9pLqylRDIs3Hue4rYkj+sD8VEgb9Z48lzEsOsyi5IjH7PMNwHJ1xdlLrO5u54N63oH3FwkzWaFwGcyQWPzp+W1lw1EWKwEYag7Hojf76IqokfdF4d7XxbMo2sUolRdgheIDVVFqg0qcBUTMNOSG6JFUEXKKsbE+Oae3HVElv3I+2NGuiQApv/37h4FmcGpgKoIyTZ5bXV10Fb8tHh6H3xT+3vQdS8H/gMG2nGn70ZmZAH9y7FqLnEIWTA496ZEpcDEd9YN+D8UAHyuNYYjsVGCMvT7ToCQj0TRt1TAQS7YPoRWdEmeWDbKLXtD19edb0PZbcNCA1PU1Jp/He6cAGCQwkL7QI/VxgxzDtqELfDQaIz9lNT65kcz6hPKR1LzPQrYUgR5jSUY5gyczDUleUr8wcYKWQ8jjP3eE+TMaPmB0IEp2IpfJ0PZZnN4CNsKe8/pEtxoWLSCZv8pHvzTxFBJErbY6upTvzPxsnAtmRx/r4dfwoVPhqIzU09j4g3N1SOIV9jmKYJBWplZ9ieF7p1UTjrbneulzhpfUuWxlbIOtBVsC8pJAd25yh/F/OF+G1kbESHdbfb5ThRDcJaFv3Twe3C4TeZUDuHN6Ca5QAPyrRlg0BfStyWdWQF5LXenjNz/77a8gVFQGg9BBeN6asi+xfKS6jHWM7t0EMlWLeukftQFvLylbZvaRYhjU6QMXDji4Tz078wlp03Gz8/Zdexq4QySmNbUr0IxqEGxf9Vntx8SEyFySooV78etkDX1SVikIrX4aTQobyvvofTQMSJT/CVWnV/klc/+QaDOZ8jV8D/UcEfXz6zauMXUfm2l7N/7bOZdOGULZZVRrT18piWAq8y1tJJfhlBOkhqC6SXAlmx8wosDLarlMOD1CRZGflPLK5WAgUlxhVJ44LyAjwdL1HZ4a6RVKmHX08W1poWuAmn9FTj/4FiypLrVQpBxUJoHvJIjdcwMO/G2s8BuT/skx8z04EfviqH18/XJXWtv+bNeVz8slbKZwICn+CWIfndkmaOoP5E2Gswt+LQCmkEAxNdtxWgjm5md+4D0CZJK95cSyOzdys4MBFmeVRL8KfKJR2s7ndVn1Zu8W5ziC1tSbEWgspSHX2liVLqeAeT8gtL+Z2alcSHxPIW2SdSmoDsNelVaZVVbldds5VeUwffWyzhd8UmxEXeiY3QyNooaHcRUMiOORh69KmuEBKHndpZCbYctj4JgiH4juFa7fghrs30DGTai+nIXJJW8sAbUNGVXff2jOwHNMv8rIZzx7PZtlrStqHeEibtUdfMX+y1dlptC6RiBfYfjf8yEjJZl2b5SGy6CbyTur/b9aRwnvwvCDb+n+FInTXj4wCD7T2nynl6xSHd/op+yUv7DMcPRC5OcwVWw8qrpymqzBM794xTmAkxZ8Hj1bNpOqtDDmv9LrVb+LHum0pE4WrGA58CvPEAEQmnG77fi+aaTGSQhlCY/eULU8eR5OflzdamZ1DkR18jaibki97kLpYvQPWnUykvQPfGE4CgHKqqOYAhsxIih8CorBCNnMwievySN0TXH7n0QRjRh3GjdzX/nkMzFnUaqihQ6P35dUKviU9WZY3j/JoOuClqCyy2a/u3vmQ9HSjbWZDqptjr1tx0ROjc/jLA1Gfx9CKC3XcE6+7TDdyA0coxOB8xq4tAfnH0SHwvpenCqaaoKth6+VnyjHsQP6WdKREg/lTzxcYocZIoCFqZj0WP4L2Da/At9bZ8xjERtkvA6VxXqaxeO7w2k8rmrWeR/47/7kgteJN2Lhicp/Hej4ePkF4BIAdu6YYwWvHIAuGHmJS9l/y4kldN0ymecMj6nNBljjqTwKrfJzdcMEiMM1VPfge59MaL4CLyJEOauDUDG769JBExon5gc/GuZl9kH1W8j2btJxVJrxAqQGdREdo/X42KcONpu6EpcVd0lm4Wa5ANN0xbVZiHthCfGKUjAZzVVouJCWeanQEM4UuPjDDgBevBoZWDkFFPrGRHua+ohmL3hSgtAWWGZoBcVcpJtNrIsClun6USc07wnAbS2iDoD+oL3dnWiexN/24bH+uiormRVAB2fJbkl4fCeJ1fnLldRkRjmLoPZbik19hHsZEsEIwQJwCsiqpsi+9qkzanelZcwHmbQsW1Cqw5QzU8b9+CxxLMgo3QzNQ6Z+FxM8gTE/138NSUWDvmFv4G7seXk5G5kw5ErUhUFCIRUPO1X9D1Q3ZeG8Hmoe2xHn60TBFtTmgekYf+h9UALDViVvWuskPw2YW+Cl9A8r73yqQhp+6Jw+vsCAIkcC/sXwJ95oZQQinI+vOXxe1NJMEfQytziDNWhhCpZySDINNpcRLCksFf+yBOJO6ZTDgxxZS7x2+5BSD8iuP8XYd51NmVgr7t/1Jv4RkDUBOQURWzcyTGyoRy6iHAB0x5wpTL7ffNlgcRyCw3LgoG9E0A423LqmbQdgth7oR9etshh4+3piGDSPXkCRvIX2lG8wJIwBrWoKuvTlp8s1OkQfJnjs0jyq8iQc09X8FCRtHYY3IrgiIfXv/J90xYX37zit4bMUkoibCwL8tsFhP4uc+u13WQpzejmosNDO5XlnFqC4elma8cXQmCrFM6YYff78SONCKbQa2R4yhjRUlbnnbjxI4hIRgkdzpRR39KeOVv5JNvWf4pk04jRNN7DyZQW6jIGtwRfRXbXVl6HX89TlhUS8hV7saVuUCQnDHqKJsZuwFBwFOSMIUtNRmorUYMyssXMEe6HAAAFgKv62v4gMux6SKZclSNM9ZvXcttSclY/Mb1QRf+htR2De9sJQ+2VBEf/aMdsPSgEeKuWbz3ORUXIswT/wZPE1kBzhS1bsLojoKTg2alNVwwlUB2BLd11qkm73Xy0jeSHPsBO9HUnTF6fsQsvrzlH9VHeDqgfblouRMZxE5GJrJK5tCAE3WVcaDIRjC/I2TFrEe+YhVwTbrxFGKQJiM99d/nwQxcDHFQhTXzQ/EmlnzMLsUJVAIiZ8+6lFWRnUNKlo0oKYdolNOZDHFVncWimYyqN6DjCRBMoaKm+vhINhGBWvO/kT7MPugY/HXROiFsnO0or924zW0VzYvx3aHK7EpybXYZgKMiJO0RQxmkaNQv082/UEaethV1MhxlYjrTLHVCIge/U5JTu8gA2+bHKYjrOoiE7zXZZsY/IKvkRL8Lt2UrnnOUMURFcMmAQVxcdDNOm/IeY7w8SKJD5D0fFAk6YiGCQL+635aybDo/TM767Yy/VpzJrokkfQrX6iQgWx/Ekgk/JrkOhlvgewhpFKehdkK/x5FjWFBaUZAaaMVEeGtXKQeP7VXz7ZE8RK9OzqgnxcnsVVzRJNJScXjKeEblI6J6bodjoXEkm7i5GZypzcNWdPA8RsBGC5QFi26PQTno9Jw9QS1QWuts16GEMGgSDD8E9tFCjz+qnkdhr0luQX9BHABQt6khvzUsx35v2V8Y2b9jPm0XxO79wGv6B7z1L3AsuBwyDNDNPeEDPc/0tBhVZLHoINt2GzagDdJ1wb68u+X6Gn1QZY66nnJ7skgdrJe62/z+oE5TuEbkBtk2jZ4U6UZpT61c6OW8LV21Ak10owItuK2CNK5tdK98Xp0fQSaMWBwEx9kHxXWd/AfvxliG+Q2oW8scIG+NNiO++jzoxrH1C5uc0gLbXO0xUTH1uRQGT+Qjy5L6JS9MlF3VvC9zcKOjiPlChoI9oDcVB60cudaEOLpGgR59b9ZR8c+Yafzhr4hGdU+q8nniG7hbwKuP8JS/6zHcFemZPCh6ws/b/8EAYd3fGfl/vgDjZprHXW+wtGUamkoMfk6XOz7c97Mrp9LRzwM0QA76I6OL7yDs1yP2pcNJ2K2Yud7R/3l1HYQoyBCEFU291NrfWtURovK0rATKnVeVOmQ0Nk99XteZxrE72/NI08ywMn6uxH4ZF9vbeyRmShbMiakUVulUmZPuEohZvhL8XPORChCQeUSwVhD6DUij0HMJReskHeGft3gBLyW0VPGAUjzJQcvyqe0UojmiFGx80em7LMgG7mH5wmZlJXAZXgtm3AJ/l1wVnDf98TyeYkasNQ9IxR7Z6hqtXr4QhVc9fj+vctL0DqD5ZvcaETSAnXYyED5i6+Qtjm08S/Z4gjP8BszhXt1iTL7BBPWFdfB9E0FjRExq92rKgV4WTfH4GRq5fTN9PWQJf6qWM8xFhC/OsXESyk3PCUTMr/NnhPk0W8rVaYAatpX5OPWTZLV/uA5zxz9hHnUck/E0TllprvtKZwirTyqt+yY9AsE1nBbsGFmopJz3qH920fBtNHDCTOGKXOscomJeZPgcxk05REJesAeG3w0fL75jMhP9wckgKZC8+B2AwfywHFXmxJ5V4fV3E2+Oxwc8uahdOI8GQx3HnUbfsUgXLaPx+bcA9M2ATLOI/5GAzxbjIAhm6YAgt36eE9jfGd6Qz5Ey1nxhqctCpLrLCp4xmV4rNAsLzZ5Ma735aNXQX3cUH3Z8RlfzFoEa9CfpZAjgGovA3wGFawJeriO1pRPAnl/4FvRJGOELebJEF11aoHY4CzTApixTFLRTUul4vD2I2saYaGjKEPvuMse5xsv8xh4bHBPk4y530/Z9ka+mtgGQ+wvnhsoIzfcOh/4v/KhxP9Mrja3sR8XoLOv17VjYkGAc4vtTFeZeeSZwn0Rx4nuOP6+kx+rMQ6h/qdEhG2ddhuAqgR3A1X2B1yh1aEcahLlYD7jo5pdDuuPBWWXi+w3z24ydPJZP8ttN+WEyKuvb2gzRYMwxXnePX6XK7tccN1/ZBfCxtqlK8aT5reSOJxKVBYm3LRnO8NjgkXwbtAMO2g1WALhaFdf4XbEJwpwoJMiSSIGgMLDszVw72rhyCB3qajxAEKMmQfJfOxLDLMzY8nma6DecgtPKSq2i8n1oe3SfwYQc4027Umg9VH/uxLpSq1KxWFRTZo/G6jGLdqgyUYa5KfxnU9rQAzYBZZbYQ8wCSFNNeklrXcYcL6EMltctYJycLa8vIshfuoj+3jFmKTB//aopzi19TqrshvJ+b1vUEHzftaMkSYk6vcUU4sLtFMrnOBJbFKLP82KFNq1UooCMQsHWs+cRSsXbuVG324LrGxmmqkfxvqefZ8b0kvznl1k4eoSf+uFOML6D+7rTg/khpfoEsScfDvTqOZlxDq6oebxVfz1fVQWIKdEmm/9dUAxf2vIU2NsNON4K3iHFho/wqWUY7LIaZo2C9wN6/w9aXYUXvVkqOu3roYcQXr1qEKTTPz02Ye+ACXo68Q0WvJMCvjqRhKELCAuj7H8f6dBz4fYP/I4bBSaLPcpzSo9nnjfCc2Gyb6xTQo7VrO61GYgYM2bFXJQ5fB7oDLduM/Y/EgKa7nbQxQ38vEP2U2iomVnUNZiK+AWnovWmwvXWqh/KjhKxNt4Hi9TWQYpwGUYFQmT0DZ82YK1jfYS1dHMVruvqaQXFBIsJ8drwU9ZwOSJMgWY4BcifrVdVRZviluL8XQ9VuFk7uFs0/t+MnLnFF+utip1RZZBlPkPNrfIq6g5sUMc3aNyBu7LlPTOoUWM5jD+BzxskNo4K6sXoBOdnWMeRyCyzbWe4OBQnSXe1l8cbz5JsIiS4Dx5bbBYGfzbtn4s98xbeqIuWAgi5S4y+aLxskKkZKH5jq9SG5wC57Lrs7mZ56cDEldiT7dVl7cuAD4lI1eBozWC0MpmOrMN/celvIYYx/9PItjjagitV+yUKHgW3D63JqDGnG5Q6Y3Gpyiwx9lR0RkrxAbyHoJJdIShewpcNRA2Iz87BYUWEFL9qhCEvFWJ0/zGww/puH43VOYbnz1VW/mtUSSanR9eZ2j/GHh891Wlhh1NwG3SgAeSb/y5y73wM9Ge7fZ0gb95EupJsIf9cjvLEZWWCVetVPHbQVFyvfoJNRrgPALymZsZ0Al5KVDkUEQ6cqUZUa294HisnIqTANOa5qpSITQXD0BmXHcQenfRWsD1FB0QZpdk4rWorRz7JD4xb/6pHYWZ8MSI87jX9AmwmrQ+DHQ/lZ2Le6t+5kmKZ2UjLu5jQOzbtTu9L9YzmwBLNzkr0vd4UB/mKQJ/m1Ts+/85UOV3fU2ysuYerCK77bArvY4XJe7ji4Yzs9mWLo9ynfxTqAs8wnhyA9QT3NvI5G/WqFKu+y8W207T1ixrAceSyOoh6qzPGp2OVIDvJqRBtb2Kxj/zNwoSv8LSuGYJtwJDVZjKHvw7OJDu080hlMY7aH4CJrcQDB5pYqsbnapacDeaIYIh6ebGLWj9BSVPSpVlUFxF72fHBfQqrQAtJh4FCvPG0O1wDjP3EddWlZreOeoKNOaBJrtOaxjesNZkoYzU+zd0irU0bO9unN1I8Oh3FO+9RFk/pPJ55b5f5C/C+7tLIZGv+Q8KPRqHfFzukJz98+MYHUd4lQGymrn3QHkja87vamlgb14dgD1/TzD576o5uJ66gX6qhnbuZ/ixZPSjv8h8AsUy33iFg/O2ZhQ9A8CGRJABmwsVlYXamcBBTyB9zc5uz2pEdZQ+zH88wbNfV2TQajrfnAlxVyf7nsEkEha/Gf88+V8Tcb2juiUN181mYW5ou1h8kidUvnG0K8Y7HSCCAhGLH44UYg7ki4yZTqppzPVMcgSe1GZKM2M0cIZ6IQGS7UMmVr2+BEqkk//MxttGEkvOXCdE4vAi1bX3hb8mVIZwnxsQBNTp4FdT9juTEI3fPLTdC/bAQmvIFWF7lEIgKzHtDmhurAknOaSqQrj5LxLlluKj8KCXNk0zRpcoNX7pbSXrXxKoz1yJ+V7MTYekipBLK4phTnJkG+iYojkRYMdlH/K8VLY9my89BhxspjEL6BD8I763ohLGTjQg+4o9LtTcFi/WGsIPrZAVW4VirFMuRDfDr+YktmGtofC1Ibe5mQIma+jD0cjZWsxacX+oIixyzWDVhyC7vWA/Mr2LWMXKJrGpuoQCJnzxDrDAgsIaTmps+z2CsSiYE4EFF6e4vJ16J/IyNs/uSEij6wbdh1ArtW3agTPWOcplxRy+/gZ1bHk+zrO8gW5pI1xiUBzwaRtRB1ICSf5pL1hOtNv6QDN4oCkWFNJO0xCzfCumapQ8Gc1y+VNVSnzsw/7tPWuVO0Y/fL+/oVvciv9of7FGwMNjvYqgyUOFocm2UYfwz9vbFPM1ZVxWYNvyQ3WjNmt0Rb9xS3ZwaVFnoBw6ek8d99iVXm0k14DWKWgQ1UQvZcodkDtHQ9a82xxiYZkpSkWQXufdD/na1ZxUUZti6/gyyRJ/Jc4ABZrZedI25KI2EEHhn6u8bv64obOJeTZvSTFxv+5D13y2bsiBTZaaVwjOuj9BYoVaV+uiVFdadk8vJ2/UUS1wbntcbhAh7UB1QaSI2jxiTafO5RMQJsvxX54uwetEwAptzHM0d9CaCc/Mg+QVe+P6vQZb4lyZ97GXM9okx0JwX1OCP2VMWqCEX3mi+InKWhBNUBadzXTJPWLRpzUojxYJRVQqIldew8H98hLxLN/3wUEs7iCUvbfY9xHsTamuoI38BAo+C6VV+Nfl5HvQ+7RNn3iMfkh0C3h4NKx4seGyk533ayDbS/7Dy0Eb7POcYouD6ggR6m3Xkb86Y3zyz2vHrUYLbWiy2e38mKVb80nVa0vnjf+lNzLrkU4G/tMkPrtFRaznAwbfC/eaVli2eTzk9jwEUfvd6ZopGgYn0n9g79jYHEjAeUhfEbeDmzpUmGGW5hrd1ILltdrppkfqZScTPu644g3vszoUW681NRUA/UaAvF0BE5uKCzvqB6U2OY5mxhhOgh6JGpTR9MMONcLPrVgXbmeZUidD8hWmO6wKbDGQgG2gzsvq8FhtAFRsqqQCFet29vhU4+CYQKwV4UCbbgrDGXBbV5gPPylLJxytXSG3E0LzDjSbGi+7V43O5gsz6BzUoHxFvbICWGf43g81dONnRDnYil+HjyJg8zxQkU871rOwoZDmGNXQJi4qsTKTLmZQyu5YsadJ1qQImSv3u3Z96PBOOcejZTzU+s2pxpIwSNNDSiPP+8NxIc6A19i47gVQNA8S2waxt8jLbOh19xQOn4dUXCeg+aXEbsWMPN1Zah7iBnKL1eIPw+DVfDAzvQpMQ+izlEDlmoQ9mHyYRTFc6Rlh84yjcezHiNelNwlLKFMwqV1R8vmHLJ96PBOGwVLhwqB5u8oW9uI3SeS9KNuVaEKdjBLhF2ZIa8rGvidFkYVM4cYjDfmzYkPb0lSnxgMi3GxB1/R+9eZa6CpkVG64/vydaKscujkZ4rwgxd8JvfixwVbivdtnXZ3SDx/jmNTrDFrsnKrWh96oeWWgw4qSFcv2tJlgL6BSjaNXYPEL3NcDOfimJ95m9VEC9iU5yaB9D8oION1/EG5o+EWhuQPUZpolNwBu7EapqhNf0KUv1Jiih5v8CWdkChZ3kuR81ij1mQMO7JGUVPqyBpAeyOHsIEzqaJ3fDLxHpYRIHxDrrDuLgEwYHf7nFXy1pfmRYQv8IYvpSpO53ey2osvJskDSx86+rcgOJZMUy6PMR5usGVhehZfbl5zSn7PpY8yZNTQ2DbehS0JSx6xqGtKqGppuOK9nnZEwkpjyfe/MEZl8gfmKS6TjmpiTcBeOnlXrqkiMEgtRTlo8+8FmElNq3C0BGxPfdW2R3RyVIgQujsJ8WFjQKJ0TtEelpIxqY6fjGobhyaD5WjukLxQlCKY9jugRTZPogL63WmTSfTPqqmzKmEnBOzC0bNAWJJ6q2K2e4i15uv9scBqtyX4BAwnVIbFsXw4/7Pr50cZ0VbWXwySk8zE8Xo6gc1AacB5272ewGEc7K9C1aQd9ER536CofUdmnFZtWe1hsHHETsbCBdZa6lWOq92UAqw0dDHIDJ8rEnubJVYlzgvAvJSYLAXxABsOxNq5WFHwPJyHBv+uvQodTSGS3NRFbpRkAD5YExZYOe3RH7SXqMlxltM0H7SengFW5vCxBwZ4lNqUThYFxqwTLa9G9tJVOiKFj/qW5qzWuFrja4uI+dbEKanrBXMG/bRr/uh3qkPsC+LLQVjucGOInpiguQAytpqN2uDFeYy2IbPH3KoZfW6kHgVLyB5CXyMfzkIfAmKmMbgiiORGPkq7p90Djq8uGzIn2ZJVfqwqtkcBcuZnPvSE0JkU0A/RirHEcOwkbbHzElp0833zWvIxTdv8Entyc/MFAIxD2nQeTKHFu2jhMaWHAaIoyuGKVh9H2fRtpyf7bSftlGZZCRuz90WndXuWgK4X7ILuxFMdMPek93srlZGv3/vIEC5HzKc2pwtaptxqfuN/SEcpFGU7HVYZEZ4VhzN95kaV9kbLKkKVHd5IHIuVswc2AOyd0ekBdb4RKIjNvKXM+JVy1p5Y8wG0cplcRV51jz1vc+43KnjWd0SIXLtGymCzO0iedXjEIuK4UcEkvRKk+FKGevNikEM2MPlrbGB1JjiMtnCao6k2RyrU3ylyW4DYPE6Kb07A9mR3Gq/+X78pJB1WSDWXjSgF7mow7P9T0uKcaADsBaXSu2ubi/dMM1BSR71op/vB1Q2iX4eAFonHivwIFQkBVfBCG5dHq7K4gKItA1H6Yw/8JkREsLyDIMCe0O4qXCCRWs2/h4k3+Jch5NsB46OPEPId23uiVVeQOD1eiBvWzgWBoY+/4WykFhkYKdAfX0TBSuU2Kq7/AJxZFKn+/P5zSFv92+gvyl/kiGvTZXLGQzRDirOXLVsLsJBKPwmUJlOXxULKTK6kSFdtCjRB/nSJsv+3TYRz+ttCwo8bKqlLDtZszTNKA6u0ILyO/BhOE55OrGFI+XDpw8x4+iOfZ0hQdDgA247tZbYz+EbHjmDAoNcGpPA2e5F7DWz6cLpTdwxp8pT4ho/wM7z9pvd5+jO1epLLIHwphpDEkf0l1+hMQrNQNteteHSCAzU1veWJIYa3cHAl1M5tpQSM+B/Ti3CmEuznW1PBdiWoZFvotEQyyIlvgCdsetdS+iIbCbnDhFL2+VQr2sRImgazGpXEhuSh5+XUB9pDcur5TSrA+2kMQp1maCTd1sPs//jParjafCfPL4PmMsU5RsV+wH14+Yw5w7tjEo4GJwrlG/YgQxKgnbqKXlyIbqcGJhXwaRuY7ZMghl0FxEYhTqF2V5Ep/9vw/7q/Cx+R8twMsFdyCwC6AYyvHWwdSnB70TSPk3MRZ5YdvCYpMkJWnHCnYkn0TpD34DWSdHBg4DmVV+yKllh0PtRytevYT9KLkfFTrPfOUtqs/k3if440kUQxcfEjL15NRl0rMoqrrqHyE48umtJjSneu6kchaxnpuPS6rp1Ha9nHxIOUxFmSiYXdZEaGHOV3QkvrNFWRarCw/3+4c9Uiml6sofVcgHBT4dvf95goyy3pCX8Lrm4Vg5+eZURE7m+CxGt9sSbKIzfvqwiBzSJTG9gZs5geUDWynU9JFpp46Y3FOigst4M43J8nngzO5AcIdGo60JIunPC3/unywZLNSZj0wBHEMXOy63PXO6AQ0TrbUfEpmThdu10EguJPDnPBxvagfyJ685ITPMg5kafqjJ7H1TXCbqizTXl4NEBNhHWOpLV4dTNSHcyMrw2bmIDeFCEkm5lA1m2/Ia22x1cYnuU24Oc1uuCYYoVoOJk+W/TpDObC6MHI6T/3jSNk2UcmfI7Yltkt+dSYZfjT8VuoQaIwNiYAoXJX7dyvP9j7dlGHi4egWR3lvkUigCiuTtI7xtFyb60eX/AGl8B3yYQxVOJXzx2w/ZU915RIk5FeW8JJkQK4pTeoyYFdKShBBnWdgqJbi/miWfxkF8p14QtFVPmAUJIqlO332hYMTEV0ydPPV09SvHSONWRXY/TehIH8WpyyWipXDG5evG6FMg7vZ7VunaUFN0NXWsXbd57R/t5V5lR6HmKouxswMtN4PnMmjNLqx761IbSVID/chRd/N0boaNaBGDCE+RZSF/zHSIkHC19nCX6gIXh0in/wy4zfOIA4Y/pWsFrHCg9p6XdOKxl+nVo1rE54SCRR0pYYF2sH3MeaOfWgwCsppqLk1Bq1Vib8e1pR2THYoggeHjXey8umAdwDtZNjGhsbPtwWy9M5diu5hPr2PrUkah6fWrT1Pxbtz6D9wKY74LH681CuDlcebLRrgtC29GAeYxOACSGLmydmG3R9F3srI4YSMoau3dc75icIHUbR1NcQGHdSVJS7MQ9fRJgOAvyzmxBeGgiLSS2leUZKXPY2MpiCuENiQwqbLNzBL30F8Nash9pXuGgSdc0J9payCKllPQi0Mr/zL/Nvz3SJbTYtMsmjDpNiSRWFHqOAurRhpp+eclMdq0tytK8uLkzJBSdweZ9Xfk2FbFnIILTWU85ixEAgqgz2LwXDCanwHhDo0bJBR5us6kBaUnmo2+tkc8JHviXQ8JSCjDO7p7H0bDunMau7RgdPZ1JMFigekz2rfO53phFuOAMr3UXjCFO5VI522T/P8nkhmo/jJ2NOW9MetqzqKbI8GuXuiavM2p+LN1iCFQaPAyFmTzj0HAJ4ZgLiSZBkPIqRSYdxs2u8YJ2aXWcwzPYzdpXHVIvr77KxcQ8tm858JiiofqepRzmSpfBcUGbNv4qU7hdMsASYpzBSe1iTGFWR8vqz3fACAFrql18fJH/JB8qL1I8DNacQVpefvco0OnJsgpgZjnD6desn6M6CMHJ14tciWQSxSYbF5iyfaBELjWHSSrb/So/fys7gwJfQdbPNIqRdTEwv/KaRYqaItiqYs9ilK//6ojOBNKyTB6SpRfo9GMrIeJCVYftTeLKkN+1HnKJUkOhEOgOA3R/g4r2tqIMLktrxgjxMKGaKGqISSuYlS0+EbTAhmTkHqS0MSn3JRUtC2lnDymZgmNSHKN0ci+nbVthRYrCI7bqZgQls2L81IZ311+LOesp29KWyfxX66UG67fwK60fNPs8FZF/TgBA3G79JMYcdazxolwF2oiZ0V3J5jbhibRw3JQK4ek67YOHZ6KJwVZ78qEDPQ7oW38tsubgfjzbvIP8l7In1ZuqwESngio2r2FWN5hiqJiv8xo1c16u2MmIG5zVj6fh+BIr2hf/Q6OxJkA97SBOAZwe1pACG/RNlq3POB4BEB+/lb9QSwRywTMI+80JLLNnSx9fNW5jFR6Lqcs9inrOA+/+WtpbXnrSQtkKHUDpwzrQBaSfesFF6gKgAa0p3XDJrya7t9ZsIWHS75FEI26QqMw5d1gJ4daKfB3fBEBBAT8cnz+A5bAkB9+pHp+Y5O29niD+IePE9cu0w1+cxfdhWzRlNONvp6o8j/IgxIF2H5M95e/jJLr5bXCbOpDk6oz3h5SVc4n8OMwh4wzyxFmI3EpJDpbnSObPhwd+VYWwxJqKmiusPyzMOfz4xEBJj+cxhMGNN31Kkis7T03lR0X7dB3U7mxAtv4433i/CcxWKbz4rX79KgKvPnn7PVUaYAvaGKPFfGblEleLBf+kQzLnX37VgR1rJoMwTckY1vMDWGL36b/+LwxtPxlgyH5imz73Sw3hSp2YY3AvVtJKqB7soX9uDx87ZFF6LI/SDs1s6NBZhKuhQValqJz6dx2mD/Q3EMjKlmqJ2pjbe2JIOo4prdjic/d7Jp8L/a8zRmwFt797GK6uOP3d01wOWXQtw4hs5pVOuyhQ13dhjRymFt/XwoBCelBThRKY3ncsSA5n2ud+428kury9sEuJ7z07wvOpbla67n4sS1S8vBqhYOMtH7DjbYL9badLsTVvOJnAbJZJoTMXVeB/j5tp5ep1v7hfd5L0NEwe9pIYUgn2HWOogv1tweCWCvu/1xHlE4ycrnW1HyF+RfOYTWiyEpQnmeEVDV3hBKBv6JiWZNqRV3ScsO3PCLLkJ3e6ohzNjWj1/kDyfjGL26N+bE2FuV1Z2Ov2ajmB1SQlvG8pFuBClN9tvXci9UnMLHxqqP+3FaX/mfMNZEUjvoWxdSHhrr0KcAzG5vKf9xQZnxFFBjXLe85ANIc7ZIAy9QQJrX5Q9uWp0qXeBOpyyiLNf8wigZx3smxRs1OcSVaGV+K1e3zM3bRTI16wXMWJk1/VB5x4Bbg6ArVOsjezWMLzQmKr/EsI9yhasnX8eevdE5cCcGx3INlMDr4mMUxuBIEYyzxbDulvRM5sM71vlPv/yGcJFTwK+KIaeA3Qe0bBOjVlHJdJHY6fHRRIRN5iPBJoUrQd9uCQwWxuZu5EboM95Ag5cWlU4UV/oo/HK+eYIoSPFOfyhMBVI2IDjZVcZ5XbxBYzFSWTszEzZOWhUPzPlzfqP4Ve9o0BLbZGEMSEUou19Guc4yBQPsRtTL8CmqRt2vlCimvoO5ZIxTxNJ0VHdbOWOpkH4pMcorZ3QfMLpqEn1k7q5Gl5Cm+FAs+jHEPSbwjsqHc5aD5OLklelyFhUHlX2uKEtpEZgjhxTJmvDbShc5a2GXwtSGKzvBw+Un4T6hgYMtaoxSHoFVMU6B/FenrRLGGUy6a4NETjlGbRABvf2C3yCDVXZ1P7opmhYJE5Idava9S61+9FCN4VW7NYRZTt2IgN4X2KCDsDJiaIDNBTyMqWHy8aVizBmJRDh61BWgt+mbByG0MovZyJQmMAqGpVHWv+fuz3VFioaI1Od9i0T8Smj0qbXcdqCMJjVg4O83YwtK7P59s0+UBN/IqZxBJuIfWwmmmAPxmbAZeC1osuYQ3A/TQXNVRRar+sDaKp70u+NVdZPxHknG7xvMnctKDrENAVP+N5ybWQ6Cd5+um0YpNKETlvO8hzFkEU1spZBACgaiqhhP5hV6dvnxvM+kEiXQGvTc3A+0u0a6cbE701GD4XAFr9c2WmYB45Vu2Kan//8R8d9JYNbI/CR74v7gONHQTf0f73siyJTu7JMfpUWktA2E2NpkMNKIVrWV9PDvy+9XqOp3epbTSpzSqwR6MDnW+VkNO0mGXzQCpZG5iDLpmr38NaSj8vta5QOxcr48HHzDXBp184CX5xPhVsI0k5WrsxD+bhXqwD8JBYSiWPL+UeSvqr006FqvykZY7QZXSMXni9igb8n8OuKUIQVZ3+qjHEVNexds0U4i/NQLQhQ9DHwfdbf73uBLhZMZpWr+KqM8YuZIoD85ClIsV1QeD1sCq1Px2/AeFVhbk4L/LcU52Gk3bDIZNR/4aJ6//dXCBQeb8woJGCErD6T968dlxkRFbJ3f1pWfYX7JKdUeo0IG2L5it5bf4H4fxvjGcJ5kVNWZsl4T5iiCJRUIerslZ/1TpJGfn7Be1cxA/FY6bu8G9ffWcpUR/Waa4Ea5IY9Klp0H7lleJnTvme5ge1iLfjEVotTys26d6zzpe2+TOOmYXXtERNf3pHVXYm6mCczBWCjHVNutU1Z2B7UWS0f2MaDAXahkJs7WyqTAH369JcZV04vP0R45FgL+djHK+B1Va76UFwR+OvaKBWsa9dTEw8icNIRPV9JA8oCDaFC4jWdbYM1Vmuu5SqFOiIEzqMk3acocHg/cI5oRF+ZYyyM/9i4NLCgddEXd9cf6JmK0K7euNQOSuLLiBOCvYKUaK85grP0NRwD472CT9xHI866a1DyboPBAIcCrhaBKancDOVjb9EQAei0gRHu+wi0qcaqwGiSoryzSAed8y8ppSllo4hYkMvmR5aeuCJyaEJkDTXOP5I3cjgFvsxv86twXMk5dCLN9UsW9rlZwPFnhbu/gX9fB4r9ruhcUQg2v5RaAQpoxqUxCz7tjsCAon0nKJXkANraXLdwXuI4OEJ6YvxvKDKNE93ucmYd3qXuH9hj/0Y0N5XOxnFYVjrVpFek3Zmb8KiOH9Tp7nR4aOXKxj1wRNinJ/EwgEVdlpGmWq0VF50ooV0yDWCKyggWsheltmhM5sMdi8DXnFjYiepRMRbDpG/MQkREN8KUy/r9Ca18HnQ0xHN9aFiGPm3gmEkn3aL2KoQKux+0M4BwyLFHey+IkGVgRVh9b99RYFY9ThJjDU8pOt9XaWAJifu44ugpZpGGUTf668B4M2AqsS/mrWIkCyeibs9FfvQ/9GPRJ2/eNAEPYFABUS3KO1sdXr35er40q7QM6LDfkwdmt3XH/hOtch1RjKHZyLkNy14hLUk962Amp+/krxpmoI9CKEWF9N/HPCH7RGMKNVNWG3+UvV4h1hzgg3xcPSpmjy7P9TysDOcFouVauTLwDDgmlOJJu/TuP0f+94hhJjakIUtsixul+N6ncySDk8+3sLigejoHEkvft1Zt9mqDsEYRob9DZTHEWqbQpPTKHtZ4LzIvPdpy8cM7Ujt4ZAzViE+qZyhTpfSCARB99Kr4LkgF5P/UO5mf66aid+IaP9e6VQnKnso7SqgCb7PzNcGf+snkt3zXGom9k6pZFyWm6QeJ99MM5BkcWnyDvi0DicNb58rhbD3Vg63FVpv49aN5WMMc7Q8e0CWYjwLG+suMZBj7L+dKNiwS7Qtjuzi5EQLw8fJ7uQEfVogfEUofZVJMJP5UW5Je9/SuXg+XUo9+kZyQ0cdYWBVxhjHvyBpJ5dNVlfYYCh9Jng4Hoj+KyXFbwryhitPKIQXSitTKMPVcD85rSU8u7FvdzruHVkYjIAUesL40KQ/1TRM5pvNO64pHmFgyCAqfn9rVl/zO1O5pdjAuyYR2xikfoNnGNN17Ho5PNGhoENpIt9AIdwA71RhnqLhdc/7+JmyY4N5epPjUsLF+dhKXttXlIMDmJZ4H9hdDFtNDkFGIsiu6rcZg6Wp0ljzOStKAVgBwvrsey1MQjUVSoE2z/HHGzQcwyTTVAlTYPiWPQogqHjP2s4cYfu9pBosrFmyusYV0Fhuq9sRt5jhFuTWEoEPfeIn/svdeY4kcMuUPvkCuxowwKLuT9UIDMjHajwRD870Wnjs/J8ibzjopjmCwpRU38DJt8herGXakbagDRxcRwdB7GMu7qWwuJCL+5vtbmS5IiJsOU23tGWWBbO4qnbJNgZ2VRO+Gxjw3kP82nadZR6rNuXF/wWdeThgZYzprgL+e1PhLVBggU3IBxHRuKjXg/Pvtmh1hg1i6a3guvKDtmjzIuBtmLxqavhPgbbob+OestrMpfXWm9Y2xdcpN4zVoT/spMrAr+7nW4vCDuFFbev+vD0fuIIk1vIvNCmrFdwWctoY8gVxNEo08cjgEcCRH4pWurtMBepQZRu9mDN2ErqjdmriI3IfIKvW24u3njhoupZZlEoKnyy0WAWiuZ3YwX8uuUHJ1P3kYumV+XOovLc8xpzNyKX4SFoS8JyIWRAVoaEK0eX8i5bH66qzhMCZ7A7tge5d1SUOgfuCwQnqewxNETXL04c4qsVYk6wUe8xeUUP4RjMaow5o3S9v8OgaqrcbBEScjk832kZvTPxwn0BkLmID/OQ2WtvW1YYb0X9roZ9z8bSyoylhRfLGkHKFrEQh9j6w2ar7ir2KbkJvLzwsfGbMAyF1P0+S+/7A/5jfmdkR1mCXYd3yOspgkWSae9dul+INxLREYiJu0TRHrg8LgjlNeBLGZyEakWI8f/y8Md0fLT2d+stWhSMd8VtuIQmSm0FeqFbQ6whDQnM5Up9WajgrukEHDc5zlrUq2+nhJWpG7cAryb2GFvhXtowisChl0oAVuP5NLKL/I6x65lTqdNLFMj+TiF/gb8nJt1jm9kCZl8M38b5248efBz10FQ28fSYTLK3JfslU75PtONsKieA9qywBcIyMLOovdrLDsL78lZTJjafuku+MM46Bb/UQgJL2h/VkzMuh0bBlW1Ad0biyUM7aBqDA+bd7LlsLEDmdgGq9nwxsRgLpRRBDHut+M3PfRCQISI7og7rGg6BL3QPz+Qh1l5mnFvZqwlX4orwdAazaUpqIyvfGC5de0v2ICJ1vCUoUMZIj/fGIihME5TV1gSIyOezpMKqouJrQa5AGzXbKdCNxlGBz3LNqOMEIkWfybTprB6MyxU0JPY3YkB9NkRXqI8eSg9yKrk8BC8mcC51vKyI+jVK5rws5v6OMi7pOrrvbFBV////WxxBYNy7bLAP5GQZgtk5EhjQLr05NOcxoPJt5zkOBp6KjkiijV7sGK3tyYpKJjfh15d9qH9wtles5KUjrLKa6g+Rg0R1tyrrzdA6Q0J5nQHYBjD/LD3KN2ZlP0yJqgSidWmYr7b00GFPwTuHk8+1i4mtoZhyP8Ostgp13pSKKO1MEBZ9o+pXzH523imIqX5gsRz4p5vLSem3ed8IstF8USSAtJsS7fqT/M5dRkDO3KX3b7oSjuIjwTjoBawD3zkuEw7ZWGE/0+bpXbRcqcUXdi+s7CIEgZqgtK57wrq1X/m3aTA9jEk2nt1Rx1eLYV83XNx4vSMf/51oS6PygbO0Jwyoui1LstkMivMPp0/8fAYYzaBwYlqXWlRxm2HgVGeRdmzjNGuMSfq15OY4pJ78fegpvviViDe6pru0+m4g/0IOxSoC5e9WZu16uB2ZF437utPCkjCCTABTlvfGaAVgNt+ybPgfoKpGAOcwgI2KKvCbnDVGk8qoDPH9OHyA5EToomDnK+Oa5/TpRct2MM6mJtiZfkLe9osQZIOObVdQkrB9fXr8SleDnO78fnME3fbq2AbrtNleJf9+7cri1UKZ4W6+wmi/nicwp6yA4YDjTjM3bxAlG9gRoxlntuJl5u9gZ5umUWR1u4P6eyzji06jKjev6bhWDwNsD+tuYw9OryDdxEcaU6uuKq0e3Q7LxuTiWwGe1wW0eKSl1c3UDBjr2AowQCU4LiaWTv3wFlsl0EqDn0M05NLTZgbdAMM3uXg0kUheuehpkpzF7qv6Bsm7CW9Vpw1byC2IHIG8VP+8EZpEB9+8AILKFJF7ykp8iUq27iSv+lKbfcvh0++tNDtPA8h+sLr7BKzxKLY/1UHuhegcc37K1LvZ+nE0mJnxH1Nu/BDHa/nv53xhjyOnNksyeH/oa3zERsI0hOhYZ8N81MwBBc088Xhn+Prgc3Q7Dl17znaZWyppj2Nn1WWGTcSj+ePAdmGcP9UIUfpguyvUW3BCyiCDPz+/OKuhAcxmUbPm6O91S7+Hpj2zoGG4UGCFpnSXAZ3/fK/wbDKPanY/Eb2BbHxWvHkVUB6JiLjAqv6u0Q1tS/Y5rIcjMgpZmFL/MAMLSgwNccYOk9oNDNZkbXvn2tLhKnJHMIp5HB0GhA7lNEBLlcMUCVIlTbrU1DNJNCmioVbVaijluIRMFN/ZqGzNQlkJ4QtQIqRKvst4bgchKZLLN/pMyzXjgO2VUTv15jvQzgk72c9qmH5fDlVrE9AA7UXDRefnFEOKmDzZ3d4zKMbWjR0mJ1usKcBST03E4VGmOsADvdpQ8WvQaiq3F3cwn1FsjLu77SIJbppcCx0PZX478R6hq3/Juqd68OAK625bcsEHlezleuokzv+i14jKoho6G5l05BNr9V3vqwC7cyTIAmjDjfzQFyqgM4fS8RnOhUcjmlY9h8/fkHeKYSKBSlcQ3Nh5dCu75tgNZrmpdKsNgYWKtcX+0Si6bmYGqFMKTBnWMtbn/e4YZ9gLLIgOfJqNNN+q/ZM7tqXL0hBzzILqDnQBKIi5EyC91QwriaVmxrbOyX/tqEK48tZpeOLVibytkTqFM3LESN8g7KY445zPv8wJYParqwdUwUfN1amhPAOSXz74xKLpdFt4AmS0q/iCZJGEqhuuDo+G3kzc8z+n+e1B6oyVgmVOlRgSEhtvhp3dkVuPSyULqfXPFX6bNdy5cEHsuZVWAwmvLfb9NgiElSnSAHgmErR76qHP7KrysRx3LImghmHjQ2hSxh7xPGjc22Ic8xpTyzPHg/kyRGO0voBvs/b+PJQIc2g8Dy3pDywZcF92Gy81is9801P2liI2SCeW38cNGh5bQQ1TNfZ5DDJDHv6H2oHs1vsstCxSnLz1LSsH7l7fzfT+RRxU6VsBzq6pKkWfbVLnGXSl11NcIjxXkaIlLIPi7s7XoXRTyfB2mg6Htc5J8IB69h+SIUKhqYw1Oa1I26qwZ9EDC4d44+qxbLigr752JP7B27/uIHshgtb5yuzghz3QhWcO9ajfT73dAwqAaAYYBZOaFKnsJ7wKxRZpPMPfyalFeHtXkGk6jF8J9PwJBmjd4RJSYP6xJXFADpAmMyEEMRXMKlxjKS96ekjzE+BtGFcGKcoJqGddPvvUwBw1PzBvbeJ8wYweoHRPZ5Ox7we24IEetMfnoJgJvAGwiU8DI/7bQdPMf9UUNl5lzTgE2DvM6aa74ISyiJTVbJpB/3X5CUYFVJSVuEftxGdmFeW4M836r6NurNzo49kMtr4UdL4NVCZb4AFfmp9V/JKZoxPXn24WGjOQSy3MGdb+afz1rNCaJ+OPFWBCCcK5EjJ7iCLCGLEeg8xBJ1tSdO/bffWHdbbC50Vx1TN5PvmlDgLjuoSmaYdL2Hs9JU7mUBg9xNXYRYcwKNY79tf7UMRoH7sbtBU9fbrCoBy0CoT1kPEkPm5hg0BX/m5AJFCKZ0KnAjH1aRkRVU43I8zgbg1CKNcZCukooBjOXWWAmgzic+0ud8nIMIXoEOTGc9ZZnSKypQ1MiLUpTO/MoXnmds+0xX+GebNedL2Z5kUAvVKrd41CPiBH8zBHLqJIASUSOvul3b2biapbtCjUFIMH0F1kpD6CaimapyVkUWhl/yCBnCFflHRVrl9070isNT8AR7kwik5TYmi5pQxYf1OnOxP7D9vkDBCbGcvDBsYuEEoXpoU+OQWk1JZUn1frSbUTKzf+n4VRw5Rv5YgpBn4QQa2RTZlXjSGtrSzvG1JgvYh7n+Eub8TXXWRfuzygkWj6zl190/QYVN5D+U2yE6Ussu5UJggxk9vBrj1kplOUPZpgA32pSjE9Ecpapes7dB7NNtGppiC9cDPKa0L4zUVZRmV8NdzoofOLsrqluBWCyWa2kvvplSTopkbo01hU1oo3DDzPsxLUuvUmjbdimNbhDxlH7mugrXdIGg22qvw6axM5WAFHG/715g+m8+4sOlZwKh+eUdRw3oA6acbZ2E4XbHGIqEgnNtpPGPC6QGEvi+fPpnYoo7NAnsTrqK1wiNt0Pe/96FMh+TUOaX0BgWLKhmZYGTdAN5Mv3Y1IaY22faaNeQxqW++sP/KWTKLokR1NubwbiFiDBWukHJAG4TMg4s9kTUbKadtEHlHB9F1MbcqS2iklUW6hr1AI8hHtTEUnktvFEfcgmqiKeDBfuxctYxM1Ft7I1IwbUtt8asQnEb10HPGXczwuIGRApQqH2dp3QXLcAgn2PGf26MnwVVrVDpFPaY9WRqla9uMloZbSbAsONzbR9ggMpzNj6U6iLC+SUWrzDpgdn9KopU5ND3H5Q1odsFRq1hs08gGutXMoijF5oZOdl7g1yJ7WZxHJ+VFQQ29LqdROJVGaBGiTTtu50UpQ44pHf57rdlAfbfwp1IIjEsqquaCN6THynQ9tHAOlLLexlVrRK/FKCW6WObAZNcZGCJYa3rBLSMECcyaQ/Vf3I0y+nsHoUasNqYQRuP0Y/jETwkFLCfyFvRdQAgirUS0dFy7oIkOWXBJ6zPFDuhlv02i4eodzvWING/f5XYT/xK43WuvYpYSAMzhIa8gpM18kiyWE/j/h0w1HbujVHyCSASnj8A8YTaJxQxW9S6Ul/Go+jK/UTwgOOLFiMrLa6RIIhXdl54l5ypmMiTd0YLo/7Fm9JquUR0rV8/oES1ZeaOr/wT5WaqkEtPvtlSiB8VU+XQ3b3/kiVaKRaqam585g98NwdUWKbRUBDRfAqJGCe9AvkjPO/vORGI3otVok/zKh9k+n2GY0L0/rifHSnp/iUtGSV4XgD2Mns002IX5F3XxwwqWf+A2qZ78r/AurDLDE7I46bE9tQep4PTPF/r3hqTgEPrZAMO5dl330PZ9NxDP7wjlkTiOeuDpdS0KUAFUy4BpiPWVpTIw5vrpg04Q3hzTyhzPwO2GjlM7KeCKkqBqOeC0RvPcSE6UY5e8kYjOfH1hOFY5OeIVU2r2xeuLW/j//5ObOLKi7Nv+sqE6PMIYoVCezpAqOu4LwSLEgz4ZSy39H+AzE+q+Gc0IwCPJGJhe8o3Zr6Ow8giCE9llpzy7adySOk7ngvrrDT8P+NwlNaMJtmpVx/n8Sc5N8IcnXx11fvMsHjAUq2G7OHTVXO/yVxc2y5CijMT4btPUch6F6Fn4TXpopprM9Okrt+07TXb6gXbcwcX8tkr1ig6xqoHQmWG3p7JUsF9+Gz/LAJGo2DFILhajNn+ruAnQQFSszMX1qPDmlOAMWUwKNxuKszBaSxuP4+Tf2W0mDuzrvHXfo7LNgWhBDdMoi3ZYX6rLQjn3Azi1X3tPfI6JHYJad++vq7oRdXGDm1xtPwsjcaKYWeXPheuuoWXwry+F0QJJaMOgES8FzOpxHWJ1HmPVszKbcxlTEabm458mKJFaDSwlzmLZnvauFyopzvPsvK+f0Tc4bQ2uT2/9NPVHmkDwtFb1XzT87kxJHlMsco4fmuoiScftamy3B2BpMwTwinmVwOyPY3tlPfGMoV++O7AgTmEMNEYwBSIXA9C4ECWCsgLfdGiEJuWdHpm1pQPFttHNuDwve9Nb7bVO+RIBK1UaaJUnfISZklgwSHQK90Unwv+S7Qvsoi0iJbQacguAc/pVMOdELI6h0bnjMgNSxl6s8pomW9QrFyHdbQTJ5RyqBWKY+v9yQXWwlRIA36KESKON++faBxHVp4ijfQVGhf885gNCB2MNlylgChjFr9Lgt3k5YnR2jWDgH7b50hcp1OXxLLgXPfr2TBeQWEIa19wsjz0KSKipAJW9k53bCQ6RX16WqzWu+daaf8qL9yl5FIn7DAVw4jCw/eTjARWSamQ9+C+LHBi599jQB2bZjsVLnoSnUX/0j2UlH++Ndo7ZvzI1a5Oh/LuqJW1U0rSn+vrA5yHe+Bl8C0oKgmlfHdzyeSH59qTdsyfXxk14n3rht+xEMZ9JHPXvfq2B90vEWGR+8I2O6FxSylZI9cCrhR0o4SnSCuODd8+w3uv9MZFL7iUH5kyLaKwfaFkUi7dvpkPYOX+lHnU/apjY1zwCvgJrwM8rfVy8hZCFNzjdjsvxEdK8uBNUqrAhKhznjwOYvAQsE9CZb7djGiADxtO/1E2oGEFpf0ghYZWlbHEW5CDFkq3N4t90zpMVuG/3rNxIhj4vsWpVc0j1G47aIh+OjKnWw8kODq85h8Rx3yZLHQVzNNT5IKM4BxwfpQZsv6wBitVZ/ITQZb/0gbMBn7yOJMJ/W92JK4QkE8Eq1bkWJxJYz7Qxrz3fgf+iith0/r+TiXKcWORwm68PnhywgYGQUS6o7iMOqBkbyz+je8Mb1d0k21sXb4Q4Ds+5UsFpzaJYyzs7ULfqUOYrIoSMozWFIcOQ7cNI5vYqwD06UjhnAlJmB7T2ncgHlF8Db3Cb/rXKMN1n1MAfruutq6zqPaL+bOoYWSP4f3I/trp+OBn1lSDr7fDFL/jKnl6/AqmpicoZV9eHk3cixlm7cfmzge93KcLdLgidcToRV1cnlessBwh20G1Gj4ikcOS5pltoI3kAoTnzKKyVLRrsyekSvJvgPoth1+mlwOsB72nSzfRY9+iGMAQ7WjpJAAu8sR/o5ZTzDFHX60BVglXiOErV+WIfiuwTx0AC7wlasDVVJHmb3RIuThKNjJWF1s/J8/fzjaIucELxIK1jPRCfISP7NCCkPE260zaiBeqmBxzYsnYsFevULE0YR7xZHn/JsE8E2D85Yevc2GisCWkRrrtdLPCg4JITjFV+PaWHdD2ty/wUX/Gn2f6GtQjq4X3CkXieaPGsGnwpQvt9umP0tGrJdhxLLbvAWdbC0fj1gWkurpBT19joezJelrS4l9H7GeOZbwRuCzdeOSL/n5Y4sL2p6qTxzysXMeDPhc5Bo3kwIkuMCq3H3SHWHjvXgwVTmXaabv19GjFnY83iv9L8qyV3TqwdytPcdBiDQrMLHK964QFjfwX5H4KnJCjeyQ9L529GUUA95q0TwjAp26uEIRq6MBG2ZJxmlrrePyvomABO507x+MrLHQcfEst2UuP2bCEilKGqWzPU+ErgTMX6aS0U1+EEMQdoj4ptRuuwp6TzmZVCgG+GlABeawC6Po9RNN2essZAbOxWoAFKeXw/Hc59adrjoNzzvDAEORODjvudO8HZWAn/sSEUBPl2MZfgpw9WVU3Y5K2XmXrlV/FWOX3NGoQTqlSkJqsT2SJxF6jNF3tNcHaKMEM/SHqC82zc4ZfziloH6TINNsLTrqd/AdPRhxbnBokeA38qYdg9NzeJ5qSruPXC7/2R1xnmkd1RUXN3rOK+KPUglEgKCYguJ5Idl0rdoi9+vsKOA2/3tzGHYPEaEO2f8rY9Yy1qutCBWMLOP6mpOmcWYBAgfVCEUet9vSt99mjJwErcxXqNpXA5RhpkUji7YnDrSmDZlHXzKfBNgIXrIsAD3seUbsN6ZnnGs5AJk2b3kcNPM8Z1zxZK+wqW0dg8gzzX9ua3HrLnpUSqJZlAy1Ro0QSXy0+53MSP4qk4KODdSG57dxpWMc7EaNAR6ySHHaddDwbP0SJLFkwi+RAM0gGsUMa6EG9hIzHZh1FuuWuPdlb6wslHvrgLWAu+KLlPCbRp5qxUFUeTaxbI2YwMyEjHzs5OsLMPmGu7AchrA8uC3NgeLIhrl/EYRxveXTOH4a7EVJwJpJwyOCYrPKlcmXUWGzlWtAHFRmeQDm+T9b83OEg1Kq5l4A/zuNnxejL9xP9uZOpjpNdRpL+xhUScc9rm4WoM+vI2+/FcA4BWI3uVmWX501oxhYqjincBBDc+Oni8Nw1RMPuxPREWV66i6nnQqs0drKmQIHfTzS8y71wUJ3DE1FsINrkU6RVYFJlfZFpSEFTo8sjh0dbDA5bAc488hHOor9PfBMMl4X30urKaIGvrJvONvR6Fsyo3/hWoCNkkGo+sOGk+BgbAdhlSA0mwV1nbKSeEa42rIfnZmmo4aLHARWLzRK+5ptyRxwN3j0E16UNuwh36jA4zRv5VqZMoxIa+f6ZqOA8ZqD2CdyNQCDDk0uDL6Q4OSbrFcRPWkIzKk69Cb+GQzsrbLWjlo42+ibSIwYbZn3xmt3I0Okk5uuCTuFWRiPyJaGqcLe4/w9tO9kMHsTJ+QhZK9zrXl2ENmNgqIQOR5PorIR/WG5qFdT4HbtdXTtz53dHvxMHwZW4aXoURDkgt4ivGgWd6P8/5pgp9Hg+Iu/DdfFV9Zy8oJ0NDisuLb+QR/MKVelpVcaWXZEg1yAno1DZSWhJ5j5mIsDH+dm41LVVoMyEmLanSWoOM9w9j+wTpvB4/pYptezDtFyFawUsIovZm7iMPQ4Rd9FW53lo0crph2QCTr285AoOVpGcczoWwjk+14Q/ZG1z13pg1EHUUqtLGXbwFJOidluSYBZJb8Y9L/95b3oJmWExARCgRJ/DrAx5iN25SzL2aosR8WuwBarHzVwIlGGLsWxJHljXSBaFKsFWv5cdYv6W8/Q0LorxMHa6ZzT1SKRbqMYg10GBN2af4zcH2T6NqHVCCrocfPaiLInHpp2qRslkP4xORPxI2mvIcuA6kzx1yK+d8HksDZMjO6PLosDxmTN2SOQyWYZyTeSk04HlVYijAMyX6zP4eb0uiu2R9C0mz3umY65FnvmSxcZdtOflL2bb+NdfP0y9767b59b3kV5vUcn48XMdE5a3zV4ji9qUeU27qBpQVpvEshik5V2um+o6Xu8Turv23ELn7w/6fnkNsGc9gGJcsYbFDQuxkuG4EjlThJFVkTtmyuWAhJrXYCSCJ+glsyWBYzJDFvFO06eTkzhcbdND6Ry/D+liHOKcv3ffuU666ME16R6BvJEv+C/t2scv+db+FesgUAVFavSiK5J6BNVua4wJtXCdw7DtMoDgutoGw7bXXOtssQOhJUf8XcPrdfQcfZ6AfxLezGZWVXzIb6H3N2Fl/EO+XJ1F8dzctgVmRA5xUzWzv86p7QssfIJiBTqzEyWVp/p3sGsIzKzPJSBNjMmgRyN1Rs2QMtGoTbzg+YLZrd18GK76sXP+7jfwnlqbb6ZaKn9ou81CkiVuYPN2+MiiTEdEZdjOFST3mKDSX6a14sG5VDzb/OYUBCoTHEoLHMqzpzwZHFmMHiB+OpGVpuQgpFFlphjO83gnBuFNe34TqJZsHPakDk8B3unwvF7N+JI4Z1Bx3RC9GpPUjLfRAf05okQHZIBgm/JSJEVBAwJZ/ijehRFdJsmXhxEfG/XS2chmJexht1ebmm8r7Upa1U71w7w0S4lPGL91stS5NAnjyliFG52B7tjzyShHpzN+v1OPNfuadYJpvvy3AFHmEPs193vjza8cKnjIACX5PrDIkp8eBQO2nzPfCicDap98YOQUIWkXOfqqZ9WNEf723IkxBUHTWDqk38bJEAQakriMhU/GFxz4oCfGrXEKxNjlSYxnuD91YWfKgu88vlSta/sUKqfLKv+W83lC/CAK6TbOqkAFxbob86+OgbS8re5OHaPYhcu7Cr2kHGv3qbbM7o5kjknpNAOHeLnhReSbZJt58wekN2/LM4V+x4smVkailr2eZxOOrlLilMT+PU5bkENIYwXFAkjIiOkTwnwI7WDE4xXw+0xBiCQlLByxqyeZtYWLCf2tC0tKwZoQpx5xSx0kSa7tC7UNAe9+YWA5DB7tjAf1efvtkR40Zw0JniZyNAG1HhYqwDczL935dF7HnqJOx3U8V84GsvIqNk4giiSr/rsM6S1R6NhQscRR5FtW9hNOOBC4WM0fFFNk0ch1APZ7UyvXgNNgRvor3NUadbSBL/NCtLFtpk76xYjJBeXrnAlqJ/GvXk/5yipwHMSlhoEdf7VR1YYWcBMwR4RTP9JTDCsTtbSfjQW9u/FI2XEIRns/eFrjjsKCWMAJo0mR6uUM41y2+E7Jp+PG2eFmDkdotSBvSKNNEnX9pc7lHEE5XEAgpLl+cedN5KikNseDyPiU/IVK1TkEuqWp0Ir+GR2DtmLIcTE0GEF+55UJnmk16oODaPCnlvB3u1wOP9yvza5jHCryFM/39wlmTz6JdHoLlbkmk1zvvLPMfCB1Jlvui2tmsSXnGzwx6TfUuAx/e457yGBNT2jfaU5ii1lwJsYhojmb5cqyRJNo0mHtbi700BnURIfSb18d00WGiSY44Pq+v80FoQ40C8heULoF3spWFF9Nx39oVirZJCNeFObz8MYtEc3czZcSnXCb6Q1VLHTizsLfxmHNqGqdCrsP1c30+M4VF7aKHleFdtBq6NtX5wgiCCjIM0EkCl5amJeG9KrOWULQEZph3qfIjdCX1Xvtgq5lLZWj9ChP0glqNsYhvFuLMJ/lyZkM8sYme1YtMBH1NCtZt5BVicvmXUxdXpwAIrSSY4FxsX/OFdPlqWvNW2TlGWR6PI8iGdCmnLaSJsKIN7atvbKvRaoHT+OP15rSX+G3BbC0X80hYOFaN4oy4N1SJYHmpWzEml9wqI5Y9RzBtye+Jo2jJjiV9HzfuGie8RgzAc0bMIHJiPzTwEJxVGw8NPLSfXF+GY2RyyVxyf9JSEIWoFr8NYXld1UygJIeHGA5v4L/4ehAvCETeRH4qquFGI2a16hU8fSuwmxx92hJ7sLO4nRvLf+H7U1Mp9AYuBC1IXZ6UIwhk3IGrscb2Tj7F0Y1/YIJW7AAZ70ViIg019BKsDAq5iACu7WP4TxO8KOPjmGHGYtBoQhvi4FFUrPWl1z/ZpVP1G2OPH9y4aQpz5xab1PhW/AcjmT9h1RLGuvLkuLcKRPJrq2gUoDhebPb7H3TWufqBxNdcdycLq+nRQKEYshyuSi5NR30KLKtBP3QQNdsuh8eh2COfnP0eG95tS2As1bKapITrTow9SUlNlLXz3YvhTmj5Mm2LH+hfPi9VswwJlo/E+UOddfG3+7VO41plM0UWfmNxf/5Y9lrLKRXMsfglKwBqmR6JLpUtE1U6zJlWyeAKsVRm2eb0LuCwEbMswJxIRFQ04DjpbkjUId6efxsF8EH3Zvt4eoGUAWNxkhazUlZRFss8Acx5ipERMF+gHMKN8CXz9rPUfVhSdslhSC4HB9wWrxWoBhiukBITt5a7IW3Yi1Xy2+EaYNpkWYksUcABspeG9AP4uU6OL8w/sVW5Osc2v0m03DYGAHBj+ue99nAepRMrNqsmcEfA/XTLXedGiMqLrTTzHsJZOXCBJdJEZA1sxqbpitO5HTYslpJ3weEfmCV/6HSwPGipGCrgYIFubyqPCKopZ2eXl9p/fi9JC4gthP9D9ihuuWmSFGSo+rtaPsk4mFTQMSQZh12UKypwrLX0UX2BE1JJjNZWLUHixWaNZsnHjnzzZU3b4+7A6dPNNh5ByoSUNOBv5zFJCg4S1P4zNrpUK6nImuVzXRSs8feTmrXVt19PTj01hNMus/x4N+QV/xMYpHdJOD5SGgGVXvm+tj1iQ7KkgDm4xttoX2rhSvHt5Mm9PXqpIDhRG8MrhS+dkOJBcZsbLheMpwtydWRMictQrb9IyGCUKGzxcI3a7J8V6YMNQIh0p8Ne/e8YR90bfOi5WC4d1VS9YErujTl0sj+INphp4Rz/KoONYJC1uhJzR45EiJYnCLU/xR8vHqJQIHFzowHTnBNuClCUagFdV17E/UuHaHLgxSLc2CzdiCBH0SjW6t2wCC7gCtOVrY78WHhFolkpJPUosw445RMsVBVliQW9I5njvuPxzoj9ZZv/TlNm/zjkJky2mtJ5AkG2N81PZNFkeFkR7Fz0KGQVF2ALr4c4QYw+kQwiKgN9yXpKwflVvlsI0IeDAFxHiyl4nzRPHUV/tVIC+0qjl7AGU8QgcmMC6E2sLNA2Wbd3uSzRap9yJc/DL7UnaLfU21Kt/JDrHO5h7xR78QtwDPL084yvGNzF1hVR/n7CvxFfKkctwev5zDfXZEqAWslTEiYDJdVGQ0ixTTwaxIdkfEW02jr8mqSsVxGYR14z+IdWAr91C/8gGoF7FpFrZbQfZLLC88MusFjB90hozrtYkgnq68dzjY+RF8VVnOYrP8UF3pipNGAbb1m/VlYEOGfjXy8ju2iRUlyuFB34ebTktUZmbBhoQ5HoqAGFxLl4Gbuko3usnirKVJ79zaNKX3HhwJqkYyDdWoo1wZy+dtvJKGs2oeCzh6vCB6z5ScOiKg2hukPvqAiyePjRUb9ZdPSgOpYz7epo/QVbeU1CAr+CXSfdeOrBHh78eths+/CphBBcQ9JEI7wOWWO3lnuZE8YvdR3e4A0+oFjjnV6egkvrwq61gOFANljZl0Q49936UpswTbox1TxPwRBfuo4iTKReB01vT32fRE288LGi41Y+0shwVgToUJBccgWK6f6e9ODYCwPYvxNtezqsfxGmkyVF9j0P6tIdS5XI11xFU4QFkX12kd7ff+FYuctp7I7UvTTlpWr+SK33FHC+eK4fbJOqObgufk4B9AbXuqxospY0C1g41c4V5rxE7eyXgPPiflDTLi4F1upUx5GWK+lQ8CERW+g2R5SeqIq/8OrYqKPuUH1jHbcFsgO8qrbTN04oNMAilF+AKaBvHgq2bGk5BRu1g/Cly9hokjjGeCu6dXrAC3DVd6jwFGyRiZu53e2zgY1sCajmA6eRmh4YrB5ur1LF8DGNfsDAEbkc6vdJZ1478bz1gA7Eor87kvfs9hBGshTd+iiJAJNmzIGPCSj+R2/fqgLuZL86rr26Ldsa4Iv6CfXpl1drxBS45OBK3vJiE1gZh1GNNNNdMYlZ3/SytVDyJxgho6adV6+QfEZuZIprwdM1eKCesJ1p5iDsPZkyv0nEgy9t6ptq3kdpVTEkaTcry3ggeCJUagR9U3tpO7N7JGSn/+O35NDaemXE/P1F3IZe39xMbO1kOkQ9xkmF8Qr9sX/sfATlQ1KNSlrRvY20nYGDzumhSFfe8SFI8dhFl6Y/h3lba6KxUaXMurWOKyKY+VpkUNIwPwCGHclfFuQIyutu5N6/BcQfatnKC7uBpKF4H3TYlwjT6jApSnSM/miFN8AjCVahDipEwTizao41jJTuB+MeC5fr1JECJeSIHynLuO+eNh6xNwATkTmvWzwAkH8kBj0MS1vcIYiYMSayQlK0YpIVFJkBW13izLYV4tqJc4RfpZ1f+xTuz/hJJY0WwPmx4D38B1/TloxYXq/6CEEG21JUcuN6Za0I4kP6yhHua0pOyw10UmsvBIVe8uLtKeBa05oMCNzUJdBWarOrcvFM6kLzpom4QqUPb7VE0pAQMC1tbhOE+wVHI9Umo0kfPaeO5jcE8T7ok5jGmYqRbNQJcT9gCWlqzlG6DJw1WpnBnvsCkaaW09dc194yA9s9eBLVNulqYeX213E0GvJCBa8Gk2Vttqsyn9vvLKeRQXrD5J8VUs5DVV7By1Irsstzsosz6f7oBEbfvY5Ba0oyRCNK31OEH4g2jCtTAYHpvkYkU8F7F7Iw8fmlGLhO+8wPWj6RlLy+28fMRmAuh8uEEP+JeasOehBy8y9+aTD1Wl9vdU+WKeTne8QbDvIgONHgX7PogAc8sG9K8WII2OSMPXcL+jkB6jY5ISwkxAaI+8b5rmk9AXsUuBHGMah++7aCqJR0dWiV/BqTcqnVb1vQ0eqv/CZy+ggkb9LpYtR8EELBIBO6mhBv8ZXCOf5h4ZvET5USLXxlZeQwSGBf3w4XlcM+Z1Ctoq67fRdvtPCwpCJ5Ggfy5+LLHZFhAc+/kaeKWz7c2+oUzHkxQSOpI9Mi2TT3GGSElPCel8Z42UOb04meyjeK1zCbL183oQKCk5e7EMdZAZnv1vnlLxZw7lvgf1FktVRQhNBiWYuEUNAsk5qKBMMYwgP1vw93MixpQeLODnXJPdUqUZiyvvUNS5EVFWcrsqN/lQAPFBu2PZgZ4rhLfJFMTW+iCn7nY5MlkqWTGe0fQ9BFz9gINsCIqSOIjqHfOOQMvKeHrVTFXlAt9fIPWCL+FWB8QZct5/hNOZkUuC/66hJ6LTQrtJwZ2f4qHcVl5UE/4gqOn90/q8XKxMa5OOMHZpNckNxMmYnh7bQmul8H6RNajwdo1usruUWzvcC9rGj7SQVQgmHLXn/BCr0Nz8G92HnJMhflAJEmxiaV7c0j0ZjkpbclrzC1E1FhkV0gLVYDFiMYjuXFo//PQLiWM4YZC9dTzqI/wytaCWcmxGgCqNbZACQNpQjUMCqSi4Jy2AX/b67chIVNKIjlyJdXRErniKqg2GnoijI+kBVlVnjJC+KW5upeL/d81hmTjUMvGtztfcXOQZ0oOwC2+R6fr4vkJh5xtwmwyK3Dt1pWBf9R5RnSrTd7xsx1hiFCriznr+eU+g0vqDhw1htVaBWKT517oAN+BFUeVGHx+SvadWBWf+6Fko3xAYyiOavtvywWsfeNEExFsnB1esGZ/3pnpERlTMVw2kXSfDsB5K7I8phRKpn3yenrF7FN95omUyd+VY1cU+zqlK7F+A7yYgDL198ZeMK82k0Kd+V89FjCA+yGsCY0mLIe/Jm1nry/Q5l8Wf6sUEDq+p263ha0aNh8v++MhRKT1dSVvlnpezzTF8w+KkGHklrNKfnG6wmlIvInnwYeBx0rOC8tviXhn3GRV9IiWZuo8IWeFcn+qM78F7vQzBir1HlWTMQMiJW33ki88bsqYezRzPMGr8UvjgUJirX97nsQ71sRGxP/WkMfQV5Mcj0zhOTy0G0Iksd4hsK4/Qp9lVZHw+cKdeh306gc20geWCQZdRm39Rv9ykIzjDcvzLDuEXP1D+odm6k4ZaWt5aEFMXox98+JW1REEwWC2lWHKHha7N6Yej9Iay5VLKL0xCFbe+RfHZtreFDJuaMjOSSZVkCGmkkzu2ZoDrWEP7DQJr02N5e8w2FF9tfpNiZsHuRhpo6r2J/mVQC8SoTWKt54PSb7PYJGBJJmGn2KWbSoEkmGRvVA27cCc9Zw9rw/UkAFOc24zzj6VfitqV5pGWXFuhNo6fBQPZjbOJ9Ir6Ppm21UJiy9Op4HYyCJWArgINoXfBMjpBe6pzNupBUfiSln28I6AKUm7ZlTM9eI7WMXYVVUDUyhqJcGfVLSUwF/Lf83gaE6wjvmF9AfA89qW+ZZldq9BoGGfgT3JXDhLDI3k/qcuojlpVeHXM6mgEaaLVPDqMRVZtFvmIrDp9XErXGhWHHOJdsbHI+a3750CtdV0sZ0Mbggf+hpCULVfvDpHfWUUCQyspADjrmKRA23vN4s6J2DmlZuGcw0fLPSaUEwe/5bz5g8VJaAFwndAzI4/ImRMap8X8yZ1U66rAqIa8GfdpOL6qScTCLdenwRfpGnJegNxLF54VgMzt2Vkdpz1DGm6zccxksLlSTg4Px5fmDtO/suwUnf2PU/6u4G4Ps/M3ME1QC+y4VFhOL4XHbpR0Xu24RBWARja6xMLjXU0BVwHbh/jW+lvqKt7OtACeywd5iYeGxXR98CwyH2prwQnuXL4r85vAgpQZ5jHJSGzQ9d/CEfGGoC+nsZf6JAvesA7Td4bV+d6WkLHWIrxnlwIkw9AK5YNvUOPsXkhYnMeKPQaENAMzM0uuQ7unYXH3eZ2qATshB7OlQkTamwFk0KcoJGx5tOqHcTFuk8KQtf0/ZwSto2s2Fclpzp3thCyQZm5Zmb1ashiCqs2v7vuPxNTc/CF2QJlQxC+FFv3H/DUCb6rMQTq2kB0bQHcrwJ9cnbCxYQi/s3sJqw5CaK+UnHSgkQtq3mVn9qojgrz8Y9qsfUv2FsOryK11nWxwLm2mX3jeFRznlEcnuR5xKs5ihvGqFNwF2LqI+7egxNtWTcT0cU3DOBnmzJ3UcfK9Zsh3bQW7i7opQfrTHEsaW3gf+EgvA4AlNzqQU3GUSFym7kPYRsNsW/RESEx4uVElsWy4PjWUSuubyKAFwYLQJUKEPRKeE0NvL6dbnn07psqxWxUmIOwKEfyA1GZGQA14t2mCncHKPnXdMtpKQim6wpv6PPkuJocE4Z5pW3mpfUypcUjUY7V0BnH2kqQV6CkUbdUtZFIZrr/Veu38nqZnn2jVP5entxIghE1wh7vWKZF9qY1h5lDak5gwf8YGokaY84FzERm/8sMrz59+/TU9Z1O/S2+Q+mMpt9A+DroOndAbcoo2viLGazZk6nZGlCrMZNs3PhOpXc2OATGoBNbRiJON0aeFe7+VcOMAI5NXeLxi9HLVRqHEs84rNG1dcrJS+tVG+DtJGTMtkuzXkHDKdBewYvfn3+MEvFNlADug6KpLVtlAGJdP+KHP/yQR4OGKVKwsQWMbIMAOSg9Kw4pvQE5WRd2IikLns+0bHSZY0wZpe+cloen1gV2AtXNAiPOBXlAZ8eHxM9meC2vq1iAFAcBvsklh+LcuOC0c/xsfPlfy+Y6nguHK69njca13lJTJqvESRkfAqjJdiz8q4rWNVbcWZKZObKTUMSEkdJt6Ix97lZOL9JNV2TWxAK1gLGCj75+YlG3BPu1fZfR97gNT40lNWG1dmUEamOA7J7VhT60iHy+FrdTXIidxAzIxomo3/6EFQM51di+lBDm9cBcD/mRnavAH8DuDJe1w1al0MewJLO9FamUUqeLj0e100tUAQ7f2eueS1mVf9HzLrxH+kDczYv4jEZJhhU0Hju/ULtaFbWNC61vOnM9ccByTXMDx4o+XAoUpQaBU5pe8TlkcSVK7uBaaiNQvSLvzl21oZyeAEf6htWuoEQrcN+oRQVZFaRwrtyxHfpDZ0sO4u27WyC0yiuuTGZU+9apy7FiMV73dMyAkroGMekutLCSV9HpXFEk0F3Yc9a6lh8cnUWgxAlIEiCrJnakL+vuaLnz84icZoV4LbzrscE1oUkzSGMdvR4J1cDLYbuLrVLyIlYvdE7Qa3e1jTCz+G4bbelGXMeRR1Hf9z2L309WckKOJGnsMhBD9qO9L41eykDegaGiLX/hCTrcLmyt5pM/4fmC2V79IzLHe1R5D7YixWgj1gwTJCksy/SCzMEJgMpseIsVNPa+r22Uuk2+GDJkPmsHntylAmwXpyLweZc72fn7pRaHe1lj91fVuNiw1hDuaZxLAXJzFod1nO3ItgZt1K6lAlgslHYKUGuMdqrHoU5HxmX/42q3Kb8GkU8gaOi0vU8AWvLdtErXGXtylJ4D/qAGr7PAeqjqreitsGH7z3mtzcJwz8Rt/G+gX4nbf2uUFN+TcYd3aQT5VcOIsoXjB42Cukq6eSfqoZZ59fmB6GgrNy/LIMZYnDjDWeMPVlZtRMrsNK5Lx3kINnEyImsBY0V9lQdczOxW2reMhxUtMEx3ZXhQjjUoxMmc9UfY32Mm/G7aT0bCp/zI/hOwy2DEIYeXwBVmS5jACHC0j3ZRbCXf9YxGhzxQliMdT/IcTRRsVPJrCvKQ3Z8VPy6x7p1k3M4sAqjZKgZUzpne95klNlXn3+2mB77r+LVvddj2w2FocqgQJWjPwgVCrUgk1wMbSrrh/9jklL7Ugx0jd1uk472RF+1PwBqMgzXCS15ZBgUTj36b5ql3dwpL9bFzR0xgfmIpdIZueY+b97E71IRNy0WAbKTxKxyqPIiogKocMCIOTXsPJcmIS/RrPkNucFAcBLW1xikQRLBwkcgCKRsXVzuCKniP3VGI4Y1NvCEzGKFUCNuPSyokzwt0sEnABzpiwOsHpaukYWwZawUhWAhZEGARsYi6zwW6VMNHS1YbB36sdzC4KEsUSCNZFk8SieDUq8M/Qy0Vb3dJDyenMTlQySunM9hWFIxcuK0qGD2JKRhSL6CYpcj7VYs2PQEMPpS3XpXo4XD1LNzKXzypaPUXFO48H6Z5uKfc/6c2PMRIkFxHZHnIsY61Hl206yMfa0/Beva994EXFwzQ1PKHoK/ZydfWLyAkGfjoe+j32ko59IdCrP7RRflrWXRcycMBOVAs42rrfMxtJKtMNn5tRMRGaxKz4iQYKpBLQkgcgQVSo6uDrYXX2xMQrk1KqfSBsUnOP5Lz59bT2NcG9SAlzXDNh6KNxMZb3LqVD7FGU9PD5lOSRWCVAdoq1QT3ldIVq4VecUtUzT+dbZGkrajZDEeUTfKHYGfkkO0OWBsbMAPVIsUbM2cDJxvKW+BI3Ghpc/nag61cvQVrxS2xUtgb4NvMs1zDeJJv/H8FCpnOkfzkPk8u/F22lT4DLPwjeXuCZRhRWw7WnzlXf8szl4IOar0kIn5zOCLe4m9O9acMiWui/3/Fnwoszrg2z9urJ/2dwZsEkWOgyvQ76w26OwDSeh4C6qFC1aqln6y/OZ48p/55w6BOHHWjknXOR2EXsDMEvwW83cS2DH5VM7Gi+sUzhCXHTcLgOqIrsXpxi0nfH17yjgHX6bwWDyencHLeoZ+bJcYUUy9cbR/S9mYNDsRK9fWuaCSCUzrSpglg8C7xDTYPeckDBhhZEWdg8M8fi6FX1UFlWXjLe6yqZe2TuIaR5sYEl9wSlK3PQpIEO+jTqTIuf3p9adT5Vk9NTR7syXT/NB64Koc6zUMG25vH0HNoWV6pFkiNPQWUKoQWMTzsMpibyTzCNktsDJ70COyspnhtMwo4xyNS0lak1FYOoc/V5dFBcCwgGo91VcUDGQJ/vDB52t8IldEvasxmbIcR5i/z4fkbqp5a+IvOl7dMpwXSoAmw59GTEQ5k/i5RTRlV+gbQLHDgyOhz0NultP7KQdXRgFfL+cpEkYOmRnb4GM3vz5TN58shHVt8DH4/o3UOwm+DoDGGnu5YvghWgLutdZZi2Yp8EFB/XT4XhyUkoxu7CpsZyaMQqHFyEVUA0vxjqn28RnVlBhqUXfuYYyAXEfH8TVXhaPV7w49gDCwNXkDb+/xknwCuFCw2C5OGskgROKm1q3/SD+x6AS9/z18ClkiWJyM549GBw5h5LO/eeQC8bj4wAZYIBeazOY6UerWk+RoJUQ71295NGqVal+DLBcloSk6h6AxUI91HQoa8boMbZGEkiMubqKNk9a50KqjCQ26rSX0F7+pcaFVQUs/aw7oqoXufE7NWSS6nT+ZKw7OIvYyeiEcdKrQFvL9LjLJI6i235k5jn6XlFgJJ0UCtWqBofMJcu8IzNxuXhJIxoF+Ktkcqv++vBuysQnBR0yaxEkCyouEUuRSalnMRmRL1uoUxJibsNALN7q5AmHnHN1kryAqMvj3PB9k+LY8xomb8cbDlpBfG42FxWK4zDg7DXadpyeDrg0Xh3PGi3Ri5h8Tru8C5WNkkhnxkU+jvmF7oSjEj1l9DVbZuvH4BtcvJtBrm0nJwqatD4Jq07CHSa3Ba82ruUOG9RJAiBF6kO61GqG7wrgTvIhxv5MLot7HwAI4pW73fwv/6Iisby+3O4Q30cp8yh33dzMxx1yAfrrrtphHmnJ6+wGWhMl9RBUIjwd1n8b+Nb2OSBNCrJ592PK2TzvEMGL3jsWDnZVgYMh9UaYkS+ynXk0L50y1M9pwC8zZVMr+qFP+hMHEOAOD0wzFwKwDzG8V9hSLv8N0UqimBhBRclOx0Yy1FZFS5NG17NSDZhk/9cF4wFa4j8KMtf8oVxOfQ+OU3YiR8Wa7psWyRxl5x0cfZp9x6InYSiQaDjddkBDurvpFiKvn0A/jcl9mO3/vegY3+PZmPDmsGtko4BlNWXc3781eQUZO2HzApg1MEFI7+UQEopFRgrQfmSOqAqo8eragcnv0PNGUne9YnYh8xmL2EuACsjLdIpzTN4mJ3HXLA6x5eT6osWdyX6C3ToGGJswDZjxyYmdadkH5XdFIi+aFyExnHJdbTG76Kn7dSTQWoTon0HCMUrbhE7wAqxr13hagSM4T0aZhnyR2W7aHPKy7Mny+opRmCoCdCfUBrmqyWrjcwSP1jHL0LLodD+PEjkaBZBAtrrAVSWrMNpTExHkApDSqlOopTysjlnkZde4Gfw7cwqDS+lM86+b523iNevo0lq9uHzv/PmFw7Ba5ncxoNjvehifb5bOPR591FSShmV2bWCAh9aUeVG7s3y4fphcP9VgOBAE+FOZsJW543P0p0Paaun0/3uFNeRqbtIVlhGYLt6qtJDdzzg6NAJW/dAC4v5mcAx7AGHpPaIQwoCl988aMgzCEij7ibugk9aKK7+nsTShi8nweZuUlln0fpSd9cPEZiPXGP0k46q0gGzrKl7cSIGqDsokqFBI5ODVjXxsHQdLrHpvuGTqP6g="/>
  <p:tag name="MEKKOXMLTAGS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2"/>
  <p:tag name="BTFPLAYOUTENABLED" val="0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BTFPLAYOUTANCHORELEFT" val="True"/>
  <p:tag name="BTFPLAYOUTANCHORERIGHT" val="False"/>
  <p:tag name="BTFPLAYOUTANCHORETOP" val="True"/>
  <p:tag name="BTFPLAYOUTANCHOREBOTTOM" val="False"/>
  <p:tag name="BTFPLAYOUTENABLED" val="0"/>
  <p:tag name="MEKKOXML1" val="4HooU0THZk28POP9trq+pbTvvzd/gcV8t56cq85kb3NDTsUhojRA0EsgEHHMH7oYP1SYpn09ysXVivguJdhTvfyVMsBLTGvcX7WPTor/CmWiWcfk2RmY+GE6Q6T90sFUr0lg9IPP9y8umrse/9AoLT5R0GKq+XM9pr/aTyOTf0wptcuHbHxeyqBm9svU01qeeEM1v0hpSHUgirOnAK/wuuMJRV9/pvQLsiGzewXs/f758nq4c9ePJPnYvlaJVgKXAJq8Te9xTDII6uzkoZJKvwVinwMs4DkdiPWWheJFwsjhjMfB4dmbWPWkzFUxA9OLZlsDZcfB/0vWxNIAZfU+gUrHCnKk5xxrJnHtuusoNc48CMtWjnRKQ6+ZtkNU6nWCvr1GdMy43QcFsmBJmdf3u/k3Dld0moeC8kYD0FNt7lAADEfJCoBdEjBLxEytjeYsEy7iI9S20aaDGDMAwVo/4FJ1TtPMS/c2KJv0ZKm75PA5Vy7Zwrrvy3tPq58xodBXxCpt3VdNnWKARosFXEa+al49bkodmn8w+RQkbYWzTrhleDG5J1kmIbxenOuBTmUgl5uLs6g33/wK/eTrsAZ3goeluGrWkLxSVKNVlFPWSlVHBcjJOX9bVO0ArfRQjft+p3asTkS4F3K7QP1bAmLVpBEpmgC587n8kERkJCgt5PMrW5XtueOOdZsf0IpeklskVhEkinoHGxssjw8ZmhBlr/mgAXGktk2VNwayLB+oCufmggVWknSzcWdJ/dIhFTAoI5gf5NAPLC/10lXOuUF/b3K22yCbPC65KXmov/IreO5IESXUPFp38qEqjmT9YnHCtMGKzQwiieQNJm2RysdquBRC6lfqlmvW5Jf7Z8tn7Y5orMjiUhWGhtaSH9fNuxsZH3msoBSWjzB7A7Jt8I9gaoZtlA5zBhDKIyf/EI9zBmnG5LwAw2dmH4R0vUJKEPHxpk7ijn7XdoLZDxx8bHualX2jpNVxPTUbsGCUcxaoEzDLB6mBpJQ2uK620kI5JhrDh1Iq6zoZi/GqTttz+NZ7RLw/t+wjO2ua5StGbZFO3socq7w3ysVgWUIYRfLNe53h/g775XK0gd7v26ZLmi58VCdv/n4m2yQe7WuWaovqY/OuvEc1y0zoHEVTv3KGPMYyS0tS3iXhw5GNjBQysqereEqsZ0BPzKvbUJ8G1swYFVcHQXj4zOpfbEE6x5IOd/uaHnylr7GdVLkUFT6sfVFzyvR2BwEpX8vmsR8K//n2GyLeKt9wFBOXFaWpDHYorXdWA/auJ3/VSkxHIRkbt5rSYcBYZTY5obvQB4Q8kZ4IzG3wwuwMZcOM0nKh8er9tpxDN4wqrt0GkdtpAIEuw9G+ZMuXXfGpFPWNbPh5MzsVtHOU3kx3ICB65J8RQ41PglpYxCvS0bhO0AwfgbV6pS/+jDShNhH1AgLk62JT8EPGnPRgW6+m4wVfUgho4AHQ8lD43bvoDVBw/ZSvY2QYtyUFTAaaD6yXbb+Kt9GaGKNCOPN6qPJVUIa4L5i1OlUIGhUuPZmegIJL9uXDY95c7JgbAUaK9AXdnCHb3NrLcUkSE/+NAF4of+3LxFvqGCGjXe07bmgj4+czMOJfTv+O4pwcLm8m7zJQNCeRLZ3Jzf3JtkdKvOzweFo9AlHJxbYUnHoCQiiMq/sfPmabL2ede5oXq3MF5Sx9snoHTl87LgimrPo2AD6rnCawp5F6XtpDQ80fYT7qEmh5c4nAdtO36Lgyv3ZGsDSbOhFocb6j2iOOAPhgSxFIK3gVFJi56OldllsgrcHnNkAEwBdabQfUCVRm5mz5w4ybDTaGzfLX4AcwBoNCSFBr7da60DIWD6EkK7d3GVZaeaaLpjbNUg7deNTPG0woiDoKh10n7xRRTXdXxDoaGE1vNCB0JWmlRUyEB1bBlpTrMb3Jof64TswK0cAqB+AULJSdws3F07plafjw+cUPosI6NGAWl25CNF0MqnXoYGf28wGsU5YlbF38Z1EtTVk5fASqEzLXtXOQVIFZvaOxV8NacBZUCt0acUUh6C4Q0zEUVbhv2+FnLNC0/aRHJztkrYK8t13YijQJzWro8z17E9V3fllBbyXQdF7PXiAsn8rTwYe2d9ot1323piHro0spn3aZQQsk3508+aAbJuraQED84oah454UqqG0eeIKcQJA+7oquNb49J4IQXqtg+v1VwrVQGGfQ9ZvXg80CYsc9FVtH8XPPbA1GreeYRuNksgHDN1+S2pvgPNPMS53+IH35c3OPaeuMGtSV1cwdWkGvhPYqSZiu9vjIrvk3PF1sBY93tmLjik8EGw96kJJOQUhN02qm3xsa2dkGRVrOqLAlNF9p+HWVi5LLUpHHUzEGGZVCqsWfbg7PxOttiara1womHTrZ1W67IB8L2/5c5Rn/+BVpag4Nh1y6MZ7xy89cCv5TYf7O40fOpdZ5FX15BA0+TYIwHimJNYbbX4LpIGIGojjhJupOkO7wudd5bUYBpwwirFgGVv+kPyoMt0X+xsnYj2uExFTVLox7Vnt3sGUelUFp5G+P2Qc2uuKWDtck6pe/Gg8nojsTge2RCfVIeysQgDRfYG8bp9FNbony5goGnOrkJzGtwgCFRKVmHKTsh4/I+1l4oQFiiLfsi0Q9sPMMLg3ZVFXJWpTqoPXF2BPbrJevVzMakEgTt5bCtffKVfRonBZERmvJyncD/n/8xlvT0l8F6nfhAScD+FSsceGpDL3nKFpUtofr6Q1RQVbbjHALF7Fols/7hI5HPpfNd8dev2cR/8PkdAuhYmPXiCa4/Takh9zaqVdrKTXj4oI/cJNPqmwGczhBd7QyuAsTbykTtVaTZwm5RtLiEW8y9wJiD6VhNSbd5wA0eFgRygnbmxcL8wrItL8xp/S3e5Og1zVdRpy4CCDDkM39ETvu64Qx3IjfQM4sPwu/5nTIVn38nBhAF4bEi7PI7hYjkjQsRZjYpYFT9tHpwapr+QiIijZBnX+4Wo5WGo8ct/662q6HxctjvZBJtgYGMFpSAmIHb398qDW3So8XOfdVto2E+5er26cruowGkP+iUazqe4FMIBEJRyjhn3RVXNov3N/bkaMHghmBT1OtMG6XTw63dhfuiFoV9wgYrLzaBso3QcrOa7PACd0L/gYvE8sD0Pm2T3hDT6jEA83Z5c9bi3LIEAx94PP1bSWyQAwv2eI1gRFWlZLn8G3llKZVHlbBxmxe+jPqHcLTpJuaZjbr80hTpDUurKDeZFV6xZLryx2VIN9D8srGdpbJH3GhVM7/HARUc7oe9f1rMKABRz1Q10UyT/rmvRQjWypnM2G13UeX2RRnODnJfneKxfho9MM5YirWheYWYE4QQ/DNR4kZi62XIv2aGNNtfjmHFQzjCYtUYkGKQ8qFqmRHGDToXKIi03LS2Yrj6zpDMSWHSYVsuozWcbjrPxHL820kjMAbdetN+0UZL1pfwM4Y6AwrFAidOd5rbhSzWVItiapZaxRMBiA5eSn+dX4+T0kCJD7/HjOtAhJY1NKnpjL3cJFSzw8/iFGciBoA1hg3bOxRvuHTM/lMTGXqqgyIRtMlgQ23gr/XcSF2XxGeVOZCvPuhsfNfrqzWKkRd+4MaSHP6j3bmdfgGO0DiZU+UwWtCezDWeBJC1s7Z+oF0RScw3Zv3+C8BRknQ0jEVsmqCfghUVDhNktNZQN5uN/Xfsfz4csSgZClDDLsWR+jibTQ4qqyNZLnUqA/+QO3lBWfeaGhKPXtZ6yjdNu5c1kMPv0+gTKxmagzxwObouXXn+ZTJ8/SQ+rycuY8XWChz1fAekl2HRO6SKysEnVTU3QYNBuYO6z5ayLJdg7f1h3tjgrOZoC+7d3NjrT874C56Vi5NBbNKyoDoA7UJqmLZkigh92b/wuEFWzMSOje9lfGHHw8cCVYBjRzvSjz/WdtquVb/SoEw6EolkY95n3eFbdJfwJLgCM17eJpB4pdvgmVBV5cffVMPapsVM6/pLVLednoyoBbdX+/qOAafXpsJjQfy5pnrbkKjEqHtcpJyx66MnZ18SGaRsKKVVecdikpUWks4TlxgVkFY7Nc7sJhs3RFkz8i9wT1D/T3Y4qt2T/tSoFrfymZkzcG4la5TNO5ii0NVBw7h6M6t2UUDGAWPWmlsCueykrAWbWVZqk0pA5townlhreJ6KheygF2cHdCKHCdDXug7XOrt1B1xaAjI3bsejtqLW/L8n/Gnn2TL7fW1aj7Lq0ZsjQ2icrTzryhnSQNsO3CDrGv3A+wXEhgTdrtQRQQvLXFNCI/yHSPSqZX9TOScYPk0FsE+loqnX10yoG9fm548FbesSRSQpx/ImS5nNUtFZL4KQ92d7PmHf6v3L6hkkx2+PElxV29BSS0MnMCcvbd1YaGbF9Mjr0NnnUm2Er4Di5I9RbSJdMnm8AMmQLen0ljO6zTJLfq/ZvxNpaLxGXjnMOAAhVH5nxkmXzLjVSJWzJEgVoAhlwR+dgOIJ//PxNktzKYFvWEqkxwsINGECIbPl60yJp+TOYWmSOIe2RzEjv6l+WbOH6SdS2zrdjEXgQ0DBSG+RsrZbZuE+1rNWEQBw5VNa2BtR6eGA4x+sEflnSljq5Cfes3EvAmFqqvLcD3LVMerJgft8j8YMnpOClFEJW4er6xJDqdKiiqXWcHhFe/C8Yjcu4xP6WCObojnormjRpYvQsNa41dbtTmyf2N+1P3BM743h0N92FhvR2d/BBl3N2PYDFNN5q3bz5HD2tntMDVrKEb9/rqPrrWLSsrBMHIo/94DqIa0mOT/XXoqBunJ8ljJpSk37gU+ACttb3w91MucIFs9GH2oHwBK3qYgkrhH7WAo2vVaNeMlZ7Z4c+ACOQNVqPnjw9nzd4Z1V5VMN0KqkBptPvRWK4jLJ53yKoKkB4I6cm5RUb+FxybvPyucdz06vqkKkoikj2bwOVa/YpziQ7XctZqfv4p7+0o1GX98uvGDefyj/gj78uN8ZS4RUwjfo6TJFsyudBuvdfMP/9V20hgjPEO4M+qVQn4j3d21wLNqzVxONGZlb82mGYQYAieZ/4F/4M8CMagud/g5nGVcg/aayuEcXNvIdU3KqZ6JQjVxJrSAw+J2hvZAhg0KXDKbbeIqP46tLU91XbC75gq/6o+rufTJ8B8zmzAnUI3QO2DItNtUfdUaDh9WUAcZKHPK37TucyYTGrAKGvaL+cD0J/NPqeBfD+Nam4ozDHJpjnOZBVEcklGC3xIOY8jm+t5KgVhNqv4CtpyNDBGfD4fBt1QorNqi1rxTUK4UidpKuKeqEnOsQGNcUm32aWEYtHVcp97gSEF3YVK0ENcaUgc3Snr6dkyfreNL0yEP6DMUwZBZv5o9Vb29fM8Tr33lIOICVugay5NgCMewBAkXYcXzKuuqta/zM+uGMJ8O98kK4tqmdYKXPx0mpwhEmMjE3jiwG+4JEW4h6zpplnuFmTqHp8qpLC1m4NJ5wS2tEIfG7Cg/d2wac+9xk8BHMmVl+3/JW4pkrzX+Si/1GTgph5t5fqkWAS881n+t4+uf64Z4w8cLblBeSDtYQMBzKq2my4DH1XRcPfD5hWoLG0INogr8qgqJQ2doV9DZW31qjnrCWzmTB1taTzsBwg03VTU3D3r0UjtG3cr8oY04Dsw+ByEMJB5xh7nGg5S32Os4RqHu4nBQ6Wsws+NT3Xx86668DME/RUmq1l6OXBZgDoSYwqZ+IyW64vDiliNDVB5Ef9hGiuQiFldlrsAyPQuYgxU/Twbh52VAsGK+RZWn0s/RDAmP0dR0el0lDDlnQBAmRbofumVn1hW5RD2OQxCDA7l+tisHYkiA/8nR8BY9FgRCycxwzuelLmTo9DavpiuSc2ewt7y++m6F4VeT0T8rZk94+2ur0NXmNbpbGx8P9LnU1QG1GbtEA44iV14lmg1HJdTaqcvmeUPnB3rFNFWrugo7orgkeXlKcjptycqMna4BGEdiiM9rJxvsQXv3dGOu48L/ySGLUXvcISdam9JLWccVdTUyokq2+1IaVLF2gY/ucG6sttPJbAavAlYGgZfsgBQp/qHx3FS442fdTPsO228j5abOYJ/X8b5OGQt4ugSRhS7zia17EAMFhALDT1B4rqpDJ69k7q8eFkb3i9KcKTJL8G1jILoI9pnH1E0Sez9pJ5M1AF1eLb1tyMmve/gd1mZbULr8lmzjNfWEa2BRfv3K92mlkD6suZn9d0fFSOBEQ4Y/Ww12Oau66SxeoVLq4kIJ+8FUCyQFdOmNXDOgDmhloP21LiA5lHUi5hoLOv6asxDszffhnI3UZwp8ZsUAr0jMNYqf6owK1avwVygYmhImGU7tJ9vWDtEqZOdfdFPuYvIGbNxoC9mMjrloOwMvRZ3vDISVzEQIdu4ZSQ5c7irB1+JaS+Z4dPM1TYFAdSCbsTHjUUNAcWXF0RHlYFKoLmKGNuHYcL1A4E235yzLlxFWm7bZvfDezS16SyYYKl782HgtYICtXT/UMeiqh+se67gyY3uBENuSDDDHvogkYJOyNatouQOy6RxBTZd55BGFrxviqStzeUytUvroCrqPhiNg2j6etwUGz0lR1lYZEUMhzUjXR/QhAikO9H0WHscA/oGGElso+mkWglLdrKqjSdiZssgO8dRcDJc0WIDblcMXv/uHbIQnLKVaM/4yEWfbhygzwys/0ONL6aJHRjWsDZ8muT6nJgFzxi8aH8cchykBBeNt3jEcGEzo1c7KP9tBmhUc3/usi07SigxovaQLjfkG3iPI3y2L+pLRmLXAIgOkwnA1p5f5arLF/FX1RStDB6poRCASHUthu/Y9NMhVPxkWCgd5EPPlmTyYJeo8mH1nfxJ/Kd4lmWIrj3Yk6Rbk2XtbeDXMpzjyZsD6xxYWvWd15qGumfEKely3vK+byQlDBXoptbcvwQZvgdW4kQGC2U4Fz5Y2N44uUhFLMnk2IE9xcosgB6/2z54nvYf3xXQ3nX5ST+P12mXN2WJeGEMD/cO4FfHBT9A9Psk/djDkSd7/i6zSgTr/EVwEfyNhEn9lizVfcO6JYJ45lvC9xwmbbC6qbHig5lCsEBx45gaX3TzgKWT8IkVWIHnJ6OxE1J4et7P+SiorDbF09bsh7+DnXwt47l0Dsrhx8PzJbHy9F1RZzGYOTB8XpZ0HTVHVIVSTYKI7yc/0dJa3AUSJJBtN412eA/oFiF8l/xJjgizU8OQDV1Lxcc86D+JlGnGoNqBPTIJphBVIMe0pouD6EPtXVg8JOuuuUdUjf139y2vFzhtffoAq35CtWgbz7T04BizUQNoRkjxX+njyxhSphXLDcofW5im4oefLdchg7DFRQmXnaZLeDIOHOT35ZuA4+4C1yaxpKaHd8KVrafJcZGJ0SGMQfyR+e7WrOMxsDivnFxI/bByp8xumYBlPj96+BgP14crqyVwzvm1RkVypQLc1AU6GQTQlRPQilWz45Q5ufkoLocDjQeMfpW40Uoj0H+d8RTUyjwK7Mpq4fJx57ZK3ljrxe2NOedKgtU7D1f75Y2NfKc/jV5M2X6Xt4McL8UZ16obLczjV5kvJffTll8V3Fi+pS+yRBqdkVj0SG1hdt0BeIn7RALBmrjW784jnUJs0bzt1O4SAYkZBxOkwXlzeC3a7lu/wwf04HICwAc8eK7RBPGDVEdtituSelKUOyylqS/CqWz2llDsCe98KDsC4PFwoKrM5DBo0jSx0muGIO+LVMbxgaVGiCCDOKX7LILVQOo5Ul0ppUrLEyYgOeIxmG5VEyQsjuHvK9hChaG3dBly1Fbbx9Dzc/KaNwobMqmC/ASP93zR020Mg/xUWZVWPrD5bbRcsyKajLUY2ZAQb/4ecx5duKNtW8Lp4oesurBqj7fGWqFVCgInhpMkxi7mazH+oHP1/OW7+1ZEkX8fvUGbnJssp9BgiLtu2rj94EzkgD3bRyum4J0eMiTEfq7mJ0nKyX//7DKTGeSvBoBVKrHXAii6Ny9TNmWaGUt15Coe+IXqBzF+mn4zdNIHMTLdOeY7YTcpxPZK6aS6n2ZAMbAr/zFwKOXeuGEo+gIzOY68cZTEeN6G2tb0EPKWgxIZp2TE4R7pWCDEtf97fhKO3vBehyjRv4q9jBfKtNc7DIMaRTt2p7VIFbb5yxF2UNqFV3b8SxsFK/jCs+0IVHcnOoz2vP5d90kOZ4B1TyNtgW5Kn+bq5q0xpU/o2gUMgoi041aKWEik+xWk6fiMnLLtv+Qxkz+J/vrO4e66kXr1ZxE5LloG29EzLdJz98gSONpnZmmmc28b4n0SKtLWGFHk8LmjlYDqNarNImZZgcy7K+jRYMYfqJM7IlVx+I2JNLO93vYfuR6O0ySFiKiWC64GvCksi+0qWxDPChU4Yugufo7XZDEBnuKtPhIeERv6evxeaaSXE27Iys5U+oLR05/lcYMojDQrOpDQVT859I+4c7eVTUvBB0J4aaqRp1i4r5UHbDr7LsvVRZm5TdEPqXWkC7kQxps5swDLooO/lTNMmCxcVz6ejCdJBmi1HB9x7EilSKcXA9MhqyP+qI3RCmAojSlf/xKpZ/7jgYJFlumsJIikG0MXcWrl9q3q3xFJhMnoIrQww2REU7RkT35XLpqqSenEaLLp4p6BNArzd09jgh1c2BVgWpiqZZAygG9FjP1bSDChAfvoTBKpyNfsa5gxoC2OXTmWRb/cZTjtKdyR77569dgjMKNoU/1jxs72bP3fJWlGPBWYQOpbUon3AlyoNf7VInzosadh50kMGznVfOMOx+yrspRwzl7xHhMDbvejezQ5tYTNEs0vKX4Qxiqx8CaSOvYcSVWCzJLwb93VlzYmcv1S44b/euyptpTZd38ZjMY359q2bk9WSxz380eUjENBHvmT13BY/ffYkeE0BkRTMG1dvBaNxDL3wkbekH63W84B5qb1ChXFLX6YxlBZVNXl9IX72FF94uU6rfWvLDDBPIkGEpzchMkD4KguCLrQfkbhy513FA1/qHBuUUelQhR3RszVq8Oa4CG0fKCHoIbqy9kmkdDQwqLEtoCQnv6cQ5QRM5DuNzaNfsqKXd3+vggUXvqEQ4/w9gJUSh9gnMlSXl/RSZU577sLSd4SH818u0a24FKp8Jy2K/T6ZLtqnUP8A7nzOrY/Bf38YOwDtJIMqyViMi0loSnV3QaQRj79zEoBlcsDSjSTys3S38MgXXstkQOXFLVuSFGT7mbwzylSKvffIcAr8QfWJXHXVyyNkR+xkR2TyT0M+vhe12CoJCbn/oTlY7uI9W6abflDKtO3YGLPCLkqkgseLdbmfUxSoI47L2oCb26jHwVwIOsEGK0ysppJIhYPz4CRiT1nbQdffmRzPXO9ZMG6Ch5JHNkou6UVoucCSvWCXzo9AdMq5yWmXLx760tgeOvCFc7E9N4saoWwo0jrYDEJFoA9GaRCwIZ6X1/E2FmODpTBa3SNI0DoS/kNl8Lv+nf93AeLS6rJHI1stJmTrlIc0F2EnMoBtItWAj7WrzBJCNVbyZ3a3Iwn11Ja0Vldj31Qsfrm11YwHC+doOeQnrBvvrYa8Xzw1QW8bBp0UvbG/gTiMGVj0P6ANz00j532O/EjZ5YytrqVQTo3aH3Re6A0igPeOymzfoKcXBRNRdXVv3RufaiYLK/8K5vLKZNfA9bQAnTfJYws1TEQol0d7g7pT3z4+mq68MhIgfJRiN/gPer2vfrJinr7jgHNjW1qnOSegHHRfdH46xaWSRUPz3pA0pfZm+jxC9kesLPTCQD2SlLjVQaMabL3Yz3mDNAoMes2lvr3cBXxiDcnmBeby+rHIO4yBdU7iqIy0DOxekJcWcnuPv/Sj63FlLn+54QxXwJ1i00kexrpyN+pT5k/eNp1JESWTywBeH4lr/FdJiRWFPfQUpaag4RepSdYz24p5vCwmGJFWW3SfskzIlxc6J2YKBhyOg0vJA74bRtaoSPJhqhA09BjDvdwaAeq+ZmFOFAl3thVoP729mbUcjACngb7f9T83yuBbaWBlm1pUUMdNWLxehMYjbcTfSD5AQ3Mt7ZVvvmKPzle2y+tzzl45CPFYc6yQMnJQasxTKRBdXEkh5Z7qF6ODwvg1X1/ARU5ldG9F2hOQ2WjuG0UAq+/Y5u/r9klShkUupCqb97JMTPyB1Pc1mfu5Iq1Hi/NLOUE1SfVHdmo3BPbtVI0au4SmpxQcIiAeqr/wpf0uG/VVSloPxU1cP55a2R0BVqL/17BWVAAvcNB12upEfaSq0l5xn8jFzX0z0rqVF1pGDir1gefQYlrGgGQE60p254cemucf9TQE/Xg+c+53+c6NDenNnlgnsybJAlXPQZKUKBqqHLZHFZxnsp5QfMc0QX95/hiGi0+1gVBOQJCPYwq6vAsXLMAp1RfnQDmGRbjN8Q4qxJsW4FPCmhWlvzMgIpMsFL/k8K05PtjU87uE3i1QrjEXgGwpTGCYFvXIYZYHUhNqO4JRh7FuuLaH/rJ0PfDXLAYKew86Lji2Ym4grpKqt7WT5FysHcc2l8A+1kuWWlxwqXO0umIG6bFSlGMOX+y65SLbigXSw8BbMD2dUS+4ei05Rva0Xh5Yq7IbyOsaZh2hGHR2VjRpYBdCI+Z5Es5KEQ9ZuFX74GCcE3TEK/60bsFuTLCQcr1KWyDjfxmWAXFYyardYixcEp3AlPXHArQQic/1m9PY9LEVd89CrE7n7N3qTpVPbUtsRQ8TjudWTngCKhxfSo9QcQMripWz+Wfevq0Px1+q/iiwhD+8S0BrgVE/07MySikhU9vUFI0g6S0MRI5R4pIRmrdt8zSTwQ7wVcHxTbrcEAIH77kWS0aBIxo+VIgyXCsuaKfXin4Npx+0RnOPYObfC1Lgu8/xKvFDl0tdVPtXblS9qs8fxAdAa18vdSB8xoUUsSodrK9auD79z93+FujWL3M0q/AuWTaUq6pCwxKf8DE2rwTwlYWYZtIDLCEACLGzQEgOV+b6lYYQ/re2KqJbSSTMjkhC4Z2wdcJfHBtww4mfazzVtABe4rGzuBFp9SEmxrMtvoCch2aEYwUXbU9JI+sXjABv7hsu9uSuZbo9iGrgtezglz/ZT8vgBnNbwPi24XfVoFZn7jHngfMh4JajGTk+fxx2rh7zIDREuuHzkbCH2o1alcWMrtkeaLgThOjgxBR/jOq/VwavgchsLLEIFxrVUZvQqdg2dQmckKVOtj4YOpYRh3DUuth2w+AMH8Vy3P/TzdrrFXv47p6ZOjsNW3r4WQKxlagttNVCZi8Wp7RJWl9kUnZi+YseljfKSVTo4jQ1blSITmLsV+zGrCGVMoBNvJD0PyBy584E8yi23Dl1kSe/cCcAnPeW022SkKI6GSbnvLY00ZGepU6Lco6d+oOEEK1vsYQZBnBSs8mUynhh6y0NqCquRzVR3844EVo7dMGW/Vf/5vkOe7BBuUDI4gtQl0FxwRSobZEePzIqjnVv2H/gfSPbJR9YAflhOu4ottJprs1iP4Ad2QDbYkK5g3pTY9yzHNMyId4/nUPxoL3kDNSACdqdDWJoOe/i7C7fCTuc23pj8L3rdOvUzenLXlYHOmpIQCjhFucCZpkRVgQxm8pT6w04mYonRCXmQpr7FYyrJTGAEewmidTM0XsCrY6q5QI8Mqrpht5fDcxDPhBlLKKvafokrNwvCPR/Ox/8F3SJEg2mXfiDyaym3ZUaipX8bqFESrxrwRhbKTDAh1VpszdsudTcW1+eipv8Grz5VnFoDZV1UMT6WEgq26NbPvkb0tVI9nb6J15IqiPdj9Xo7y4n3cKdElnPc0lTqEG3iD2WVeHZgVTqa6uYa/pzZkl/A9MB1JxmraaHTqiQA6+9s6SLngqT1eUuHeSfJfMq94cm3mYMsG/l36C9rTa4aBNmO+JXypOPaqIGUaginbM6YOj0NBOOh6IHUB4WoksYRUB/8Pt3AtlBt35lVEkQyLO2cWnuLIb27WrBMXWoWEggzhR02Aqsj/SqJRSL2SELVXjTqMh4wCq+iJyRQ7eo84skIFIIG7+Zk13KYq5cRlsin+o9h1i2WnOR5d3wbTbMD25v0jOFu/Bm1vU36WBE+fLdRurU/Wf97kTvIsVWV5fRKmGFJP4fgN2s9Kro+dhwfdXeTLuMOK+veQv5JKhjkkC6DymAlTm0foBouN4dBwqRPnYNQChNjye01pMR26YsJwmp150soN0ULaWtRcHFcSKnoU2GgZlkGxAWFrLitXxGw0TtNvbvcgekBqbpXr7OpJzk9LvGznOp+LuScRqUBBplw8K45WYOmHC62as0rjzcxmjQMk1ODICAUVxB1oMnkrq9jvmf1rChxmUjhjgUeYoRCdqaZQ3GofnmhyXfKcYk47zuJxFT8cMgZ5LBTkE6uPBaUh9dk3BZ7hvBgYcQ3sF0P3NY07af5jJxwADe85QqfJyb1ON1Gu4IJ4R5lMzYKlRvbBlmEhLaXvO0XMCPa0r58HcefnwbWRAHK+QRwS2lbuZiq5YuvHGluoZ9e8AmgPTKSHwJz+RRoI1dU9TIx5ECzS8V41AgEBrVffPbQPlhNwPeChcaGfZSFeJnefdbsRR670nR92sdKEFv3nhgNDt8xH6f83Lbj95QkZ7YwRZlQsjFajhb0qWh7NB4EDipkD4H0hP7qfxukkf7//9j+vrQjlCL36eMXWQz5R9GDYKW/fM3LAnEnsB39CKIiONdeMBklcpUJUNkIkymb4BV2IQJz2x272uHL5kqM4PuvSyhCfXljYpqSBobZGVkj8Gy96lNoeR6OmKlW14lFGemQZVPGEMkyLgMHHpcKixMVGCqB8cqEVxsZdHm2g3idc/fDMiAnZRLHQu9oCiHc89dKLqfPOZ7dcSKrNV2abm231Y2kOSI1VYVpZYN1FqQIwzhsShTgzunezKV9o890pyKsfG23Sc1rm7WpdsCRJG3InaCFAxTrapOA9uVB/dF0TOKx3sbx32zrtL1GPxYVXiDW2QLzFKI+JI06loq+qeORM7pdZJkNmYP6naBo7Ve+pZMJs+rAuJTz4pQg3clTTTKc10OnK17WxBNb+MRPSTq4NsFtXRSp2WPyIAYkd3FsO+yDVC9g6xTyN9K4pL5OIzl22cUBbW40ENu+iLvkOMr1bXZug2o8+wNOFe0f+zwjLoM8vV/riEXwiDogYjD8oGRII2BGwb0q3JLjYXIo+ntXyAJzMiaVimYQJTjIO+KKY7EKI0hcngn6P5wZKtftOS1jN3JsfK51kelObaSQKmlSOL9U6lDlsKPRirYhetXHinA9o9aFjopYFzhSRuhIdfOTi6EEzgtzJ7IjnhymgxqUOiafsGprbwjoEF2RsMrbbcCSHS11zLC4CIRNzwYa7NjiOzDsmDkA9Pl10O2K4yFsikanHoy5f50qViRTUMXIKtmSRIxqT0SSwoeBDyTS+kh/upg2GSM53atSR3Eh91Cr/1tFLMvGENxtfpyaejD//+sJBEeMgvlul7b/SMW1w1AVvEvO3YrKGcneG+99aSJCUuxzaNeyZhJRife7CLeCY8LpEC/pyi4iQZCQSqArfHlaqQWjFHed+SJSl5WUeYHcrH52rUAy9wMstS6uPPpI/DpTCa+/X+Mg8fNqyGaQlDAbJtRNa6oHf+hgHryP6NSlmeD2ADqdPIEV7F1i5nWexnEZWgJwGFin2EKhYu9u2IUQBvG1puEqDZavtuuL2VWJeJX2aaUhrQOyEw3dxhk+Z9epFYffwF0tPgrXLIgZ7/E9004SeS/4y91NHZY+2+XMSziFI6G/qhJLIuCwrprnl3Fw1Jo4L1RNQIXiNJ5D0eDOZEkOsilVofMEXIhc0ssMN8QskWkQv3AxNhdUQrPs4L8MEqWS4WpXWG1uiLmUFxL78tWOzzQU2VYN+tr22r7S68o9kWZ/pOIYaKNdlmQNBbqP1CftmPKwlHJejdD8Nf0M9/84Ur5c6+VLdxQybP/hpKB5MRNs3Rw287XBMnMCMbP3NTnJjgOm8Q1Mm7/nHmwPYXZSwKerHd89lK0cZbAwIqLLnuyoyq7epqvuHYcearpCpfZVUxAdZ8hjxW28dyD1y7BWK/OYVcT2CrhM775om9PINX+zOlHBCRcESh1iYtfhgcIDntbuVKZHVUcu6brgIxx+XcXbYd5/GaR6Er2V7Z9uevgFAkfcvEj5PDM7p34EqHgKXqu1MCZdf8KqzCrV7p+kuqz7569wlGIbUvlDSYIoTwOkGRSpoDyEyXtz7uwuzSidJh7vdvkXaSIOWSVpY5cydYKjPW5I8bIcALDx5Y8qu1axN8oQK4sPEmNZdvmK0431oKkH5booTadhWXOYY/Gy6pSF7LPLy8nd02lh9f6nRvaBWKtLqkp0jDIbfF0T2/TxsQkqjKOiC7ls6ryYj+93xC4KAD8ETIGSvpK5c7jbJ/6M8LQmu5cpdWOkoWTHmK3MSCtWyUlImUx6iTD0Z4XJxTXbf67N5x60zRhnObm5yWFvrx2ZI03d44sz6Q/pVn5OmUhx3O7HLI3IGQO3KnynPcwhhS7jTtsyQg+nOu4UPi0irzc+2cIqcBrcnl1HoQsd+X7DtcDSkJrmYRSq+m6dGw0IGQ1KogCXBk6StnlX53d6updC6YOL0q+oAxmrXywDxJOnESbNnCcOelDHhSC7wdNjIt70vR3B0120BOSP0f7dTvglGiVw22YA14EeZAF9Ovcj4GR6MRxg1A3h/L4hfM9Ucct4sHBPswBtFGismJnsVgrMCbIKMwfY+QR4rzk5yYQ3LCTSHf2bP5ex0JYX5Y4ls741OyQhbhfb7WrilkhIJZ/gNiGBvOmcL0HAlxVGXafGptS5zR8i0hlQ/gR6ycO4vYLNYK/z8MI1sBkCHT/DjdQUSzwVXavfeA3/xM3dC6RoxgW7IFIczRnYc11IVxSq6kastoO8jp7mPVSU9K8KUddAlflYobzKYIV79XRWxYpI+uZDXcbBDky5Of74zJXHVrSxfQtK6pn5NvaaXC2oJkhD2iCJArG9JV493Q8Lr3RNOIge/D23/Cv7sSHGi7/U6c9cBue6/2ypmmostZShqCN+xv6umbhv6Zhd5sjOTk0RNBt8SEXWVQbCv6ge9m8P2wXgZLcTQczreUaPPKEBR9LfoPEokCfa8FQ42JsZi19ElOrhBZpywwxgH209Lmq8kX3pHEdQlELGjq8MpAHCsjhz0vJA96eykbMLnzCw8TJS6pUdh6NOCvR3ChTXv/0qxEs0B9lM5PNTn/9AcQerEWRAAuK5fIf5S4f5uEBexXPMrlpgckzJGlTsa0herfSj3U85A8ncUjp+LF5IW7Zi6KAcFL4Aplob+NY4tzmE13bqCBlh1+jKg1y/ocqBvQ7OJgiJP+cP80LaGTcww5QDX4XRC4B8Sxac33+nflRllWR27ElFBs4nnSDOeEFpzvqL8xa7SCr0//3iYIVQSzZnO0qYkH8e9poepbmFizqoj3AXHRaXPclN1Mkpdo/q3YzV70pkQKw+GAfsiQ+UzOnRsSL7FxQMVjHgyvQZCwuSTxySZ2+imF4nfXXZeyENlEHB/PmycadmPP+KQCcHcTWqGZwSCV8CP1RyxAN1T17a/cgKxtgt5gpQXPqdMVDJTbVShzkQwq+ZiZTGTpIDmfcjS1+rumhgJBNbDKYr0q+c29a1CvVLgcP9GW9CTmvqNuUUaMnoCD3YIetVLvHNP/hxBrLx3kAWagFAcKce9DwPzfMgoToFJDtHZ1N+54jDoq4PzLE9tBmvhrb7FP8MFUOGutQWlnbzRNzpgVeXTtIQNQf9FXkRVLrYPAqbX3DSCh5KvTM2XfinTBXEuO0zRgOCOwbWn+tbO11WJ8pK0eejJboKE1mX9WEDeQKKXN7JbnNxaXpHSpclHTnPMvOa1cZxPX0AatA15urAJeUkyOmn4JVDM2zDX++nQKcceSPWIAurlV0aiG5Z+edlpqubYJTVlfv3/7faSi5XJGbb9e5hVvIMAQp5o4y4/3UjfBsTMreQqkLCqfO5adHiGJ26C9mS5/EG5KbC7HQSrrPnAfn8WY+jscKnAToLrL5JfqY2MUihpexgEJND/5O5fXy5mJB0MVhW6bjsW1oDGn4UUvuo5JmwCmmv1iDV1If8fK+HHl7ympUC+nnRpJ1oOrYUBSUXdhwfqO6hjcD/mn13VYF6gNYX0w+J1NTvS/5CV9PDv3/oQ/Tu7MGO64+vspVxx4AJniZM7f4K+U/xPdJ/V+oblxdP34HJ3KqXh4mIf2eq/a2h+hoS+FYD62el3zhikRecpyHTlV4KHgpAdVV+36glrioETzuJqrbRb9iFzF47ugVDK2a7D1OA83mRs0fknb/X7leixvhm4oXbOZgiDaMbolo/xMaIm40dDfv4ip+RYmEn6Zz+JNs4uHKWLlxr8BGZJeor8oFByP/dbJQ9mdWspeflfh4VIswWcLSh+hEt2zlBaKcvHpksuDx3w2Lxw1C+2Luc0jSEO45BFwetVyxk8iZtedH6lLf1+XVaD/OkCElphG951oJGbLg0hfm1uV/umqL1A5ct+8+TXVmnLkNcktFhgUjJ6quzu22rILt6r1l9DnTJPN5T2DG7UVtmwSzHbmxYlnWk1IiIOm4HheRIhRpPrMzYIdTb1UShcXdmCHnLI9laSHfbNvjmrKKT1nNu2FBPsRiF+LelEgePAP5BfAQ7ZLxjajdWp1Qdt3/9lhqNfPhaZRe2md+Scn9CiGBlGuDGG19PWVDh+/9q+IZVOEw3bi0xKYGJK2TgCA51XAoVPe30FTO2v7RBVJOG1zgrBL6zJF038hM16RjRBP2KamWzpo+N4RqDgioR0YPpiPUxtiLFdodVvfyzBtaCQOoScR8ySQDMQ8ctFyVkn+yP+68LeFCXWbGrpZGJD6ZknyOH/QO6fAhgp175UcgPQqJF8TksZuxkq7yX3Rl6Yf4zjioF+r771Vf81NRFc2/H7IzE01iymYE6VpYVLeZcLTH6mFmqsRtSc8oZBTCGKXKCqB0qfGw3ui+7HT+rxoV0+Ll8G193qBlqZb7HraNdIQjTI51fzEUCPqTMdj7wZ1WbZejDSHHHSMN9J92op5KVsGcSExD2GHGIP+In6mmlDLRSQGjja9EGMuHz5B1mC8jk3+IYoIc3cdeF/5jOjnkQsdfGxQ2CCvA6kTlto45qQ5hFteJtrPPCL7LbQzaP1THZOcNKys9nDQR2OsaEPJltCBpnCDR0a3zVdURb4WYHahaLcdjTiTWsElo5DGaSS1ngqpaNDPSE8nfY5dvg9WSr3qCbjbnZisFeIlTEoZrb1ckKCqE19RA4hhMnt9/bSaDBdF1wsAx/YYdKeuO2Eu+TYvzWFT4pUQsS245KlzvUZuNlzfjr4a+Al8QZdW+Eux5KaDv7pv+HnwCLGvdexZ5vuTqXtpc0xXZ5LMDNW7Ij3S8ZT7LrlNtakmIt/bX200JMk2jDdtBT8hCN5lTvORdn63QvOalwqXvRpN0+m7rW+IJTszb5PoJGX4qds5TUOAy1tt5qIw80093F09PGV+ARJc+dAUmPSY8XTBXk41DCPwH5x63td8lUo2Cd9zEoijAwMz4wBMhY1R7nMleasPwqepxNLogFLp2c73FuEidvb3YBji5A+L6SU4+7it2rSo1aUFju5sQDkqSyYqAwvELANtolKJSu8Ny0V9P//DT/fE+9WKy9oUaJ/VCj8eFPsTKydadX494bxuO35swyKUExTN7rOIpCr2OwTAgTUO79wqfqJ5j9MXBn/ahhxhcWysListjowg6fKI6YFjv8k8/40afekYLviphig6KjK/k7NLbR/JeDaptHjL0QEtMj4SrUeniPyTzn3FHO2PHRTtanRxryaMAsCGGAnzcXKliyMRZpEci0p0o5Qslrw6SktGyZC2QuOALjWYlyP8eYnTqR3EC9IUDgDH7wGOk4SxNlaUk78mUr6qupP995VD9sZ56MyUClVRCIcOYVe2TmechfYqBys5en5+aBnnYIh6jqqMD9o4BKyZ0lenL5tWBWU2/nKu51q6OVmcCZGpUtXmfkESfHOnYw2iGyH2TPUEyC/851xeI0FktlHr4FXPfcNkVhrkiQh9bFV33VRA8Qa3Zd+w/i0fWTeNQ19Ncgc5UHfkHK23vSzaiy78kHqpH+XTJaCzdt6D/5djEzpErgRXAT0OOoqn/67rmKKDkHjYJChsbc+FnIP3yr/shi/TPd2APfVFxWQjjhPXAyzo64KTgmsofAcjD2Myu4IsiUcqV6la777RSziYcpAE0KZS/AU1eQeNoT3PZMzoiD/85xUrHYxKB5m6mnWq74/vCWV1ZTLpWMnqw/45IE7qtLJyf8teFh2lQwvOvoyWClq18aE75h+JYkq/NwLi+9h+/QPvvKOWak9BmoxXQbgmU/ihUzZwhwxOQJSqfqOm8jSdZEdAVDMOX9AqrlPnaSBZ745oeI8vBxn/bXxRUlsIuiDAvHN6juRHR1FImkOlFmJC/q5jVLeFXkJd7JZ1MNfZK2iDkVK+kWVlFdygJuH0HhLxeHtSU3BMt4G5qe1BLE9hskISh1u/deBjdY8fo+1B3NuELDoNGom7XgOpNIvgO9lN41qNIAeSyRD7rU5co7JeAow2bLHMcntvHdN9a726cgJvRHkmtjYcwZE3sZXqRsTxRqk9Y9zEfruikmvyCZKbnRWxmebEz6DXN3QQKnolp2M7nWs/HVWA9d5Ex4beaL+LSl71n8HkIQwpoIXuqSGYwBUIcst0cf2JzFsbE/rOw/+fmREmTatMre1V11Lw4zIZghL5qaXNBYWNmUQEt3pRGnqvjv16I0l9zMi1Y1F565+c1rLqDaU3Jp2N35tvbMd7IZTyOwxE1SmmxxDui/7woFfA27oNkSu+UdesUAjkdFFPbAdNb5andBsDX/PrYG0cZe2yYO6w6HBEpAGRYjeoIcViI0AMa2TwJSx5biQdCbuFU6wYGcn+HbOzynjxDx9HmRe7wr2b5C4O9lZKTum57rgg50hhIRVYwMQkRdUeqXJ7JUWc/+58xthjK1fo9CXKEp1bSz1P3oiC3q6tHxokkFc/oV6QbaKWOujghdhgrxni+fhUdTYbEnOSWqEXHcxekpsogkOCzOHI1JAf80BzbiENOmc9e1fmb5s551rFC3Gjy0K2HLFzsuEIWTrOkL4gzv3EfiUHAqEdhgE2IJ87JJZuW7eYQerDj21MqgI0vvVzo15QbhG7Obuv1pONePNI79jaeYjmhNmrc29ay2g2vrYci+hX9AttI7ePxsJ0M66jXpTdMK3p89+6xkfLlmZ8tIJkMHmdSftVO9uXl9NzBQioUD0sE96GI6LuyrFQ8LvbrUUSIs/a7nihcfkyBhoiw+VmUdhT6Dc784Q6uzuD9FxO8WDVnxo0ovpFHQbUvDB0pbpRNUpQ79RkzPhltuX49sqrHSCnDQF36WQ9Hx5HZbJ1Ey6FgcErfp9yJNi0hqLVgRlU0/Ka7QQLzY+ndJIMPDHI5BTetFtI0lu9wmORc4hvbFR1YuuArJUfnEAQC0zdq3SsTl5OkC+RQXwayDzRWNmlAq8fWLe5TM72eW/LHkyFEp9JG1uxTXeCmNHFpIyToNu/9AzvPMLgYXR/p8K2Nbku1oXkJN87UP8X+7d2EP2VQ4KR9Z5e+6ATDLexog760pq9khnMpFjWMJ748o9uSreQVxnjFFzQq199RjnbZE1fj2jNAGRerGtWVCiQUPFZ16k14pxYM36sPPBz1CChG2BnyagpUAql/Ut6/m4hrSnUF0Tqt3QcCA91K2M9MnWbvU4nSql/ODRKoQGwT1L2+D4IvXb6KuD2+9TO1r9dmHeDDezBDHpwDCFXr2p6zSNx3NPVfuUisIsyeMX/ZxDbXiN9GUUzuqUseBvdb0wouXx0VDit01vLQOJrkpLBlJXYO71lsb83VDkBasRUPNjUY4Gzui3cgT8kucqLEiOPLGsc3gZ4w8iBiKRh+9LdOOP7t77IVjLulSpoM+Q3LhF8EbvRFqGv7mIyORmz1F7IaczdGMdCEZypjuuwfFRAQlMbEwSADqxat6kj0bNyLHJydDiJ8Uk5bAWvzVf/l32gvk7Kc8wQmip5pRKwkmL5FgF9MqQdppNclGjOUfVh+lPSVMe38FJWvTeRHR1wY4OaBUg2JC1JIKmmx5EsiQA66J3M0F02xTJ7krqz+RAsfBs392lrt+dlx60LwjbQuHOVfjMdG6LPo6tmKCX3/BXOfwi3mVhLqhHwDcTVHiRmskTacyH+n6324BfE2Gi4GdAhzT+bz9NHSnl8b9uhXVHyKCHRXjsjqzQZdmSOY5dPg494BpK8YBlWKlwj1wvz7zanl+4exVIWySALaJgrwxM29VMUhaFSm6UC/MIdMI79VamEGb2/66F4uM477JkaIHJZBzNlBsDEKI9BDRsb3GvrZ5jYaKXz1KIGNsjAR+uVksOFf71BSNIqYtb+n1jKMdkbOOINbfQPokfo16TKUko0yhzEvPZkgP6bSpHBlL65l2AdVuECxpCN41BIBXN+sn/Tcrbl+vf+pzLxLv4nAGV7QrvP3WhHrEhKxlS27KjX4TsX26y6u2/EHNJ487+k1oGFKbhSvDktYmqbWuD0gq0OmSNeYIqxGX+NXauWQVbkv81XxmYYZlMcnsVSNb6fApGcqt0lRB4PhM+cIcBErY81A3qUq+SxPgJum1v91nM+ygE6GBTMAaio/GABKQ+/HfPtojfYx5nt+vDJ5ctrRYJAPySQdDgbsO+1p/oDCQdy68CePfOt/HsUN15OY0QUmBGWt35DftKEO7UPHvpUwX1W2/oE2wJsugF73IlDljNJK3pXpjx9ApYW0nQNQnLFEFshyxH26brm/ia2Myl2PmWYs9sIsz2oxUcpGuGunLkKAR4VFbdJBnxQGNX6v28OKKGq7iahczHFwLAMzj5PWpVA3lyAnYL93wOqTfsg8NEGzf4O1a58J1Th6plK3Yd9YA7yF1BiTnk+ecROTv0BGjFt+8y3ni8Ql7iyH7WGzQc+jwzo46Rtu5BnEjuYsa7NNae20c2/YjVLCEK/EMKWUdUrAqaOiI3ZYbgdwao0ZXOtsrTnFGrUPFbafElvnYJxxQdkKpqvcXKNFPrs7t3GkITOnq8Mmr63cSHjlx/HF8bUMRfwuZ1v/XfjqDJad8l8oAqzE8R7pMisBxDiJaUbRSjltE7CScBOUqwOU20QtnsxflMoTTTk+I4gT85Y7bLib5wd+JwZeogFrzsTDxsp3KewAF08kBgMbjB3X3cXHQHTXCZ6dPmf+M4tOtzhRLzk/fOXoEmNVkKtKFHTgdI8yMOkEgMl3NaDbXISy2oaPknUkPer8LAsygVEiGi6ugs3Afh5sEm376V3mNmk3tLzP+IEd3kdrBC6NMy110NpT5iRcHnTJALoms2RrzDYvauhV7EVCnXLj8z/+coFa2SoaQfATPbQv46pHA0m4seYshefXUE7cLEcm3vl6bGfd55SST3gjcQpKq6Ow4hafIJuIk1MDKHKyxNCLQ0OnRZmjUv5f7H88w+LtOEoJs8raoMKZ8jMLvuZ3Y4hp3O29HSHQida0FXFb51k3pfOtyH1rW3GjfxkroEIkZ/NZIe9tg2bYsSDYRNtJb2qWzFrFRW2mf0blI5wqvyR2HoAkkF/2EvgrUz3UKuH4rEqLrwoMKUUomYOM7u9Dv09IeNXH4V1y+scDgbUwIJWGdm66s1el9xusa7ZEOCvXyavZVl5KFj75tmn9knRpDYLVHlQmj6nwL7P6NSPczq0YcmVU7/pIGoWYVF2l9VMw+RFtkmpTzgRqQuy2NvGpYjvaTF+LDEucYsDia4Ima810+prLzS0lg6uU0kaMHdEaZbzBSSGGKMnPrJtA4U3EVhxjYQfFYnnbAfN+avcYl+M5URXf11XYiFx81Ojmmw0gWV4roU4zQXaYNm5hYtMjn45A/QRNSNyAscqBhQIj6wfCPu72L0dtNwdOWhB7Ypto5ktKkCq5N+5kHr4sQ8N7lGm7WelzHVhOb22ILVXvH0z22DAITlkI354m18bDLU4Gdb0XIaewb4EtAoZzslPo7ElaknFyhz+PM88IKwj+scwZybrSIUU2QRpsrtJGO8AqMK/b4g9LM5mraq4su69h9k7/rKxCyndITt9hf8V264ceeO3bQt2IYwRfDH91G0jdiAKqWu5VKwfchzghKVDhSvGFJUe7RAP81CY7AhdAx3KHQPnMs96g0OymQ4efRvSkBFAHfJFso95Mq3vJCuDy0Jqd2l0V3zlvJvcnrTJ4teR6xUKOkOnJXXsfmDsoxMSIrmyX8YsiHX23vvuUekrasFwsz/zCWoc/GkdCtIR9BCUGCHBErCtpJlxo4zRPCikR6NyWHBthazs7S3hPsUDEZB3qhFDwGg67Z4bNXElHDLOpdzbjLnWN6rruCVAUimdej+OCMuGCHHb4tYwhiw3M/d01EGAlqbjFCyJEvFrmmGm5NAKxIHZChrBzzwevlVAtcYgKxiWY2lqzaHZXICUKmYGaxIiJgLhkqrdkqw00K09ktojDtZzNjDK7+5Ge3xLu6BLPvEdtJB4v+1+IHUbojGXVyIfeo7IAm6CYZbVBF2+/IwIFliVfI8y7tcIQUQps1DlYltSjFTZTtxCZwvCGuaHZ+6iZnJF+Skuwry0KsbbCLGZPpTZ/1iRu+NcsXcLcoR0DwATAnbENbwEiZo32NrzWWSAj6H0k0ZEsT0IKjhvY/upkzasAl6Fd0btOybUcsBuGS/JuckNOmu1F16e4qR8JR9jv2sOoJYUxBxlZvNLU6247JcHhdeeAJKTbNB8b7qL7YLB4dA1Y0BdAIB+CG+0hJpBAwCtdtanyrih4+pPlYJvZGWUj9BZBznCGR4m0ZfSrZzaqlfZuVIJ0koqnaqt38OvMsQQRvD/2yIiBMe5Vpi6QOup657ej61YBsLlQ5zMHZ8N2g2oZxUNmB0CsNALjBShmDqo7QQn2AVMN5HZYYUYmL7ShdRM09vvMi5lILp0Oi11QUH0/vf1rBQRCBRWaoGw2a/jgda2b9qzDyjjN6+z3fqm2xiF0uT2d7phjL1hQ5Rp4DBms8MKL1Ly1zR0+hdYJdd5bXflbz31tEeIvmfmFe8L4ggFxHwcw8K/KtsRjqJ8E/U+vfWUre2XS3I47W1KF0Wrfad6Ot2Q0lL+JgsZIiJ1jyOzNGdzgdmOJmLNLt8o/HozppnBxWzQF485wL9EsYGIo09pe4HKrggPavTcnPZvvYu4BtHpvS7Swo+ic7NcFUo96DTz9PKeZxd62+ROTAQMFiqPJlDqfqMG+wkWjmJBlZO0eV92YOmHR1x7lqwSx3orl5VT8DXgSD1D2klzG5tU2ck7xtNPL+smURtJo8juD9KT8jwmqxcJCiP/bZF9cQ4qU8kuc+vY5L0wAgxexYrSuPpS6cF2YRUTXP0wk3Fhh43OIuvYW4XGwLrkYgSw7j1NvICu6MHuC07LcYXHbXdq+o2KkljnRBw//3pd1ZlRdQ48DelRO973VBX4rDzmZxfj2KnYCB6qPq32Ddn5uOxn1JqieNPu5egbVDWfqDuxbJ7ZHcmUs9QQCDjhcQJgZDvWO4uNj7fiBTPe6nTF/kknoSn4zaWyZpt8IRyC85SsuqjqMCDB7HGuAZEIfql5pkCi/vJgL/YU7hbL8S0eCMlihVoNopRbSZtv4kB0JG6SP/vqXCxXFJR68C2eQIHJD1ZO/82HvJCYWYmK+wPh/CGqPjbYRt9U/ucKRqLhsF0sDnzoUwuSNiK+2gXSUBt+kgbkQsyv7u2JmsI1Z4NlG1/f+0b9G6vgvh/kp8X3OUqNK4zZWOjNB8d+RU2OkmykRf38v4nScARk/vZWzdKlecndVu+TmqJzh1VCn991wjP9oGsiiPAns28aylW/7VYdDRrXScN6cnKht8L4tOPNa6l3qvAgWUiuOj5GdE0wPExKjDsSapV2z00M4vBsLSRuUA3+KH1eqk/FxgGPcMbb2TpQkALmaC46y4xb19z7S66eLSFvhrCvvgL30KIpgLNsCY2FTIwMYLPf/XXy66/RBcHpGuOY5SHNJQvRJBM1KDinaB5ici8+3XcPfctB7gkqgizO/Z4onXBQsUc0hI4BnH8Q3A8QcL7VE8RhdBeD3xM1GcMLkXBDo4jGutugarqaPZlJ+gAV1TsRJpNJ0M7ZMpwio0WBUv8WiRjD0BIcEBySkdoP4mqKnO94FzUBo9QJqfsHr1vBsdcQozpALf75L5rD0ASxwYqNmZC/B23k8pOwy6u5ox3nWpVBoCsJ8rN/93esbFjysqxYqI/3mc8EQwnmRLNEJhk3DWawT1BFx7FiVs5JcUBMMcBgdWYGtnWp1nLY5jOnsKZ/2xb8sfHm9H7Uv5MiDiCBBelyj+6IaTEt9fOe1dXyX67/MqRHUlxnKYN8gaRyTY6fmYGgypUmpoIr7+0XMlAM2LS+AOxp0f1DBJ4vbSeQ66ycJn9KM4HxZ+1hVrA4BxvhyK0SLV9IkAzTKc4wDzoikf2rbrzLD93lelLcRi2xggTeZPb3UaEcMqFYrWyEL2/xXGPNc9VUAakTnuu9XxJCkYrc+PW+KbepaqQ2UKl4/MSQ8asQ3IgNnLREvrT72j2muuhPTNRWScm2RMVkHcvV1A4ZG6GjzsZB55cZ46yQXxz0vXFc82d7alOLDhI5e/7MbctlG5dWs7ZmMo0I+prmEaI2qROW0W7b1cuHm0wBMOz2KTWfy+3UWnCtCXJqsVoIVP4bktfzYhCziwCPFfjaLxwGMwfgtvJncv8NkZaGa3VYfVsoVVegDbsoMFhA4ifi1V+/MbvJv/ffZMbYRQD54zVSIYUmvYNumDBbOnKvI0CoWCVvQaW1xnQGKwtnA1DURcedQGdYxDZAMiWNFslp0Jhg1IfDBsK40hteWNpbNvwgodM1Ft/MR0XMhzaUkBD9LpgGFe+0G74Yry75kvPwIpPZoA5OwDMgi3gUWCPaU/DALQhB4AxenE1X2TmJiXPGLQ3frie+vpcUMbXwRhqyxfXRs11acSo1Az1yCoegfp/Aq6ely7GHTM8tbtbx29ArJGIJuDmlmN7YzxbEFQF6aGln8ghzJBTu0aIaZwV2dzShbAL79gKPbSF81NaqHsvdr1lrzTrhtjqpfUh3Rdkv8fUINeGVQg+bgJTLRjTTXdZZgEFpG2XbrCYkKEWlgIKHasDRXISGaTJL8vpxIzDo9x9GV7J7JXJl6QAWF+67zji8i9Gxhwv99ta5n12mX6xCVm836wIqPCLUJrVyvgiCqNgNNiU/Bdo8qlIRt5pgJd3TSqSq1dhVEdrDZJ5kUfHER5cuAEHOVIC/eg1DqoBtAS/c1gG8lEV6mUY72lxLjvlI7gMX3AgX6U3U6yAOMLvM/I88KubhhOVAkFXpGMPVZ7Z/UBBQaOL1e+bq64ZGoRnD+79AveDZfCxlKDjGz0i1o/VTXEabqTxw6xyu6b0j5UUUfFDPoafKOVQvpOSlwBx3uAzl2O7V9+dPw40lR4lBXItnuxMmiT3aqjl38etkl2ij9EdKP+jpiBFHwG80NwGlJJyh6uRTGuYPaDV360f3nzK7AWpqHhxpfnLjo1JxXPxST8+YDxbuCP88GU9dxTIu+zM5yRIhs4uc//83bbMgJLZ5knkEeijFvlI9ouMd3tLV/Qtxa4EGqXooauPQ3tGqlxyseOxe5EHmxojNi5fWGwAqIdq+RZPqAW9E4E2gNm6sTk0F0VxdSIEPQsiO3acrdH/n+oLDOvP/iB6kUsZRpJiW8kSjK8MAHpz09KebpUrbouclLghxgSVb6V+EkM+uRzTsAFPitM8718gfX5baMJxg1wQLVPQLPkVu5rY9DyVAo1ZJKFJoIQSIaewO3OwKCg4UKy8F4E4QSzd3UqDJpfBfDJqC5nziTEzis3c5zXMPNv9Ka9guGhRSs3rZKxu/gmNlJrYxNWCoijKKDPeHI4b6w6mdU2GN4RRmbXmf/o2v0kD9bSsy0TLnGy/cfvibiayi1iAi7Ha5EJfvMPNVwZwoehY7cUam002zSCwQbU3/pcBEClKLvLDXWpYJ6QrC3i9TaN1CY/WnegeNVZSPQUdQ5GGcmVHY+vrhLdbSCFFKd3fWZQeOeoKcq+JQuwivXNzlBf8pNcGXDZNnTvGHg/SSO/z3U/hfD+IEhp6jHbnpF51N0BZBfxs//TDooDkb7KwYCp/Ix8owWd3O6v+7timNupuAA6Ucsb2SxHD3kLpEM8CPcfIm0h524YkDqlPIaQ6ZW+viSuvPyGowBopxJ3wgDpJ4GEQxWDF6Yjq0ScB9s/KOQWd7uK8/ydC7NYpnLw19B1hTrUnM6ZrIrj3OBxxSaDPd77N9z3HbRL9BWFYztF4itfp1/HXlmsAUIXMbhZy4mBWiWZy95Zn/Gq1Yed73N0gfaZ8E5UI0q/N31xRYOjoQeOL9brcod36TL7klxaSl3yFTNLk+ZvktzL/SwKaoXnknCkLifMaGA4WzBqX/zwVSVPkQJg8QcVP8ed4j3gXNH4nQHVWaC0ymYVKdOsSHiDMW/sRdQpxaXjAqAPPFZ/aAFesWskf2kbNSiE+RlVP4315oGgTD9VOOhBjiZ6DVYukh/05eBkI240t1OfoQ4uGnEHS2PvFtzQ2AtQ6/JLxLyiDvabDi8s6Ik5ijR2y2m0hACnVcdYlmKdWqA1dzdLc7RclplylfU269KMSds7qNKABXc0Bw9vEIEHwmwn/Zreq6CstHRt7/3VbAe3Az9hLe1GidQvZ8r3HSoqfgUBIT4526QvwBgc2aF82mNCyP9SKQVfoXNH7inUVr7O8hbOo/f0JuaTFT2x9w/2UtkdpS4D8rWm3+4yFM4xcEnEuNluc6KfPCZRqCIJMaEWQv1PSk8qyggslTWD50bUmrBSSwvlylixKKG8s2DFgZpLhdU5tFx8xXwIQoNBnWMag4VFQFLHSr38YhreqTRhm7aqsAk8dmY5W+4FlPdFdhDmnodkMHbmNpRtqe/eAdjXe6cmjanIrvW74hUty/4MAv0WZfefzwzIbhsUWnvtii9tRJQO82fre9bCWncRXwLPS6Iz/M3UMql05y6lfOi5QBoa4pgVd+1u9tlSeQEaguCyW4XNSkOI0x/ctPdVVDaKlC4JweuSKT7sd7m1YIXLI0xCDkPj52LD6qUKXmmlCIDdboViNapUXl+1lJVKO+ddlL2tShmlgdQj6KJkR5lscVBb7rN/dSnQ79oekT9uyTG5MFg5nHd41ib19/fWeMRWA/jpC5QPe9+fEWPVw5IG7d0tfRjHWCJF+9pt5hKJI2fSDv8RO1O1oBWOoP21GTR0gLxDKGe8wlpZ6f1DrEaAP/qOcslzXH9/6gQR6K1T/IneE+zzBXasJ6vwLX6feJ1/Tg1UgcpF+Ysf3/3VFpsJkNWixgjQ0bBO5jL85lUDtQJSGQEhCMVkDE7kYv8Mf79S4ahgZOTu5OWir/gj+1VyY3uVjFOF0WrVifsVZxBS003xoAsoYKVI+IqVITyw7XRV02asftnKJImy8ZMfdaj5jVPgcwTRoqCaOXd3dEYlb+XYDlf8upwNLttNYQKFu3k9w5oMceUNOI+kbHoy5c9fzk4xIfMpuphplY/TMpJY4+wujZ/Ylv6kW9bnv+cG8jEvDQPbrDO2QgXZ7IdBzlqobF6B0bIQd0i6LusMyzIGwPl+NUgjRZBcbH2/OKyrZsnQv+i7uTh3/rc69ajPqDOHwwUOPltruHhSPk9mcpJJw+0lEkTG4PXo6K/2T6TvW9QqUCR/v2qoUvJaMxW5vKiNn33NB3vivyLgvnpEM+A00hIiXUrd6Yd2WInrYTvCFG+MtCIL+NfIwecx1fYBnaUfY4R4qKCpNBK96NwfEfz2p0xcc1j5M8Wkzgw5iQvoUYYwlTXBfDAMo1Il42mNtT95Whq1KHk2JJPgXw+8Qlm9D2NbGFG+/gBU/D12DyugaLsW8lVUl33QUkbgS/yfQMKFYwFzRgyMc4xuVOHjdIDPobcJgJi4D1RIdn9E6euyMhGDclRcn2Y5YdZrdKUa4aKovqx0VxtjzslMNv3JwydCt/wPRz/9Ic4edAei3GdSB0QYT+c1WZjStosR067WH8lCYQ3iXACLXXndl0YZw1x1YVCcJfbdehajoEwRn/CyoSyhVdKMTSyZoVweK+QurBVc11lZgBdKIeDKVhfPYPIR9xaLIhmzC/s7O4eLUm0a7eC4eYm6qTDaV+uPcARKP7Uv5gsngiPp+pOha3I5F3wgAzkQyd4smGMhrVAi8TRi3fs7E/j684D5w++Oqr7tGYQegqdXrZaPiUvfOrBecBWbMh7y0/aMAeiS17xICoc8wZEBnwZQysQ4k4LD55SYm+H+mqmh8Z0wkH4VlpMMVaZXDXS3udMCBm/oAFXmP5QWTyCMbdqYcB8bwm43OUpT0chtcUUnG6AdylfxTjnDot8eihJp5dw0CB7/IKA7lLs7MZ+g5LeQ5vpVBJF0/TvHPv2AS2mSNfv9QclvcC9nRhrmQTq4xjvkKjM+M8QtH0Q6xtbO4vS9rmcRyeJ5zwnwYh6I4ubMSDXCYpNkQJj0IyUs8xl262SNqKpOSyZseU/0iG9gx12/QAx2hjj8UVybTTpPDtq1owWlfAH+tbyI8yug2rMW2uIqxBRZgSv8Cz0udQWLD7kXDqA2CnH8J0wZQhwEiRX7W0SCK+4fxMOI5q6GfH5zDfT8b6FBVfiFHlFrSYmBiodZ8vTI+rOKUAVx14aRRKSGhnVYYul1frqnpTFxLVymc+OsBegxixdV6BVZfvG5q+3L3vc/lCJo1LpJxi6DSAm+kUdY0hxJRkxVH7O5pvFIBFBSEmpARLx8lPSCiNwi8LHosTxrU/UU3UHZN245o6oNYpJSKCGzek3w8B114JUlsg9WZUsERi9XJlyy5RGrp/Ms7NKdffhtNQ7AqPTLfAP9vYhmvW8ujgG1vSOYkG9RBWX55ZmU/AfoWVXJQRkfQVZgFFIYSVhtrNht15o7PavNi32X83EJrMSmGOpgZHyvpF07hk7ZWjSuk4/pPQGLTrQYxhKCmw8T05ul0mED/GCzxJQSPa9NnL9Tc8x7sKALuQif5xGydjlZwSV8JFJ5MWxpN4ywCOttNFuGO8j/d0xf26tNTRXK+nRzpeuDMqFVPQLdmzDerA43SwEXAfLZfilFL1vQQHQ6EGHlwIuzVZnESVJck4wpStH8PX0eosX5dPqnvDo54TZm/J2gsyvJOe6Zr9XBXGJ3N3Xjy2DqwBjbW2cA7DqywQzG2lhQyV8Aakg0wt9MGC9b7tMfoZGzyx7kq0rqgFKMiikwR983pFY1K0VLkFrAbSG8+rPp9LMqhqm/tGJV51PdRtfSCM8/IyCPE59LJsmp9M3WfT2FdvHWwH4QPg4zjgFIcc31jqjYOBqNPnkem5oNw72HF90BL0jdbK0j5ikpq9fWPghD0gxvZa0iHbbmLuMAMunJxpNBCCM4b/LZ2kh55/ghxRdrCctmgPa3aBdMrNML+/FiMpPDBQQIY0epocatGilJUlF85qDpUSnpewOLjicBoDIcrx2W52bVhlTTr9QftOOcBqGxBytFR2Rz5H/s/30xfsSQNLRGmMBa7AQuLmQQij9KrEoMFIqEienkGuj1jQ0O6nUMOvTUGVk9+VqSxBf5QCj7HwKvsuCYffbzEe6ks49I3y52qZYBiVEvz3wJkfr1bqxyqeMwnqOhILbP7v95uKYFAVeJlDQJmOvTgLDvlauPFzfSMsWlJkkD8nsC9ca6aEB/45OlBcL/V2KDQuDyzjUfD3giYnrQGUVq2SKTuzuRm01ZZcS3ksSI9gpPPhPqEn9HLCy6tPNKNywA90A4E2fyiN6k/iS1cXLtSmWPU8dn9A2Frxxq9Ux7p3Qd/1YHf0npgfA7HT4zyNYNI8Y/9VYpECFYTwOziEY7klsga5WF+QqucSKKmuHR2pjFf3u/0a3gCbS7/fVRcu88WCh2trwcSNgMMp0jVz7f33WYEtFKYYMfefT/g8CjRWFkkYD2i6fWtdZMA9WLmoJtyeylg16GDH7EbhJPEysoGx1OwTf1jRKltQqJBiTWWJtH6j5wSS7d+Qg+LX8gy9829NXH8Vx+OGr6KhWWZr4B8sErIFMRhpwabyYcdtIgusn/RDFn6nsK10NMRRcYmbu7tUo3aA/2Bwv5ndpbWGohu7vboSkX/EhjRjItQRroKn91aSTsKIKWyIA19rtO6vStGTB5AP7gVMXAId8Os4IOybTlCnTXiTnkHCrBwuR+mLSFhXylkaz09kRPIlDUBxpgTXfcbfP9xDsopmh+5sMTPUQLelKz6c8tjyGA8KlR+1DIkRDTGo8osRGeDHui93peZ87XGvHNevW2SB3luZIQuIqOseE8Rr7r/j8DHxRp28t24C+7HRt4tVGPFXCvVeczlwgMleSkDXMo3iJaFpUdoNTNqjHPffbsEmgq/vsg1n3pyBYZcmcGmEQ7BB5abJJA3s98Ob6FXvDDELs3GZk+F64+uU9YiGYJzYwY/o1hrGEKQOU2QzbQAMwJBMXsNDbHi1pudl2sWveJcJ6pvRD3BajoaLQUhluVaLYz7QjzCrOSH33Z6851MqXtXNGznad90/uXGBrdIANvDwx2yzKYYO31hiTJeqy4fkDGdMY168wM8wGQicA8Y1o3c2kFNj3M7pgfEnQeL9T46Gf/SgyB8rUZg+xg/CyXFp82aQJfPFv3wReV/KWz0CgERSmrwbg7dCPJwNfcUb+VCfmtKil+Kuql4bd7omGK0RS/q48TSxq1F96T+YDY+erd+lR9bWVSRSlVGTqxIfbsOPP6J8i/+XFtzkrjAMeFeBeh68tOVkG6r2e20P1s6kqJViFpSHd7GPuMXYndJNdtFG7ShYKp5XAhRhR4oP7Lsn2BXuMnpp7laxUpG4ItxXf4nSl3GOg02gvAYwS+OWUX9eumuXih5TrG3ts/hwXNGgEPt2vv1NqBFApwPN25FDYckgg2WWF/2iwZznmo39Cjs07BLIZix1nMpXooHfDEfNrRFv6HX0QPlkPBYJkwgTpbU1yY0F5pXoyTxITLjye1ovn/BM43qdXduOHqSmZpEryIfkdFamLDbFhvoG8XUShtULpsiTH1ph0OIC9MC8KA8pbY8jE2t9tYniCfQaut5ZnJ2ta5FsOvYNTuSr18ArVPJ99u3zhaNYk5h37kuPZX4KnsxdBiJ9h0Fmt536vp0heRNlJ4GI3puclJmMUHWffYuL4d+oNctsNl2ABEnzA6ne+4XC0HdrqZn7+rExm/M+QBAD58+x/mdRKvPkOFlSI12V4SeX89oOdfKsitHYRHRnSGNjQQPI2rsBJ4MOkMKw5OQEPoiRTyBiCq/DuTrKKMPfv9SqfO2G5x1x4KsX9xy6POzJEVVwyflNOVQXXzPYdbx9QmPZ0rnOn8fidykKDjxflsWqyEaz0YaCyCLWxTr9E4L0YUsECK7So2LFTT0PQ2dMy6ZVgXy+MT98GMiegYzRm37i9mj2wBeDhdDS0RiWWu1Ef+Ol5z4eeUkJ/6iyWn23FoFAQPNWOUwwUbxH+GQVYOm+UFNNtORdmbCaEEPkODTHu4wFSfzryTlAqhLr+3Uo9hPU+L8AB5WpD2J6EjF4o8sWThgsI4b/V8tT76eER9qPd1MHz9Jo6EcfCSK86W9rOEtGO/2u2f3diEjAS2BJp9QWO+l2MK814bSoCtqeIaUwEFsIej58MLJ389chP41u2ahbSs6C50Vr8QqNs5Dcc1JWpGgmhIdGaRJRskJ27MMvFW7/Q18avm/33mhI9PM6bojL63qheykW9zghXrJYamdpogBZgSzwaIShOiZhcue6JCRBpJopkBMOoxFbiiExfDL88Eb3i/pURuNVT8eIssEaOkHWH01kWEDlbBvRdS5oYu/R6fDYGgSY8h4hSOkt3npxOs6OgkdaClVuNbHfk84cm5sdZP4s1ffGdqeXECV2y6UFbNJFCueOhzzdh9v2vGsscnHRKW4UdBaAA6J9zpu1Xx6U9+omqwQQ4UxrOYomWY5zy3z3lnoosuL78glWrWgWlaJMx0YPUbYitQ+bRSsqapFY3sLIKhl+WohRt9bX8YUxem6hrcU8bWprFqdtTn2csvFdVo23zIqc+0fIVomfFbCf7kCxSk036uLyc1rJVVuwHvusomq0jAYiM3VPSSdJeOi+7AmXxlDPuA3NNHNLo118l6OhjV234oNgn+lNN6qk4THudW5Ptw/2XTOXnMRkdp7ZjpiOaGlTq6mDynXwUioxSPkVyLSpPJckmwH7hwmSe+69clZEw4DGvSJLTCiICZHjqfAXHI4R64WVJ+rpjKFEb1SkZhVJKgDSsUZFEYx4RLaAGSuXGWZiNm/y7g+pYKS7QelSanNHzlvEIa+9Nr/iykVWC9TqfPTmJ+HbpsBlxUVOUBeKZfWXl+IMcfU8K9bIs98j2wn/6EHeW+v8GzYOxaxPF52DEbl0RixV96E2k0U9niIw1S9cwnZrxymkPCBr+d2p7+RgVMwRUYjXlI4K3lN+IcDAaaD3PwFHCho0zoMyNB1dp2vpXYqGdKcjJx6/o1AD/yg4xkFRhNY87tCYlWBguaZXptg+QGNK6MvD8MVnX2aH0Coy4l4EPuXDl7i2DT3sSLvZyx2tWXCuZdeS/c869TOz9angz4eLa2AcBUilnijIpIelFAPcpi468Gmy2lTMNdfy18hZROa6Ag2eN8aRZUEuxLhZCon6yuKluyTc/bR4AfKrLh9FJwxvTlSsj2M8JZ9QrAOC+o67+3R8l5onLHRyBapq+qKD+juqAnrWQubSkIK3bf5rnIctqONDgEqrl3n6zDFFtGIWbm6bU9bVsQeq0fopqvHTcDeW0HDriEP8pqDr+KQ5LspAMOuW/rfbvY3W5FSjbuA2zTAcY6SBbyV/oukYpAQ8gO0FlrgYXyGayr/bWfeiZbhdWZxfuOUwhHdcATZmjYF8T7Ay0JK9VDIWGV97SHO/KKU0VHikS5YAnfpO2kzCMpxt9vhXANG//8BRVk0m0bHDZX7Yn2EIjDjuH2eSiEVCgbZiUxgFYfC68lWldPxGH6s7wbZ2ECoM/AYPPgbjKoK8JHFcfVqp2QP7TivhLrWiDYJKXBhqVyrsKjmwI6W/lRNLUCXB7+6DBaWdX37RGQ3u32sXdKqd4gxa37HQbi92ePgAH82K0QTk2RQlo2WBVNdMAaz9N4ljL8S1R6aBlXo9xM52Po87o7d4R8IkBvcgXd2Dw88Ig/N/IRFqBrkpQwVyJINLLKLmQxl/W93EM4CJh1ZQoveh8RNOb+yLCa2X/71dDP3mRglSdbn2lLHkTyrcBlqVbp/IXbymi9U64aihfSWvL9RIOPAnt230ntpalsGJGFosgDyhzn9kaf5iNE7kyFH8KnrQu/9whK7DQofPAGR3OxBqX2EtVaFirrrzUMmFd2RefjQpuG6XNTW1ob0IITV2csPw12sXZGidR9R18TBhYIYvXnOnQ2LyAITqMk1oZZfJU4/nc/+f9TzhRo7L+hdHaWwntRt986Fp10KkGn+MBHnxtNQM+FeiJYiPKmIvy458oPp4x2rTILiwtAOvf+Yb+GGe68ZZQml009UvarGxT9qtdnLGyP+0I3zlqQgRuenG1lS7UjC5paDT12878No5Bij3jtMB/yhKK42sJ41cfapoPxqSpXMINIpKZhaZKgleZk8PGia/ZuPuLiUS0to8gsPlnJvNxS37fjH0uNjtXiTckf9pbx2mSJThXXP8MK/O/uXWti66G6tdOTFDHyw2+bT7nWN0kVZ1GFKCGGzu3eLUFZVzxphqUIVnWqFzvo14X2xcNpRjwulCYa0vZcWayU5bGMewdb1CcfOQwXF89hSKThQX+DM0JdDb26mC2R0Lx1bbb8RglIyB/yk345VANQEEk3Jn54kBfxCS32hzDIX1AWsaeLDaMgMwITLXprrroM1lpPCVqyrha6MgnwCuUPLdM2QBVNj0d7vW2dhTwtBDbRFhzQheQA/7DOAvAj38ABEvmunO01QgU0jBGd27nMb9WQ5f55Xl8T5xT0pCJTilmJsywKB9aELjpCpJEa9y2wVZFhUuBlijPKriMnZXhoHXsbrTH9NljacegUqB/oOXGY4iFxHJbdOp2/kSSojrtdvHQE16tZPehf8WLP9f5UvVjQbBA7Ui+PrA8vXQ8F9LsP+jQkU2Yj8OZnIMXGOOst8FJ8S+ezgJ4mYaScD629Dk7ARAHTZehsQEdAlvPkmPThkitelzopZFZoLd9bwBPvlZ0g+maDqGmEn3xHgnsSbQNPwaRmyS1b8MiMrilPla0jV+AfZyDfDyY5HcZhNP8tMNYrfKF5u3fDHIxmQ0vI5jtYLdozraFx+YI23B0kSyNHCnKIt0xKuF3mWylKqW7QG+tANMJyarjjLyay2quteXNPLa9d8xvQ2pDXs2wktX65sXqxEyeI2GZG4Z1dzEDfZbzrUEFwRKTNmQbpu6gABWr8QG/W9LTOe4vvhD4dG6np1p2LtI0ZNxhaU0v9xmvU+YBka96bSs9sxI8ZvdBqodsjqzuwW2rSIihpLtINg3W0tOsg1xg3UPJt8el+3/QJxKyT8EICVLp9onERx9tGz9KS1PHpKTRmbeuwAjWasI6MTYt+OLMo5kSXfgZUbA0YMzosY0AVewC8oFN/MnjbT+IpwcMmjxUVbEx4HShdNjDTZZ6tKpfahj9fIURDcIzWFKVNJgGEtZ+E6wj5RKBhyYB5PrdlkJV8RN1vYq2RHHpPdt5k2RKR6cdMMd+elO4L8Ye8ssJZ5w7wO6gJO1iESpFtMQZ3C6YopyGey0Zzgmjr8QJud8aoYv8ptAJdxRLpd3fQOXfSwTePDEM7e0L7sz7mpuSx5xd0BMGZuEERVllJII8OzC0yRDSU2rfpr16uBlxgV983ezms7Mc8rqQWGU7arwLf7tpb/ooceS4nvFKodYFwhQ9p8PsOst4iyQnUXBttItOmPltKvP9oeIJcn4/0587cC0iCsIUgQY3xL0/Hvb2jh1cuU3E+a3+9v00t+EsuaNBoK1MwY4otPoixQiEUgDsUOJmQpdcPBT8DKoGLQrD9tQl4AiYQdl9slEIMbPvM3Ft4BsOExR1ckk8el+i+CWw0oeUPG2p3Ez6gHsApSMtodL6JlZszYBOajTI3wd5yCuVpZBAYBBQXJe9LwMPJNDfr8x9JIYbU1+OnQ+zHj4JLS1UP8XQ/Rv+G5r8jZvEv6pmBqXfckbCxbusY1ftwQjRsKNasJDLNNQbgRqZSVgABfF2ZF00Ks/TweLZmwNjEk6JavbJQvnR/AliBt/OvoxQ1LaPlS8urEaJLWwomzRJX2zNvLhtTtiaBGjiYeky4Fko5tEJ/kMw7aLmBGYhVnQNAXeAw6FrFut4CAOsezfE+yXo7TAUpFDNw3QPfthftrq/N9F0GQofalOBEp/tgO1wX7B4/pe1/tyb8b0o0M4gair5TLKdtw0g4BFILuYVLWSveskHkI7tsqPDjzRGEA+QZeWLFoG6y+iDfNF79tjVtsp4PP7A4K/XfnUBcLOJH5eLO4utNCYwDGjxe2d3BCNX7UmMoId4FaEV1ehe+cJCAof6RMpkfSJKIpdRC4jzyNfQk5VYH2t8ysv8+ezOJ0znXx7Nbh6O2ax7Le1cX0zMSqniWWH/fP+/Xjo5yypKCJfxlU2pNnEwfBwzEsAtTCsKU+XxaZdOonbMFwrDcd1xpXp4u41WqubGNetXXU4kwgKDSvaMmh1+5VLJAE04wxWCykRqMUsggUdM5KAvsS5vY99qADfMO87VYofRxRMDizJpWAOOkRW/DIbXvKaFcdna0AeIFsQnCg5EKXd6vcy0E04reD3qDw9ilQxeMJKoksBi7CEc30nupiKHTmgZMS/idJ3mVZ4gCAXbgwrcFw8Ja7K/59ELU9BcvqcJfcvmt67b8myMsEBRH7RkPUp4dZqhoMML4syrVA+OKXk5ZJMPB40nt8wmgscBy+flad2zaQukwGzq2eylNNq3abu327NoM3Ihi2w8znfGt3bc3FmxW9N3tFXKxxUXkwVe9H+9hL1R6tGOTHZOXcoYidXWHR4AlJ4eRGaT+peTEHBLO1lWjuTORcMMvaEadfsPjI2JE4GFZlVog6vBQCDuZ7GweEZejXdKNbmr7ZAC6MHqKyFDs8/f1FUgRkq6FfbuufHvQ2TclGwl3chLQoGnuSAFT9XwBNaXYeUaU/8R21+NXfhcMz2w6LSzPrfPKRk3ayXTVVjAvDWcZuK33rMc2EuR13UL8rWFkMZGfe8V14fvelM+ePWmZ2mUsCvye6fZeY929c+Ie4LmfOnb25EgCMC3ZuiiIs1rqwLveWae68X3UcWC4yub6AYjbqyyN4npfVUOXhhJqdA9TwzoOy8dQWhmp9YVZTrvbPzS1FkFZkgRKtfix44AdwNrkTy6Nm6TSYxkHaqESuE6H9v0cjGdCX1+eiWvXUFhmBdhOCAm8KnIN99gZwkCbZcceBLf6I2yx2PzTQvGCHkfg5IJto3QDfzka3lIKB3RXdF9JwlpVye4ByPTB6OT5tAwQHEdvD5+vbp+VV82wak5nWGLctKV+lbw2w10+uuUvC5u6dCPmhKdsI5mRyrA29WzVEiYhrMNMTEuDjQQ7NArPQ6MgFwz1mzHJjW4x8SI9lI6bZBCaO1Z4ttYdPYfUodp8R9UoxPlNVFctohCVcZ4OJG6rU+L/xj4YYSI1Odw7wtRWI1/90a0VeIcvbBd2+Qfa5sqIxW33sa9BAY4RUGP2EaF59PruSN7+4omNM3oZgh4fkcmntc8iKtosnHXQ3q/CHYGRU0q5McNRC6a/g/2Vbh1okSsUBE9vluZyRpYKKW+cASLGJwk3WpfZ9oAEcGGbx48MQ9w5Ex8c02UcWyl4VBUId05Afvi5wEhB5iN3k/ZpUkUPYUBJxNcZiVph666HW0uJafr3IVNIEI6ZyKkoFtHVhf4Yx+HolMU+4XSgB9pLFe4f8RjorVWo3WH1enlx01I6bxydur5CG9lGcxh+2rTOkoEVzlaBEJl89dYf9f8q/fDoVVbtIVVHnc0LPwjZqaorsHVuYvH6vfsryQPiOJIFSagHLRn42B+d8qGx0s6yqX3q6KR+m90QCI7tDGENZMB/ZUoL3mpthy66tnSvnA0tgSgaNcOOHptGLo5BcPWgMkmxTGIXSILezfpXzc5cojfZ+4eQNteYXVRDCuC/iKxvG4u/4xALUPJZwQlrwAFa4MEaIal30pw6E4CCsi7ssuAY5TfNNuHzUhNnvK9zwQEyWYDcTf1HgzlDE6nWWOM451WkWOcn/A0G2OQJG2RdEPN55+tzjMFo6cV3e5SB2cW98QjU/I8sC2QBVf50/feXDsklKXPPlq+sIrzNnCMh1GztADnfVuqCns/54yWJni2cXMxIFY6EYj8zXnFd988XysnAGkU52UUyHLj0Rl1uQqjpRNpmTu8nkajLvGd5hRKvcQS7LlIPHoLH7OiS9MuvoV35VL6NV83yRNQZMRIQuiSBzkS1+4FZwTU7McDaDnzt8eBrd6oyLe+LmXUob3mpYJPmGlKOonrIJqdL0E/qmVJhUvths52XnZOV6GeoHJog1t6f0DSex5W7c5/dEf/rgoitDYlCOrAV5De6nad1Y8BaEGQBsDXN6m6eDPIESeNHKEBGDqLpxCf6DWjzU9ss08OxqB/8mIm3aotuxF5lDhlGOreDzeauYGQXMxk/Oq+8Yl5Diqd3jWMOhz8M7I/nB/hTnZ2pkeURKpXPLCa453Mv0N83BcSm5VMcBnJDhfBIgW79TAIpTpTcwKFrgDg1K//qWP9yOcE9JMytAmEA0H/HyVTTF5Xtat+POHq9r93vuEPcBV0vGjvkT79VjS9kyKWNSn0GMRA5Wz1Zy6YY0qdBUnmwqR2XFgnqouxS1YkQzTwXBU3gITGnqPj30VHRtM9DkyRWDfCIUTNlU6BDwBZihsh3VvkQUIusn1fNlGN7N54qugZWs+X5khCSBXmq2opUw11r9QArpVOOQuEk4aLuFx6/i/3nbQrgSD50ILLY27z7KLYqmGJ3ohmQl3GyiY8KY0YIqW2PmeEW2QoEHIMwE4zKyHwD+zo5uI9fB/l7270XahZQSvldE55Cpn5xk/MJOhZMzJcC0gv4DUR1/UER+eP48HhWSw+I/xG0OZEWIo44U8Xg7J64x4TrfDkiVD5dmDBrfg1WuOSQg9p6mpQ+ezsnf/bY4v+dwL4Ide0Bfu1dOSc2KwqfKu1iMN6elwPIJHCcSillk8kmpHlJ/yh8n2FUz/aytFZVrt+cA3n+utlkWPrYGD3VBTPGzSmO3JCCOhpGU+DmfJ5fO3hvpGNzTs14K3bvQWU1PenjEdHqzzvYAARQw0r6BPV4mWyWXroJkCTtKp0NJhh9WiSgREc4CHTM39q4D5ihnf9QWYWq8Hr2aMBiuqpUID39b3Fbm0wpopl3IhG4NZh8zIRw4bAwa+EDZ30jGrmKWWmbpkw+LjE1jbFivZD9VQc6sgoeh0OA8JxmoKB9u8QMQvc+DFfCwDKYS8BxHQQ4L+5LFpr9AlH0Hu2Gu5sMfv7Go6fuP7iSEi5Ox7u5Ufei4BpyNU2lyzE4tTL54sQNU3x/pELm2fjQgHJ3/HrrKjLrhILO8BYsnOOp+Dq+wo6cDB+FWeJihCwJ3MaBiJzwE0E0RKn8HruL1RxsOJ2BmnP7urGA+PB2SGmsb5EiaSUXqzFxs+EJvef6ACQaqQ/dYaD9+p0EzDL4/ZFrvKbA2FDtoudmt4Mds2Ru8iCl1RyYQtKXNkAcmi7DPwrxQVtKJcdnPNMCa5N5M+ppoddCpbvaSJFrA1h1diD8I2oBLyUXAquIY2dZLifdqqV/MT4j9064W7bKyC9kHDLCajjcRGKKsgMAfzUgQ9AK4bLTsHODrT3whH3VvsNtkRYY+lcYbZkCBjg0SD9FH0NmZ0humwOOUFXGZalgRSG4ZlVJW2BxkvPaL68LfPB8PeodMg7pzdnNDuJUEwXrDMQmyT+lE4yvev5JxQRyqMoijgJkqrmnmT/7E6EcVbfHConazqk8cTWfIpKUHrlq/NPv5u3hIPbjrCRhFrVUjWFM3faEOeqkWTIaBb+C8pHpft3mYEZTKEogzqGdZvg44yBYyFnySq5vcJIcP7VsDCp4vnrtg4E1kW6IqRkwhLhLPR0lupQjZSG2Wy9Fl4rq7ja1silyWlSYfkyDoEdXf784eViRoIcPbPUNMb+OSic0qxgW/bkn6p14mHQU3d7OwtqTRuphggfAXbfegXwBOlzxK4RFkjnvfJBoIQch0jmmOBlv1sAg5YQYZygPYD21hmehRPQ1SEznM5Iqe8Iwi3gu+kK/LBVMiKpFUOyqNRoHtYHOMKTrZHieMtOKYnUwWSF5eJNkALxH+RLROG+WZyn00wlX5QGhLxOWVOEk0vJTSPLQ35ACLew5uHdJ/Ni+mMRrw4bfYWX4wvJeG+zjc70voyMK9rMFjEEVWjceJ0MtbRJdFqjoQingrME0a/KJ1PHgEj9Vg/kYKGIZv8N9EGfwXvHhiX0KLg/5Lqst3cjq0hQ6+hwuk0ak+BAECe5ezLAXUI95ivBaa1K+W7IoREYywCnoIrKy3N7glqfFnXsnHeFhtx1pA47D8jOKodcpRar5m4M/ewiXO6Eyb3+mxJFjg5m0Eoag6mq3Nffl9kvTYjYC+PT1sGV9iUHLWhxjU0A5t0Zl8MNaMueZ53jMPpBmJgLrDJDUThBxgugJlAlX+/qGpWgX4jXrXAsgkp2qLzNAdNKWj1UMt+vSNNyNXtGfEMM8UZrOIHTAXq5Dc4Cg93wfpDb2dXxXybE/umgWeM6WZzsn+5ja3z2LMIWLUSZg7fjlC7DUmejslTQNfrW4OwRoV7IOoFBManphfiHoIdWGd7QFwrM7THyMwSYI7aa4N4mMpi9fk2By5bGcBnzo6b4R/Ym2XJ22G/54jBw9jYa3Kthnv1c18HznfxDcOrgkJMDiN2ejuO2cbYNFx/VLSE33BhBVu3WO4MEgiUmx0EibBVQ/TMmB/hjhHU8qY7GzT3s7tWphaiujetykvnYg/y9BKGEnHB5Baa1ncuYpU6E76kYucZFFHDZGkhkTLODojh/g8SSAPB0NB4KZTaBh+whD56NtzRghbsteJxNZj1sKmYdtKjvqZAuWeJq9kw52Zs+6Iw1Lr5hExSO/lEMB970/8qC5UXC2zpe8d5/Ss5x6SxSj+7ccA45MyWw2BNNJDqkcLKO+0xQeJ5ZviXHb8aO3Or4C6sqArJmqZthpnnMz4iDTnNMQ0HAgc+5Zur6RlETVcp2af7tZdxDImJbFYsNxcODbjsMGlDnsoaqizjnRM1XPYrBxXx35r7RfEkr4OnYNNQwGlPIR101WlNqpqZ4ufXpfeHIf84paLdGjlnib49dR/Qmv+Dw8VGKTlraMzDTiKLCJ5cOotJwC/CBnOQsTckFZsHAa6nu+V0J3Wr4Tim6cjhqbjnz1gOVeFL4O1czKlKBvQh5rlolrESbk4IFB4BpZ4fDkJzZwFaaSjMr+i2IDOYKVtv5/1s7cxesJVYr7vV8FguQIhCqZAxk34bQDr0wjEClh6V8uRpYe8YBcAElNqlg7MIxFWSZ9C8Spcpvf2+rsaRlaKHMaaolg/ZKJ0uB9X/MUiH+fCj7hDNufZbYzgVQoMhNIXOE8rbD5qiKm8bUnzxJPvo6e6SB/UeqoRNaIG36WgfwS4XC+cF25A+OpCI7cB74sMHAs1MfIB3yGe49L2B6TvIzyUVQGLABsjk47SbnwtwroguExfJ6q7pZTjgAhKoycxL2anpKf6qCRlwo4zqoNByE/fvLZjRs+x2k4j+wqd0ttJ5JqhSEDIa6Mps9r4Ki/u7z/CJ0ShUj6P9rZryD7h+XouQlQpCnG12vgA3myfp63WChb2zQuo5v9ZkvL0pw29r9vcDQBXjqnuiwIGS1iHuwUQWC38iP9Xm/PckMqSZFcaCn8yuGqKZADR58sO4dkjmtL37w8OqPM/1DM36FnLyGEwPJFXDtt5dsOmKpPHKs0CK6EU0nDO7PTNB1x0fJnQlotcOmVPI/2sq1S78THaETIA5M/dVxKqDsJuG/1vzRttOJsak5CNk7VefRDv0pycybhcCytHzcmLWFFWH9k/PHZ660QFq5loqfON1oalBtgg32nqKlCUvMGkXouUmCEP6Zm0DcqrOnzbsl42gP9zulXiSIFacTzw98GCcLGRT9ton8vRYi7LYCvD6zOgvI6mp9/27PP5N00TDRO5rqE9MiTsOYCbgIyBNRikCO1/O+6BRbtuHoKHvTBrstLCUVwd42usNcQwAxO7d4IJc/HnhLT45ZSgtzK8vm4NIwyriwsPttJVo/E/PbkI1ANTIKWEieLQi47vfVK+YR2luGNp0i2adVw7QU2BbHolv9ADF6rYrcSI/tTxY/0TYcHwYw619Ig3j6k31QITSnoviLYYDxOKZlIieAjfAHkOMJAsDGbmek4e7OqYTZFzkZzVLUAknO59LpFm3WHUrz1dHCT16qbh/SAvUXBkxlwYZCCNnhezAJ554b3mOMA3V0TzmUDdef7qncuF5LvDJV4Frjugai4lU23MZsh0vPaExMW5nprmF6qOMTeSwBsNqxZ6NPkwLHc83Qlpjxo9eDKL9+wIQgFv38Uwyf1oQJbOqz5/gYSQ2m4APDdT7RF1ugD4aZBRGgIolikdL5AQXCH50VXqkBwDJ0xgYKO1kMWxyxTHuG9UYvsJERrK+iT2cv31Zt3KcJMRRy+XM4tUl6TChJAQjuDkBDCOPwfM0Tk8yM0YJRWw9qEO45JH/mLzobo2HZDxmSsY2gUux0e0UtwrynCiVf8orCS07b61CuryYJg98Spfwb7PGkb+d/Djjo8jkdZNBXWqr5kurmW4qG173pf5vU6QQzOVc26iVOMWq8JT01ClHQxaYD8aKYmdWAFvxDj/G+oNHOdaULAD9jMviH7zzJ187vbYtoJ+JydDoWgC456EsCJQ7t1N7/9+FFy/Q99let6chDd03O3BG/mRw5VoGUHRsiTbSctwU9qkpx7hrJS6QtEeQcNsnGDXZlwGGGvH575uYMtXcltilGVpgPi17mrxZWCc7qwLr0W39IMZ2QCTPQ0Bs3DWb5V2d1XOoP6uUqfGR6WXu31RSEJ2mCI/AisnS7hjn1MYpru+c2CvGz9on8B53/IkPFeeD9VMleeKmk5gtxH6+0QpgAUBEsfVO3rjNnPKH5LyL9YuCGoGNhUHoNbPLFP16I3a+YwX8k4CbYAzvSoIIvvgxCDyYEiAHBjkLvEhKahvDpQ7LBMMuKOekkUZIBjXrp49mjdJcfapc8c0havQmVPc79irTjPORBg7bf2m8iSFFx8sZAb/+Fp+43o9ViHugJI7uDnD0QOisPqFYl52Mn/O7UXus66pX99pkgg994ve1kGgW2BH5Qf1Bv8hAl4i3s+Z5YNPtvjvWjmAee12A9+G/tleMSHdw6NPbM97lSpyvQccyyNvUGKyJSUOMQm/RBvfxDD1TntHJo9pzrOGdnpemd4sPNl1UQ9i/3C4R1k3muM0mmuiHCco6SSiEEiuFZj0EmjMB/HrNALC27Uybi84fY4+jp98mDatFMphesjceQ2JxL45dIJJszuBBqbMe5UoEQeyWncd1IeV2dGUoj0pNn0QCMUmntz80TxCAVCrfvq9d+cp1vGBnECzM8qR1gpKgHbdT2tNa9DOk1YGix2o+xCP6DzE5lhMAJ5smd39oo3HP1E5EqpyZn9Zy2/Blc1NUiYfovvfsILhOAmMy/bnItnJIc+68LJ97A6F1QFjWLy8hbXtmIC5nKQFHsfRS7ndmIPh/jICSeXI7UKQO4znV5Xa2WetkhjoRn+xnC4fFNLyvM9AQKAVRmL0xnmDASeK4cHRzTlp9gkvYHmbYip6gu0VzDnvECp1r8ywzIiZ0CnAStBJ/mYAYpwXUR2BRhi6kKqqZ6M6iOfRV/w9omJDs7phAikhtBdEWj/Y8Q0+nBRtlwNuZTrQSsYZYNB+cLHA9d2cMsGEY9mJhOSbcCUzKooMDcNjKKPm7NKtgfVuaB6APJlrWODoFxsVl36UpmdLp+RFLPrULSHCZg2YV4wxi+1qHMHLKFh33rgyA+Lpmh4KfR8Qa7ie6dzLI2Hm7NfNzL5ul7W+iUdk9OMooBbVJsojknk1oAgMwHi4YeR8r3RluJ5+kZMjkOBoL23uKnF0i6csdy2zy9Sm8csYvLyx0LUZzPbizEPCBm4LvhXGdynnU/+5g7eKd/Muc9PI5ZVbJTJCj1fGvug5MxjIpFRU3MDdSQxrxqZ8TFoaludVFYoRi3JYLLERK2qpYmaSGgo7P6oTGySWafsLeV9Nt0Wm2R5DB4juSLiP8r0iEDFR6U51slT4RLQqkcVg4GMXAcdCw9dQy7zZXpA3PAANjnZgcfPtbABKYAL5Ckb1++jZ4m8PGXjFHSov7yZg143CtsL/jMy1XSnyo2AEp/cTOYtt1qd7OpEzJd6+OvRdxAoeSOQS/9cmYuxSL8veXGOlKGvZ/wU4J7xMQpsvIJoARmGp7bVeykSFAs6zKmYPn5KSXW7Ns/UXrYUtbOtFsulcV3FmHOBxIA2vw/c1MdeX6yua88CMNKWadIUzqA1D3akOLF/wYgB+7QUu0FbWswEJJd89uM7OOL7745N0uAvMbBkrgrweIfvzTpao7MTwYH5OK2tOWm+Qxf7jd0RrsbPcWY4uWarSsrgAy3gIEeCDa6kHoLWCDwrc5bUha7VrjH+pxMMujiv+H+o6qvL2z8VLX6M9P1niIyGfXHHpEw1jMcHerkkinzdhrT8g/RF6dI1btepcuXMfAwuMhFhzLAeWLilKxZXfdI8Wi9WW9XObNXypThZx0bzTiFVQ40uoseEcQOw2PXPF120nogY3UtLGpL7ph2//Uf0Qrhifo7k5b8ynv2xSspFXlDxJK6eXZgR7g2/wKe+GZIxhIEK8boX+Gs/L3WSx8SaO+6AX15uGNUNG2FVTXEdQWD6WFPlDIvwCdniN1puEpnQ95mw5KUNjbxna2NCDC5MmpKijd0GfYqBk/oNMHYMPmyNSde1BRlzKk4QVH3uEEKGlU8oQEE8HIqU5LUB2/Q5AsZYNUkHMsiDXl1pnhoccEiemZ1tlES4HYX6mTrGG7MQyDvHWvF038vmcn/UW8trZyalyRQtaDLRxJMcA2OgEnAdszIVTnzW8bh7tBQUJS5GusLbp8D0iJhyU/u/xMHqsoKvfGwSeTI+rUzH4q0p3ZMzfDrVcDS7c/SPZPzDqVqdSOPmAGCCORh23He+CQAcMSnMX6XYfJRCNI5cRRXqNcqntCtl8ACmpxPvqurDdVfrFXmE6tkkFSXfOSvY+y6ZrGCL+AqApUhYt8BK+uh8jdGVBPH2ZnJ4j6+FK5nilKAvCRPkK/kEPmGXUUISfEYW43J5y0zlgfiMmnLz+WhcSBf0O0fxezw+gg/k6AZ4LZvztPRCmo1Es7GvXUzXMMcbULwVL8d0EUrxhE/tRS0Ty/LXQycCrDW7BjpxXt14IjipNiczOPzZIe6sgZI7hMVvFH/Qlbgw6k5dpFJPEc4D7Eo5cQGdSBvZaL1qQb9xxM7bj8sNHPKIvi4jtUNyN+f85sPrtmuKA3R1/Zt3X050FUoa7blJZZ+dHDk3c7/kaZXZ5siG46bPpDNtYe70jegsFRpGRg4yihngZ+V44DWnzT5emYH9R5KYToQyqrYcrELMRNktMq30h2cqXpsG7u2wiFsGMwwHXxdMdxaF/LiDXEl/UVIwFQt5x0U72wwj9EncP0H/5Bqut/SE4gO9EhffLsXGpnbf0wNBDUOmiOdJaE+I7Kp70fKTELWuHkxQaoP2pJGFqpqt2FaLvuMbMwD6xQYmuyuy1sqgnpqr4NB7dWUm4S0HUPSiOgo2kO/wp5lBnmdy6tY0vPIEJOcX8SlkwrXVw/JzFclDQSwvoTuEQuW9NG9rHwdfS2+yw3PY6hTlSVFQHvpR+/MVxfdTGwwkbKwEuVeu2yFJgJK+EvMw+34ls2q/KV2YosgESGrXU0PzCs8+GJHLglApKYvivfYA0WDlwSY42AriOMHTcz4mYg93qNFqARu7Y6Y67Swk/qbdEKHjE1YfoGIN/PMWIhk4Ig2TtO33BQejhiOKBxmc5YoVXws1Nkc8+lFP8AbJJIqG+w2JPkdLnjJZmVLJ1O2zjCF2cPwDhU2PwsBfQSvCWnrdYjugotbuBGlGQI8Vghr1pYOibyg1lN1D4YB/rYDx+CNCy9tV6EejKI17GaYSHShte6w9f00nbbXAOgWYHrkT/2PyjRM8goz3jWNVr+hcxaCTlWw0TRrhoeHxhP2FpzejE4K2NAS9sX45Wssu33O/ERW5pQRwaOalAWH/1sFmQPeiw5EV1D2Gq8AIWbVVr2IPDPHhrm7mUTrS+430Xbo2/3+IBn5EABMY/36rwfAtvPM6JGJlujTv5R29qNRusziombBOsMbASsxR6Bi9lYP6TIznbROUiBuEYCE+ZxaGjs1jdEWEDC/tXB3knc3DLUAvHzMtvpFkoZiXqRehXKuxFORuuUBLh9otC9k7boNyczcL60GgfcLzmQRwg2l0VUNqVJeI3C6l2W/RPzjjLrpKvUR8X3aS2Cn2YFswkaX9udZsIsCfiudVP6wqP7y1ptS0ffVdqbI8oA3h4VhNCRG50Saz6DqnJKW7zN/piLX3uPEnbw8ype5dXy24t4H3i5iLhJcQxNRd7I5olU2awCJG441sob7mnuX5GoAdQivPNCTwqrhJ3xOqHXJ96iRIANmoRZgpcWqnzNUeXFsvvZhscQiSlSSzcu67vF6SHUPzpc/8S2/Dp3/2plg/pAn7uqQUSp4SUN75FUN50gcpgc9UEIUIet1zFLg/4tcLf+3Y8El5d0uLK1+YhM9NMAhbiGjwbNsGA8UIOlGqzBDul24K6FVrwmX9RXWw5a7DKYJNcORDMrWlw2fXvpD/A87LeVsXiA5YbxDj6USYXWmeM0vAqmZ/GidYFr6V3lE/HBNn/f1xvmzMYYWQEe8F4J6vCMwgNQCdYf3Qs7fT8sEazFeeUu45wP/jP3uWvOYnA4mtmXoQ2/AmXsdAufi72Wj+Wq9YOsXhRv9KFpkpFyXJlDQUaYaFK5jZXru7PmlVc6dSo7GlyTxo4yFaCuslsF20xh7Ul4c1XhTTKw+fiqWanIrFivmddBClqM2C6DHKhEiOoMwRaPUqMlNXLFykuPMu0WO9bp+8xz2Xnn6CiyXOmAso5ZVM3ztUyMdnVEu0l8HhRAOJo1iXPyjFhKL5blaOvjxZrFT/csI9wOPsFKNNuTvakroha4v1CWGWPRTzz2eX3OfxXOc7nLKZRICtujAF//Ya78nQ8a2qsIRxJ+mymqUS6kv4g2Gzm3t1PWPg0AxfnmGh32Y5EbN8M+l204MYiDWve9acxxBdqWZgVESfwutaUnbg59+tBgL5nA/Z0lDIl+WLQylUd0o2/EYcYra/RKUDkFAMRS/ivpgutnJN63FA7ZNQKsXGGOml2Du2wIEiJ0TDkBw2lLcIoQiizb5BIfTfLQ5GxqVg5EA3x7pb8VjgXFolXMf1f9HcW46mlBZKHmRpz+RHB7mfnwyQjWtv+ba6Oeu8KJPEft0L1NlH3ASO/oCSh917xYQNgwDk/GasnBTQhrCLLrkFPn/tt8uoTruUM08Mta0jXNxx4Df2rV1qxsG93wW89gpHTCZVpYRm3Cu7Y13s6oOCsE64txJjbntekLc0MogD6OjXBrY2xlasK6IlQMwR79bgjMKDZqL46ANHBw6KNaPZc180cfiWf5G2h4MgMAYxb0UjwPFwGd90+2Pj8kZqW1nieLO4ahVLd6MjHCy/oakgwWlAZB1fYliMR7mgE79jFt/50wcs1Sbj0Ep81PSmN6F30YJroRGY02jPHbVtoupIukrPV5Q1VYFifCYeXL3DRlHPLgbY6Q36LZijujcF3j5aeJQGcYEN1ssIctc+oR0ZJpXajmUUhxV7nAFxPW9BxhVIfQgzAY0n2CzFeHMwYTxqflK0ZPqG4pTa9W6n5IHd/SwiD10lDvK8g3mel45Hpy4AhPBZxMhaV+040guBii7A1Ci/l5kC277s6G9misCQTvsZ3UWDBN9k3jrhIVQiZ4ybzcqUuicDYKYM6dUKpBiI5vL7EWsb8J8G7Bae0j7pTit/EIGbpt1K55TpjGnjow97BQGDu5nWa2/DOjWR+fOrV3xs4RvWYURgy4SHPQ2PrtDU4qcDKzPI7oecPdrYztONMvg5Y9zO+HZiJY6mJvCDL7vN4tIPbY5Lr7PtQ/mizDFyqnK41Ro4m2+084eocvD3pTMjqtgY+71LFn278gvMDfWkqhhxJ0QU+54lpqG5mH2JZbCC7WD7cxTnaNJJfF7G8OiAc7HpSf2MUtQsF/r3LI8Ggd/f0t3wd0veKEh1DpdHceQKbf5aoXDRVfU5WLeIenkN3AkObaRwQzdKZbeq88czzL3os1tINZOJ1kbu+09YXkPoMEZVXu1ENsCmjTQ0jARImKJs4Ejbqtm9uNDqbYhB6MtkppIcUZNdp6N+zi5ljxOqIrgR8a6YWiSj3l01AakP6JL+uY6+ibZ9uoJsRidgqxKQiLDUClAza5dpwdTB6uf55JQzstaxCyrUhsKbRP3bmKVRBhun6lK8+R+qkci/zfmjydVB+oK30tzjoYtpt0oWmHiBkmLjGg/W7oHHgIKTm8f+mdMlfCUvo/Zv8CedBbM/eweqSWwEir/ZgMtIQXBxJ3zAgiguhOdd9FqDn/hzHDy/80EI+PECziIPeyoQgjswlEe1Zn0gSWxBIArWXotyAZRzZqtaUKAQiv8kBpASdKOAA7awnyaYou0sacDiBg18AKpJhcG0xf9kqacXNWciDzFAF97l6W+ZIci479STyZUd7pPHJfKZ+zFEpy3n1lryN5nnGmxaLGgVkbYmSUZlkDLugOTpPe3Gg68KLumvyjk1aX5u5m8VmBLqNf9jbpw6cwVozcRyFu1OBlHEhVHT37XkrqWEDW6n1NA42ei5RJQXBLV/YJOWTqDgJNQEcHjS/6oKLfQMfstfVdR45Gt0yw0dov5U2wUWdacxBNsMtFdTxGS8XOxoWwqURCbrByR8qC3o2eWZA1t5SjIwaH6ubWQAldXdepmNMPi41NpF3C2YPogu918VQqjHi7ccvwTsUvaKM48wm4ixUphAKnNhC1GzXwJt7FblLvJWugB2i39PISzBMdXOzvEaoZInlo+5V4HN0d+IHjOP8nUTQDMZBr3ctRU4nLdPT8kDJuTvdeImvhcso4hhBJiZ0MZesbeXLQpJ0OHHwr5onWtZTOvFAyINA3V0+UTwdrLlOQBVfDYsDy5BDngp+raB1+zkSbQ9V1En5krAkWrxgfPgK3F1SkNG27NIHll/f/awtuBP3mZLtDzZLaDgsM6jOb3bV1yXRgLranq/NBRtGCgFvk/hGfZj4KrDT4+1FtB7fld9GdJXuFXwq/bDJiJsehPRHC4Td2HMKqk0S7B5Xh2FNqol7n3dCvCzdplgpJlnTD0MakwHmpiWJpQNHRf2zHOnKHSNLy2O4arw9qCYiQNb7m/ultpB2z+m1Z41pm9LhPnV0FwvSsK+R2E6H7kf84Fc9eByNRyff3H1RAVHnzXai/+6tYrH+x4R6Ke8vGsOntp/OCGGjYxGKCZqtExkvfKfaepBB85coHd4itaTTXwxyiY5Zm4yX6arpfZ9zcb9kDF9i0vFrti2fxGreghI3Le81NzlJsLFub4eUFJheX/B+wWfzKH7/Rg6Sck2JrGcx1wpptaQP6viOqbjqiIfTJciUt9ZdKwMMDL5tQjdiBoT1NT6h11c8/kNdioAb0Ulq01Slzx9ms6qg4wOEKpSAmViyVUC2eWNLqS79pySPi+2ZR7KhDnIA55SGYfvMz8/LuBl0MHgdNqKUOiKMmTid0OrLksx4w21pbNbkYL4KUc8+xRADuRkWXoDuAfsntgC2PDC2DrqZ7/aSUzGyVAHbLjKkkjhjXiLr/mjjnNxoX3y1kSDH1DbwQeQodsWPEDcNyT7iu1GjTQA09pWc49HctE9ltHqgI+KCBE2gstK/whWgDOlqRC1onPzf3y9xslz0WRHoeJ/AfoGb6uGol3bdcR6s/bbS1rx5PMkQfY7/6vAHDQe+TZuh67XxiuaEoDRHI6wXq+gD5FUosN2WmsJIp1ILIJmQmq/PddU8IrmT1Kk/J28erE5WfW7/DsiWkpGuZQbKujIjj2vQoDvplJKDA8yiSliqDCC8xBjxX2sUNMMkwa9Qnyn50+FhqIgdVyooRbzrCVPZ7FRNa8UQR/sEgAPsRFUA4ZsEO0w/5J8x24J/h4Za4MkbB6PkzbaNRx6Ky9cwJHM3b63t/Ms/BPr9n67294EESWxDfqBdmfdk7SfevcxEmdFVNdPnm0EiQCiN7WvW4WvAiCWk7jRVMGE9EtZ+7yxk14kAP6nkpkThnTXX8ZAWGUEVpVu4ADbGTjMBqK9QBhZcF5xAlL+yyi4uSwA6t4ZvpQDNRSr2m9JXHsfDVI7c3eEkTLpvpqOHmvZDJmwa8a9xJ/jlclARmRTqM5Dp43a51jcJE+c11zyTo0HA53lCt5pRhnX/ErJykQBx0Y0Hw3gMjQ/Xy5C+xBof6TcohzPCVcdOLljgiD5Y+qHEFN8O13kduPjsmh1+pO6roOvwQeZewXJ+V6j9LCJ0crwUFNgYQcnyZHsigcDNCBbeZnvz3FCNZDUJjro3UVs8nDKNema3FyZkuCYA+NKdNB1fxxeSk9WlJC12zq/RYnp3ZMRVxtMq+LG93iON2+38XbX5mcDM235wYiRqlUDn8maS5hhUgrbvooa+7JSWqjPMKKBK5s/a9r1d4Sf/2zoDKmz0atvrQVG3RV08GFnQpcDwyKk6purPPKKf2sxAfeYQ3ItFZRC0FdSTTtStAt9VNbd76vCJkqOvmwQ5IF1TrdCkplnnFDx9PvNicIPjPv1AkGbRakL1pJVdvEr5zIrtgknRXfDbwkOagGOVj6lQ2+bh6ueeGSVOH+/wM5+x8n2lQJu7fWqrDUAMP5rK5iWyGHmKu1ZjSkZLL4NPsoK8fO9+4m13XTlq94qtOwKe2HbBv0DINjqsjmX2C0jmAX0iNxOa0htQKTqJdytChLGI6jmKfQABvsseZCar6G1/XvMJkm5OkdkcMsZMdth8UlQblmwE23C4u/Frf8rmBU6Z0Re2sXXmMgI4ssDtTDY21U0fB2sLsb6+N/B0UXSj/VGxxYENmlbS/wz3K2+iSE44xAxoEk/fK3xeIgcrFjSR/x47U8cSZTImwpZNZDKVq3d1VQDgeSyxKqn6+JfqaUtFGL6saNiZmgtjX249R69aydV9cStAFtCr4F8sgS2ulvC/Iu8GJcdm/rO5U//5gYPRStlsGlIqvPeIhdauIcrDEr7dikIDLn0BwNm/0XuzLOaUUJelJAGHxoBOBW+ytZLQmipmhswPUAAcLSCNYXq2P6FPvVw64urJBKLTSf0bcDVFsK6s7MY8Rfw0cztrsB+dIYFJAXacvj+T2btCfl+34+rU6++pRsMaVaZ39LTCtgPLV5qQnhRss0sgakJ2jKfL98qmzgQZt+rfeYfHu+5zTjvydtAphucYQWj5LBRD9H9DtD44CI0gStpzFh1Dp2GJr3vQY2w3ZAxhb+DCaeQPIQeeXUIhqM89lE/bkWPJTa1MtwZkh1xN1mkcJiJ/ArM8TFaYOmSeOBa1dJkFFCTUPqJbRiGMZyxDHr7UTupzxLWMItqrjQ3Nlw/Zq9S7dSdjIoY3GWEnSe8qLMBz/ieTh8xdCeEMyLOOeERZnsobknbqSjaAGwOzP2HMEgpoSd+AzhYu1N83yyqma7yKyPrFrOq1jkNbGTiKl5WgGiiZ/TZ23i+26tCF6c+iBgIHLIpmgNOFieBDOWIM0EVOYaMt6uFYHcaYgCyT41jaXCCMzyOpF68NxZnm18kPPkyC+HxMLvqu5SR3uIQDqfCm3tjsUmYvNqXX//fayhiUFvUHvT9+8pqsjp7bbHsflmLGmqrbqLlAc7ZsVbV8RbxyGtASSBnz3AbZXDjQFmXUvNcCnhj/VTsUOXLFcYKZ75AW7xs5YZiVNANJEyV5E/RZ0JM9La58/lNreeLBzS+xzhkOy1YWX4fnKMWDw1BpKBDw9YPTiRqbLUO0RI4bfEDYF+yP1DomUqQ7xuWZjhSGDQvDIGx4QQ8loOgljCVqCgwfBQ073DpKl9d/+K1OztMGZNsY6Qt2/YSthyp7NxlHBe8OIYvKlbWxPOlD3dhU0J+SCx1zW/gipbEBJD8p3AXG73dTzdcgmBBgvicUWjyg/XuWHscVnK0hAHy4B5pYd5M+wjq1GQvNfNG6qfFU33U8scq4Newq9vm9DoKtHzrTIgNGriydQ1ZSP3vUU/VnRc6zfIADBfmVBrRDcsT59Ag0bZqeJxy+uoZIyNgzYD6QHHNLsNRz/x2W6LEPbg/y45IJUkrmLz2hxh60GpVnWFHKXy0UYxobLhY4Z/jNBsB1Y1BT3fIF0fBF011CLH8gvAywg2/aBf9h1mKYj97LdqLXq5W3Qvlb6thiIw8xxM3rz0vaRQUTViD68A6rcysUBbXAj2JEPL0fglDynQTBWvUsLVZzq9OQmmMcMnN0ZUoZrGJnO5iXRuQI3GbRCdiJL3S/1bSpjcuFuKq8O4LtUXFnNYeIrUwg1c1FfaywcCEH4oxRemXNYdOXawkDcrQ7E1gWkKe1QNSFNrJmr8qz2jGLK3h8JEToInPuQu4VidLSpF5TA71A2z8ubJAFDzc7YNXLOqwedrDQlh3XhQcS0brFYgHdeEtqy6X563U3Cc6qw2DSZ8bupjdM4kmBwHkukSkxqANQz3iRv0CsA5XAtewYi/1/sTAWmvyZxIAegahyspOL6bTYBmGnkqodHMFyKHeM0Nz9stEncuPJo0ERPB1MsYolThjbwycQVtLcG4Hb+j08HpFsxU/Igd5/3cj6L9z3w5A8hxmb2JN+3GN0yTo+uZrsl9Jqdd9w++mmfV8fvk5iHTo3AdNf5DBgafF769hw28nfQdiGak4oF8C3J4qpCDgkrBlMm69uOx+czlfdOIvmIm+8kGW5KGZT6DnQo3qK1W/Yrm00HgceXZsxQD7ZUHseZq3lwCV40w9AUqcQrL/2H2LPxTBxTJcu5GoiAIaG0/97CFhvIr8Qmmc9YBrVyysURznEczwNRCU0OXHquuEaMCZ/rc7rGFatNFxhy4R/go7b07S8w5nYfhMgkcYl+9MglBmw6pWCboelQJ593+9hwekchfnsFLspDuOQuXAdEV45Q/syhlJw2sF5sd1LIt3NwY1IQQIpYofehQsKMzfslsZbr8iUM+aOHx8NaYibXTLgQG9cW98VcCve/PYQ6WUtfeT0Qd5y8/9R/oz03996zkvJFBobYkwKqat1fXzGevVt6x7Iw4n4RbGIJ+a0JABObDMqAm493k17vtbIxULBFd9H6BolsW54SpDMFY/n1hyY07bFSoWOUONWG9WEHjfQhHihlyrv3ODCyb02tj8OdlcbmNlc56hUMWxPc6fRXqzP7K5pEaKYdh6R2KzY2yU/YSBUyEa+fqCYFwQupzhhVP5PzdeNcKa3jk8abn+qyullj0UQHiRWNosV88XLdoDr6l5/g7mdghFI/IiRrvFJvV2tRpBy21bOOgiOt/iulf4vbgRsQ5w52q9fXH9stR3o9TQkfUaUpB/MnxDggb/T5yzkTYgalC6OmYGrIv0txPn73zZQcFLxJ0MEiCuqOgl8HbJr6xO5d3vtdmBjYuT5+6ib930D28xu7mvCueUp7gxmrWOvv4HtCAEyoXKNd4/XtMR2yEs4Z5VV06D2ZxPSSkaKmKrFLzqvwIammh/c2PHA/Y6rPIqzXPgGTLBhcR4kXaAcfckxnLCjYSmAFSL57N4kUt0k+zweIct8lqhm5mcvjVT5F5UYxo0kEq0QPXtdcJqcTVGbowRCXodeVW7t4DpIdt67QiRjUiAWzOjYboiEk9D/s+3FG8JxLGw1F3/uQLMwm8mNhiAd2A0qpSN31OTt/hwa9mMMv64IBBr+t2OFrdv44M0CIFXA/tkX3ieXYxuKm1mh9MWDGq837Pz1vw+hPdf/ZCqavkmFad08EX1R1VyKrH2gVdE7RCxIc/jcWU/ggltza297H+aX93CsEyMq8sTzsNhzSWzL1F4OWRUWIjQs8lV4kUJ0x2ptWTr9jbif7OLLbHFt/JG1qQolsVJBrwW5HJ1BD7EJHPsE7SzvM8kPuUvOyPNfV+QowefzG6792+VgVO4WPR3dY2ONCKA+GLQ2oJT/JtQAVod9WqgRrydJl0woswNBcuMkl5Equ6bvqB7sVQBitQzZaywihYnJ+s5M8PmvcrJdszCOl4ETroKYfQsF2QenPxaw7iRWrMmIG9SlbcBD1eBUa7RQ2BYGpoqE62oNDdqCQ4SyK7lyWcImxSU6+4MQ/CtqkAUzXk7zjEoHKn/SWJJs2B0Zer/x/9qzpeXo+Ty5YkDOscADQmZ0sarJfOguvJPFgSbXO46LVxNK0cD1GWXtM2ZBpIwo+thlk8m8GMna+f5p4fHRnAPx1xWKcu7FjHvvEyEnAcHbCzhgq24ilTiFL+2+do7nJt91vFrEuX/nI+RcOuubcclofSL6ORt8r3RRTpY3IJLJZJAAq/QRsxy1kO3xHLU7Si57VYowQdh+2waG2FcKPtMh/qZKZNHvwkjWlcz8W9nQjyXowHYMi7a8EhoJgkgjx/Gsms9NWNcFbohJs4VJSJzqFdUYEW1kSo1ZmozbFp8243qFv2PuO3pdyPKx8zPFJK80PCSApku5Ee+PPCjZh8+8bXIl9F3wuPmsE5QFVglBjBlOJxwZBj2T3eMYYuBMwnYzJusj2E3K03VVCngG2+SFWmuVJcezymIOeF/F5kIicwCOS9rCJVOo4qRwOLcnpRyESJDDdkIEQd5Oq3W1oAuSRbCJO3CdOPwDPA3um1k8W1xKrFeLN7YtH1Ar4+Cju0yItidnmYI7t6aZrYUOwWBHHxNscDWoAAxOhbCZohDdCkSxgkhTrXd9IOWxhsGsF89H3GUiVxy54z0kgpHJz2WbO+7b5XTEiL586cF/VmxfNp/eDMF1fu0RmT7Md4IhargVGuT0LjtNmHITj8xnmXZNvmrJUxCsejyCN4Z9InPajAZ5p2AciWJn1b3pz0Ub2t7qMWTbbW3gASYNYEkhIOnffBMGhp+GDV1cjwmj/U31pWLHbEgCb94XZ+TYNeRQS2eXUNg65ZgFYEdInQYj/jc7gZk/xqJDZLncIRF8y62U6ZiYiLFQHMshY8yxZtAgOzl7BjHQ/iY6s0M1V/IrkNx8EAgvTAc4qJFIYSOxrS3Cb/ZM8+u1CLJyg35t8fgHKyIrJSEhDMAR1fE6E05uQurc9H5Gj7oTVQiKTkpyttgK0znvnqFjfGNGe6y9h9WNrMug5MUaAToaVVOrEEOBQVd+MlQ8DTCHpIA5GGB8o+M9CdJ8dWFt5i2sHWBjBO3pxeGRa5uM/O7/pfi7/PIdlpuT2ZIKYzebCGok8+o+6OT6NfGMys4zgobH/J8C1riUlNR0mYS9nC9+u1tvOCcZSWXedRaatFjBKbTZ8+5p1Fq2TxUN+D4eTiprm75C0YdhaJZM/lTVx8nUImsoYKlA5IPiAIcMpDVmbKwhCxdHv8YxZwUk2LsZa4iimwhxrY8Pj19+k5i+js4pWFdUKxJz4HBW5gqAUUuHa4q2DOmnTls30k/2EGOco/IafoaB3U2d1m6W7ZZRQpWd4qQ+T+p6JGU4EaVJnU7miw3XpBBrpB93U5SDItEZNxZJBcVjuZrmGU5w0bTifTXZceeGN1PLQqDQHbLqq3Bi5lqNkZGHD6wKXm5quHVy4I5dIuOMti59C4dpxd54C5BLj8L7d2X+C67rxvNztqpJjt8D6Gk9RbaheFl1Buf4mD9WB7dWL7A8HMTWnO85uFRaqYxmt+wgr/Lr38fQfWY6IolemfQF4U6ehEuJmibepbOH21lZdP5uJLBev5fbFTkdHQLgw9gsp0hc8aih5dHLyPo5MMsg58SdQPGUe2J7RfeLwAKM9GFOoDwa29G8LI/v5TghBriKN+esCqJVk6haSZRKAqxHR7Nxt5AfJ6IzSMlAPJjSR8z+rm34qZBFepnVLOSVnndvzczmkfmzh4/GcIdREPt9NdTQGTK+GiuXAwn+sFOKezBXKI/373lK8hriVGDMn5P8RYJ00CE7AOgLM38a4NwLKHA2bHHs/ZKjyXl6hRsSZkx7CEfiN4M+wB8e4Z+lAPhZwLQZtm+otmRGyWDyN4toT/XoBjj9tofaYBSo5V0uR1S1/N7pWLzPeETVtbfn44VYa51DxfJgtFBEHvR7DeaVCVYTMbpzVgPn3TNY0EOGEquwJn08cfWKwl3KzUh54MVuzGcnla2Zz+Jtiu2EBEIcWzo+6dFbDfnEg2SL9T9ALziWn4cWEwUZ6jRI/lGvgAHM7ShKDN8q6AxdFF3m3JZoPC+2aKXuHIydBLCTxAKihFyWdVafTH4HgAxRMlbseci3gHq4/PMZD6z/VJrLOn4amJ2bz3c3ibVFGAWUMdc5MiLdiAoB87oV7ZOHtDOs2j2Hw+CTR/+FswzNzQEQCrogihUDhM7MFL3nSbN2tyUWrCKWLwqfXf5/M6z+idYc8fMY+LctI8luFOOlb0izLUzfBV1km2w6Ct4Z/aLZXuvJC+JHFS9U5opcmLYkwGWzbyFM8et5phS8qY2rF+dLkN4I6dNDBpwSm67GVAhhxfCDUvMTwzoUpmH6h/EvTViCkG+TDhp8tI5OHGGmyRVhZBWEQW/FsjZ9hiOm/8UUR1po8WuTYqBlumIf3accXgM5bSQvt0XiQLhDOtCWk/LPUmuGg5I7+2v3QLGW4FScDY/gwUPyhgOm53Kp3EUAu+Tm6KROrJuTjP9rCLLuq/kHFAOzPJ8tRGiJ5A3eXuv0jogeSvagdnyjqy0TayohOOkPWvYg5juhR+K1jKebf5p66SHzUvvRxt+2BIAuQ+5T+msFq5T+utWRrO1BZpWUcb3WcWH867FGQUuQ75vvb5B5dMUuu9rPDHaRMVsAzZ76TpCpt6XtP/Nc//U5sEu9mmjwLPezOJJ3DD5JJQFJKnvb7nCLpi8DfxPxXNWe3LitHIIuhFKC4d26R8hcANM0Fi5HEd2Uvki+AufUa+rtLlh+F6//WCU1IA7YplDrBiXr5H3TP5lG0yoeLv146VSUCdoyvrxHgO08+UzYHx7UKmU+Yl01xGHINrphk8NbU+XVLZwAqDbzgyyIwl96WXuxc7dwf8YY/PiLZtF4fUphoCxvT20JaMUk0UGnnQgPVvoy/7SO3dPaK1MBGgG5LvLn7Vrz0yFcXi6bqx3rhA9bv7HVa7We4GVP/ddbHhCgvJU2SD9Fh9UWakQOTl8MmJ6gk58eaakpQm8g2jXBVMWQ6scsw5Gg7v3uY0N0dlhAF+riyq0DBkeF4lQm3nh4zZcPyDPg0E/bJxBPQfOZFDuUCX3mJB3YaZ2/pjZHYRMSwJehc38VOvSybUYtuFReoQ/DVbEZ9hNl8K5yeqE2A73hgBuS0mS4Zxj/unPHnv1v4gGsl7Vg0aPujO4x/5U6YxXnSygqP3emL+z8ThfeqGGQKF+5jiKGYyHuZ14yOVL8FK9mrCzGUYoTDQK6SvIkYu1e6JetIRwLJAXC6ooe4DIy5gC+OBGxC4iKIjaTDPy/sKWXG8RV/o2O2VpsMuvx4Bn2kXx+qQ5A2Lg/yb7ow8jgAHp3m68sJlQaddkwS3tywAOoBc2G3DuuCiQc/f3x5EIXzXHrzylxEvv0Ri3FugykDzQAKC0vkbLzfRwZUzC/AZK3s1adswK8M/cbknfcUba5j1V9bZxdSB2KJeLyS06/d2OPDOlz5gKROcTcURGFXo8g85Mi+cIQM62oaSDkppYElvkbu6ZL2THvbg4BvNFOdydWNR7QCS4rOPd/Sl06KD4kLzETFWkEob9FB0J0Bk06Kwd2tH2wN2xQwMo9GKTDhy9V943bL7kzdyU7+lFzqG+YEKWG3FtYh19OT6xwNAgSDGPXpbOISrHlM7OmDwz9qB1tXaW75mZq421YrAnVQycZ/7OHrbPt7rSTptsNML7p3HwrIGj00YV4JrFelquA5dXWocGnhe9UbYSWbyyo/3DoSKeKtaX5OmWjCIDucvhhmxU1BHFC7B3wQ/X1U96gG584qMLYyBVl/VCa5JWyvKcnrcyPBDHJIrJuHfBzPHnCsImqHC490gpvSv2kZV53aCajGABmDsGIggApKrNQswudt0quNNO83pamLJkKLxYCzetqoT3GfPgYmCjvLCjsejUDa2X1tdh1pNk0v80n3XD6pH3M6Q8oO7PSL1g/kCVEBdmoG809BOAgn3xONsv7L/JIZlUsoXo2hWkZqztaRONkkRxqZLEEzW7ZEbHsSj2cZmqTrddat+DQefB92fZ3MaULlPUqZ8vJ+KIxd9oI6VC6yXhHHAptb8Rbvhf22LaVtZy/q6MHSE9isRXvxdnp5DKECL5by1VScfHupx3fPBqY2JXZeK2a/n8JpuKXdEUMS7IYmAq2ksddnXBQdwsyYjAOazP3FU5J8Jhv4+rh37/CEwAEcAeNH4adzfr/nW2CzbeG7SvHGnwwZPN38awM7qx2GU1hqts0GltyvjY1Z1ZvLO3m+BlNZYZCWkh2ZghBn3hBa1u+aaRCYPEUUl68fNOKabR6qFMjR7lAEp/eK8vpaJ+wR0u0iXWTStdlnlWHTZHZXPTd6ojkXaRHgWowSncIHw2IUOJj6Kv07ndYRYkFDK4a1Ehj06ARwFeSX/LUhFecpG/7vmWSSbVdofwtBQvFzXtOjDLijr8bV7qB6wOvUl5M3C/15+sQUQ412ToCMiyj4sgFX7ophrv8hMzbOmz082eqmUF92WseqqQZZZDV8bUG+KiBHmILHswHjm5O6X+FJjlM4VcIHo+ChfZmiEydeHN9bVlFmCNpH1PyeCF7CGYr1tBxyisuFY4aO2ZPGCftG7jfelxTdRQTlKbIYxFVTz6lufXrRUufKSzNOua2rRYSbX3ADwRsto5lHQGIjo2rKLKCOkRYi664N5SvQqVwu5+hHOEtXy5uyYOzgdLP46b7QaH6WTwI2cc/i2qmPJFntCS76DQ4xn5ZgO1IK/YGvG0wCpzfjh1msvItk8+gR+fN5VFCwiUr16QM2ILkty2NWPHqth8hKpk4NWy+ZnpFhVakJHDskbTS4XrReKwSrj6D07MF+9ylJdCFCgW00sbzSGEBVvqy6PuNR2E4DdCoFqJIK4ZD3wC/gHkFNdTkdd7bFx8IocyUr5DEFrD/dG2ZUiZkZq0HGNr5WHv7jTf/TPBLBUOHSWTbYgvMCK+wNlAQqgoIs1Y4KK4naAO0PKOuzxCBdk6EPU0pKF4YxwKajmAivym55pgm+3ZZCiaylU4Q5OfWr2EivLaUsOK8NYLkCj/SW+PjueZ3G53zOyTaW6TLbWVanQoUOmnQsOvbAQ19Q780GIJ8Qawd00Q7jeSmFg7lYy+FBXS7GtT35yuS1WB8s3hCFwEnW/v1+9SAo9EVqmYaSXYCBcDlssWSQNvUvU+8CBH/majZdTMjLt22IEvBQ6A1Hc5UGs7dK4rd1oJk585mHD/VFf7ZoXm2W5ToZd9bxdq68DtPRExmGM1HDqvqoR8Nd1v6Y2sz1/TgBqrvhD86Wn6iZf/0kXXjsGuKL8nUD23na1cdpEdJiE2f8+kPEek3WGdrv41rdpVRnplnCxoWh0RcgqFk6jpIA6i1bTTF8grNyQlMNxfpDhDbtIuuKBrRi14tLOTXI6EVPGGo84wfsMC+yDC1E6gZmJqzlqD7++SWyls0Ivd0c4qNPAcorWidtfy7PLcDk4DLwrz6qBh3VeK3dO/cZOY1d/Dw0jDnHPjiy8/xkqxun4J5yI4I7+4O3Moj4Gpd/NTTcj5FLdkjPa4Hn9T+12IFxrB/TlJMDFQst/eM5r9C/zHEQ2oNFcvL3nQoug1DQdBa2dghOBud7eHmpSQjDJtkS8jJGTIp5rwQRjOInMI3VHQhS1dKnWwbBlDnkPXihegbv9m8Dw3vIuRwzcWOWuXHYLpnl6VVioTq2npr/G41FCKvW4l25XR8KBXOYt6o6WHbEE/9BcFeVcG4H4FXx5AmnA29VFpgJl8XtPsZM2hRY1jjifQVebqXP02ajZjpnzZZyTvg5GGZ3Gs+AH8hglmShkLfcKYU13hPhS4QD2Nb7AVG4zSNuorz2OdBDQ7ip44Y772R/faJFc5tlfVL3/cXCX2f9T6/+FV7TJCO0055nOu1SVjtscArtUVjRg3IumVqRUFGLWp4yFzBaOsXF3EOyb/DbPb1XCtdpupKXmR2HHuPYT0GSog2uNm7fF0ebiVlMDXBHT+jz"/>
  <p:tag name="MEKKOXMLTAGS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BTFPLAYOUTANCHORELEFT" val="True"/>
  <p:tag name="BTFPLAYOUTANCHORERIGHT" val="False"/>
  <p:tag name="BTFPLAYOUTANCHORETOP" val="True"/>
  <p:tag name="BTFPLAYOUTANCHOREBOTTOM" val="False"/>
  <p:tag name="BTFPLAYOUTENABLED" val="0"/>
  <p:tag name="MEKKOXML1" val="4HooU0THZk28POP9trq+pbTvvzd/gcV8t56cq85kb3NDTsUhojRA0EsgEHHMH7oYP1SYpn09ysXVivguJdhTvfyVMsBLTGvcX7WPTor/CmWiWcfk2RmY+GE6Q6T90sFUr0lg9IPP9y8umrse/9AoLT5R0GKq+XM9pr/aTyOTf0wptcuHbHxeyqBm9svU01qeeEM1v0hpSHUgirOnAK/wuuMJRV9/pvQLsiGzewXs/f758nq4c9ePJPnYvlaJVgKXAJq8Te9xTDII6uzkoZJKvwVinwMs4DkdiPWWheJFwsjhjMfB4dmbWPWkzFUxA9OLZlsDZcfB/0vWxNIAZfU+gUrHCnKk5xxrJnHtuusoNc48CMtWjnRKQ6+ZtkNU6nWCvr1GdMy43QcFsmBJmdf3u/k3Dld0moeC8kYD0FNt7lAADEfJCoBdEjBLxEytjeYsEy7iI9S20aaDGDMAwVo/4FJ1TtPMS/c2KJv0ZKm75PA5Vy7Zwrrvy3tPq58xodBXKxX/3JzplIHDbPUR1SGrt95bI2IpKJlQbReIuhLcx9EJy9wSacJMyJC6PcX5uRgjHmCXSp9KlSO+LZQ87lPpf3yQEuj7UNZy2KL8O6KderWl+BpG+NuZX97btAqPaf7LJuj++VZvTtaJu/qqpYxFIIAZa9nD+MezWqUbYni1S9ArqnDyBhd2Dr1ILgT/aAhxO7bQXI7lY774hlCA0SD5EUV7J9wgX+r8tCtZxHRHbTu7pTr7nZ5jcojDahQYurHILMZjvKuqp4ydgQoUFBjacIDoJU6X/ih7QIgLdKMEHQ3hdw0TbTPJwapuoQSPEgarDW9Zp7QRNF/PRwUFYfHqrx6UOSwPH5IrbAvkEbwD+QzfknlL/KFFMLcJBY+O7N7CzqL+vC5/6gyRY9Wp+T+ejQ+TNnxOKDjz6gtaOK15UQwpL7nWbHTWlU7Gvc43ch6wJrHWPlPz9OBdRPs4x2IRkQ2lQwASTQBvSeRXlBAVZTlh1GgoTl6q1MHepY/r5JgxPkUPyISlu+H19sJyT7G8SQH2J6doIuTyTK+JCWRfKFgjfRS9wKJ0XvlGyc8dBJZIa7FB/KPv19br1ykxqBcVjtDq5IHiIEXiz1rZsLDt3ZUyipb+1dgZfhb2AL6J5x0cBNOudA+zgYaRXryQB9odudupa9qOlpIlobMx/3Uo9YvjKY/a3SupxLDxB+E5en2pCcTkKYfP8BsYblP9J7Mn+ExsdridtjCYZno5Ss3rruPWRyw5QvUPv8TU7akIRbNgFr3ILvKUzV+idYCnXCqbVg2kUUL9IrnePMkNN92k6zptEGUJMThCi3K8BuMVme8vw1XMvImUaCg8Ea2ZdtQcHphax5mqOujkcfbKQjvdMICdcwyCXwy+KGUdTcj+yaxHZo6zWqIhBBDNvCQZuGrDv9y/NxT3utVcIsWzzHsIllrPkCJU8RO5uRWAFCX5R2tcfUZtGCvbYX4LB++X+1M3IkUWbt+y3nodWKVTbwtnvuJhKjbJkUSYoMY5jaMACo0nk59bnX706KRgX800/l7iVy7srQbb3YkqAf+YXBQW3PnAgfpqu5R0uK+PfrtiEd6qh9WkO3f4rvgGgFx2rCFRcZph/vb58th74OSNrUMsRKHOmk6sMAmPfMmz2PdxFj11F4v5Zn0N5dhLJ5a4uQX/CxIktqG/v7kbQsFuR6P67kOkzqoHsC8CUJB03nXhyumsopunSUO8xn5KWu1iD/VokQrFe/dBSWmiZUrCV1uTZijcibxxxLVTiWpChNPxugCIjXgBFrkH8mLNISl50FN9aHCybSRBaThjQpR8eUgauWI989DPhehuwW4ujGojR6d1tOn89/Nqorl5uEx1OIVZVaMEqeYkXg+rwKSP31fOo3pi/+pZbBeLLpD/eSa7iSTQOXrEZbnviAEavBAXXubsdgt4Cpw185/EllVCiy60lk0dFhV4v2pC6G5zKWwx+/rvPWTphG9ZJ8sc673I0aNVIst3nJd/lFlDJ8eApytI37ylV2h5yK+K2WuML3qzqNMPYoQyf/qIPHFxs10X3YhdzWfES7rsZl+SxUdZT7k51RXes4wuGkArNgddSZAwDR+lw+i+LYyuU1oGXtuyqUFi4GkVcrfYNL8bkVfotMgreiZSTMNJhWI1HC/Cnm2tsL1YTLayHHt13ddaC5uM25G57oENlW/IlDYz56QKgcKu9KIYzO8PuEeHFarEOXTOMF2hGCSlJsdsXyhDJxZBQNJTh/zLv5AvD/5VP/guQv0qqPeksTl32h9KFJT29zKUkjXePtorIbBGR4SHFaHXkYuQjwecmmCdeFar8dCc6eE2o7+4S/I9vCrxvTnKAtJwSkN8B1bULpHSjCLfT3rppbtjVog2ymdjY06ne2UfYzUHCVOLc+eiTnH2YEn0UAz4kc2dCasi9pE3QFZxvBfOI0MrrcLPgBSdu1LrvvnxtHqYRajKJ2UcI5Eo70bNZbmy90d33XlxEYLzUNSXq9gJpn0xS/nABU3sq+WcK8nqoXd/aP+a+BoCVQeSYcMCs8AhmdIqy8S6OKjpDxbzhUad/xwbN+vzS5y3tiMZagnHfP/s+pgq9H79fsvaqSxRseraxzjt0j7QNpAdihAmKCSfFaahK0LqFts/AOejKDXjvOJn4t7hy9ogpi5CoE/fqx6GB828sQXqKMnSfEOF1Bi9Ha/eHN+p+G9O8R0jT8E0HOWCLRTzIv4oKX7KZtnT5LUahk2xd5+GVFPU3jAJ0VLVkOBdHuRgKfXgxXztedp+N9L21eq/+9AEJ9KbmEJtd3Q9pMkAMNBVfw59orqZ9COmXAnHZpcu2we+EuzSIbRz8gMtzl0yJVlghQDq7ZgiZOWrGeuK4Mmwd7epLEzStJJjfiN3t+wwR/xszKnLHSezIGDHadgzGjA5NC6IaBowP1EDSIQDbL9VHzCGk6KHlI44+3BtXCbhHtkYwU3E8k74BzG0Al/1IocdJPr/Uu0jLafj3tgw5lsgdkciEu7a+UJDX3z7kTEaS5A1GTN3XzWFOZhmXb4mrMLSj4KUNeGXaOUGVriho+x8HPB5U3lM1zSyS6m4Rp2Fq/kZvc2oG/MhRRD5YO5oI/A6cyA1Y7Pp2zmhUPvhtkIqINSSfi1I3ukEaD3y3/eK/RRz8zeqvtSTQVDbjBkccAkBYIFIJmef6KGqvCyfgdt2ImhVV9Va8bI1OhIr+qW1eudZGQ5WD/UdQOXMY7Z4BphkVc69xBEUAwNwYyWEHGg9Qs9K6Jls7tZ3u6rNdS9+1i057zVgC8eueeUusw5STI7R3Lk758DChP8Zyf8lByVbQDzo1l4Ph97OQZeFMqsKsy0A7vjS/+q8G4HwVnS1MexN8prxH44Vb9jnrPjeYRKPi4IPdTgVUV89vrWeyumimeQh7qNiNXapPCezlVkFf9hIXFAwIzBaqowaYn1rA0nVKaq9GX5D3BjPkrNus4TRsHrmPhrg0xuRb5tIIs6PHHjdPbF+FkoT24tgHYqm4orRe6unZCOA4FTzOIvTv7VRRBzHEztlshWvmlULg7Fa+iow5w0FjYwQqiTL7hXtmiDMMRlJs/F1HA2Cm5ebDm5Sw7yArve0vBTejU6GK0aObl84Hdbclr4Uo2xDVyB1OsrjP4FN1O9c0so9Ps5CIlAOEn7We+pJTazBDvPwFSxv1aB0D1MjmolT8sc+U6Zfcv8DPQRqF8Yz8XE677yoCkocNKIqLG5Xv67x0Rov+ck5c7xqowCRHHodooNAXNA+CMWjcoD1AYWib6/65Wavz/OkNvqKK8jlycGRHo4xL4xMZwHv2hPif0S+e6jcwBG5KVk8FqHgHI071oQ/0MNuLUJShtT5rITlGdbyR0O5xnzLetmAx65MlJiH4RC20pbtOS9LSriy3Z4SANbNa4bN+Jbz71p/MTiqox417lEBb25MgE6EO2dmXpglh7P8ak2k/ARzmarPPcOzGgQE3iXAhKE8AnNlLbTBgQIsd4o6cdJ6Dyr0pCSX8zNoU9Nu15CFJ4MuMdqwv5W4ToVyVRghUYEddO9MA0qpfRUqmujBJR1T3YFTnf17AmMEqSPrU4C7M/g/E9o2FsuaJE86dZEABRw1meNoG3yDuMYkClweOUph3GJPrVHhRZ+R+w8ximV3HDEUKCDOd0tDRmqrujdlS6DjtnSl+Dmc5lGBGXg4swhpn0c7L5yyzYIrZo8HG5pe85durGux8/IJOu/IV5mQK2QMhBAWGUWAO/5bWa399mmj31p3qdpSY3lc8EZM5c0jyx8lDpvQlpGq9PhSGNFnzlU6Owf39L5YonYuIH1IqZFHqNXm4/Mys6OBJ/YCVsDK5SjdaTgAnJErzqDwFsUkzIFExDHcWw0PFo+lvhJ6zlkHBIwJjvx20/qQvA0Fm8E2YVrMr6fmgOjBi8x5nZvU7UsI6NM/dow9u8Ww9h+4oe2EyThlCxJCm7b4aOXu6YZXAqhAWXubTXO68Zsh39FVqtaPhQgl89VJit6WgPVKq8fs+vjVPXohdZtdaoBNzKY2tDaCpIlWH0axBzWZV3nGVismd7ZT8t5SNO0jeHDx4LAJs6lYlQXTBQUK6mPc9ThK++4EmSkfPPzpkJTHnCsMcqtEBuhEwZsHlTEdJAw7B+4v1Y8O0QGyOZawrLzW9EcpCb5wrp2a+xMvNK/yJslSOlKLL90ic1sZWZXtJIAzz1HOf7Ek37Ze1uioYgHVdV/qkL2/5z+G6gfd8AMy4JLFBglEjprBHCf0fTNn4MPC7bCF0AYD57N2OmeekNpQetL+N5P5EVqkQ2UuCbDx3eIulY4+yyXKVqWA6ZhA5WGnjXX67PhjPbDztkCJmDcX0iynFpoFta0PynR9C4zQjI5xegZa6x6R4DsnscJW6q/NzN//9vXGTqcVrgG2+ErslRyzkabk6LoO1eO+s0miRvkoCGx8Lx7A5tR+En55Qpn108So+kMJMZp4Po2hdaRUN7EC1Wlpbqp4kucCKeHsZYYPL9xbptosGXgmS8oSm7IkgxUsUbqBCEliLGs5jOI+27cgR3sIfcFphLTYMRq/2jBHqF06FMxP6eBuCaWNKe5M1Nay5AqWf/VY+z45PZaRBHCg2GegB9P7TRpt2M1b9nBNhc5dC7RglvRe6bKbA0+6rt5RbxKKFbRu39EVuVvpuUejEWqu+/P7/zRchy7PiBOKJKZIbxS6CmSAEs65y/Lz0MRgSE38+JbMVTBY58YmYQjPk/zFDZPNkkAIGQPWzUrY2/PVLuRtoadu/LqVJOC4YDPuLuoQ0hOYrOFRq+gp3vEqJcMQdEDgAKzwkHXcre4F6I0WaKus+lMAE/G301vBACRHbj30dk35ItLCFYZyOiVhnnxmreuVUB2/01USMdxlMZYZmC/wWMt2crnOP68L1+cI1a8mYq782XAMhEEGrjZmYYXBBVdvmzwKO5XbltWRURlR27PX+20MyUE78Dcik5IMF0xwTJIsQ/lSLKvOFQ5cIk2rHsvP1URGWD00h+H1+X+0EG6zn2Yww+qQt8BhFF1dwLwzPH/w1VqjLwAI3sU2Pa6sSG7LeS1s6Lo1eNRNSk5bCodabR3JyG+PXcxlnL4AxKpZ4UI/RBz6D79kDmfxnyiTbw87CoQD7uNwcyojouiwhiHBpNYgSn33d6n3ImJv+8nS1nkkWjszrwlIBU8D7rsEYL1U3ZEaAV7DdNrykG1gMNH8E9+mMZRitBl+eKiymaK8bV0N9XzThmOLjX0ALR7UE1NdZzAgkl/1o+JS5revpQHHNgK7k+RYp5ykLgeVahkg/9ioEC39vchho1u7744fQEeGKIsWrGW5gbDUQc6namBGBxSmTIyZB361dwQPeZiIkuVhRd/M/vmpnKrQiqoq1nIaDo2Xbxu2u0J1vOdllH+gxiAkg7YVrNadCp7r0VDMAuBBBWPKDo5SZo2NVEfcGB042Z4wBgZosBce3VNpFweRayt4lbKe7ElYqtoLAYg5FX01SfxqQ/XJWNbbl4xGhcTrVqSx+rTI4W42DGCfV5q9Ebclf2sXnSFuWuAdIwO6aRK4ct0fbxxahMNNo6cWjaxjYgnZ66PUPhPmXOYmmsQjI9Y/Md9TQRICCOVkFj9982jx6f+oqehphIYf/JZskQqKsQ20ojsroGp6A1fmscTCNI4WtZIiRMZcO0A97HRolQijgwjXT09YDsyqk9Oh5W7UKRGMemTu+sG3rgSkgehqG20dmRv6skrVRaOFPiqgKtKyvNhI4PdFOErlSzaMJ0fn/rwNOvtpqDDzNfM7oU1nPdZI9EYGlVXyeUHU/VgMyk+H3HfNc+Rl0cwspCojX8gsVRilSHDSZCMxI/ZNBGEVIWCazz93QF0IcfSHQrFv4ImmKbjSytZUDvGoxOAT+ghCUINdZs1fxARfPAis3U2N6eYyh8DePOh44zpYRny6YFScPLj4FIpyvggfPqaeBpj/aPDsoopf56IqXd9v7oZgQrCdXIlLOnHVTeLLgmQk8zSJTC0hj3XDRDicOL3XaLAA5mqhjeKlL9bdI8Ss19BqkAfeNbvtFa3wO7s+IrvVom4S09EIDL8yvSq6TKnvMuI4+U200/Q4TspLr/uKzlrG1r9hoyIQcBM//dCelZ4IFKg0hkhKilR45EpKBKmc292nCoWXP6GQ5/JcoK61Md7d/DkySKqO5mIhkaEqby6X8UMx+BfZ59yPXAKNeWyQqSERr3Bpj4XR1RnTEa2XH9CZJnzByM6n1oEuWVCsUCkEXgxWHBe5wY3uu8YRse/bCQzyvbBgUX6j7T+p2KRY5qDbk0jAIw3cBdxaWxRLNs7yyed5jXCXD9cMknKbvDON8bDDmNRdiytYg1KUfexxdzAL+SKaXkj5BjB3rmPjRQ5sVdu0XfVFIPQXe42mwu96sUozq/1qJfKEBPvzU6169CEIv5nl4yq13nhtZ099Jauz/WtbeFKAlZP5LetChq2KrleiG84epsJEh8/P1ano3LKI4a4lE6DWv0SV5dX9OKLkpHVjb9ltx2oHxEoi3OLl+JO0kG0Ogefb0KIYSz34fooUXHg/LS8AfzCTy2T+yMNmTNfyNvN8D2mOhTgP/TqHiARcvNE0HvypZFphXmA/j9g3umu97dKZHGr92GROCABm99DjyxowVUof7MOxP22VUEV8dCO0dDWIPz4f9I46BlidIx/29pVe5T3ZRJNqsNJBTkiT6lwDCgKHoZMl22Lnii7TzoBlVsio7+709zNlrzeJwvLSO4nUMoPpKPwgeK5Xj4GBWKPbt+L8nPnrqDdTi219E7nHzgIoNTR2AD4BUETGUf6vVhsyfalUomL1Ut/XzPPh/hxj75yF4OaeT1qfsgi8AIRtraA1KRdg0su9VpKzgdka3neqXN7sxBjYJRtzGkJ8svmYkXdbBKJEgkJq89KuKhnGUuGmKbpqFLo19RoMV+4A1mLr6MFCDEnxSGFvZuL/1hMrfDQd9nBfzD/KWp+oTTE1GimchHDPNQLqTZSTXedORWcJeeLkRKgCfzTq9KOllC6fhXYpsTHMYJ3ZQgrlkeTuAIGtsNN66kXO2Z2/glGxb2XpUvhzrDwAR+1r5AQ0fzbXgD7IwNTdtTfQM7u8vqTDel3vHONduWhX1OWJUO6SisHy0EjwRan4M1Ws/0TEyAofQ4qkvCx6CTTMiqGEaYqVkQQ0EO7v0NbUEKuMLEZcp6KlK0vijuq0gw7UAwvOGjOb7ZIvO/h1PxPlpJzenNQazQmlgVin6xqPFVX4uZbgAeSiXoTO+tnt8Vnv14RO7GB31L8cGKiz3AfpCqvw+f5SvI3NlK9ZEXHWVMI/VJr0n25g7G9gCUU+kR8CQMwQahHV34P+khEjOwjS49o+sZ96pvNf6fLjBDWrQRtE8ildkuyn+rx/1VkHJQqSk7K0pfPqAThYKLsZ3GWdE/Dg6oKH8MpNsihDtUhhoeL90wb/723oO5r6TD5gUIQAni6+Q3Qfj3PEwKLan190zajArlpLGpWWTt5CFOtS5ohVDA60bOYewS8wyUvE2V36KokDzDgBopLsUdNc4oIiYQEmTDd9kHfr5gpjPdGUhOT9lkZEYn+dvpBHF4Pe+wK9Im12OKaJl6RCVUQ5QZaAy4zmyVuVrjGW7z1Qgc5uG9NDzxoUq9/xbNSBXC80cyGKFUig8JtNyHS/JEBGGY+fmi5CFqttdOD6NoLVxUbUDmaGw1+unKkWG34D5vzMqYx63FNgwgzLk41bQpUFzxKTO7SOR0JFrw+pj2c0+9HnRm8l60AXylLJR+j4rENDWhZAHoL8/uRZalZ974oZNIFZ2xxUi+2zPx4Zh81kURIFpH6ZRMAEXTOqffJCG22mzePgLkU2ol6q/1qurNWoeRkLHmQvod4zJpH48Qirc1Fi9c7sB98TQW3IwtbKMS1Dp1PDsro6zNXhBFfappPXAos+GzT8zELiwytQXgFqBQNhoxAbopIldIgB+vPSKuUr3yctqWjrGUbgxX7psFZyepbWOXSSsWV3J9kgmwHqmNsFwwhxh3bUJdhWh38j6jBgAMQ1fcbpO58RnDKQkwh/5U/knmlZyAWGEnHhtWGXsKYpp3JO/PtHmn3o54GCsQ84jkOA1Wmao+McfL4yehfIzurxH4eByDCNsHDqUK2QwZPIXmX7z34yYTvOy2MXXhJ79kiPCLxVFk0oCmOFTjpf/JFpMEo7BIi1d0tHtDqaBk8G98SQwFnVvrdzso14Knbf4PQqjdDVgPSwmr/60XQAQ87coexhJ99aJQUS0y0sS1coUhYXBsCU0KCHtNpyqw7Ktqb3SbY9DGmsREaZ/6J4G2rt7cWRKHWqeD+NY2P3PbyG4lt7fKLZyqIl+EmBwpusIZREAtvr4VXtut/XZ8y6ANSxtsnqhnYN/oGPzfsLHQLOp9ZgcW8QIWvmkft5QuJG94br/bouSbSsm2OgF15+9HInNJKRubwxPZuDJx5y/fCQzK0H2nEhZkcynhCtqDbzxGsrZ5VD5KknDp7lm128Tvo2+GClVXLRiuJMBSATvJI4/6149asBg6ZQ2sdcCQ+Jx/8yz+XDfDUvqGkuwEdi2QvqLwwN1l1wLs2fOyh9rKkQQxRuSFo00aqDDExhKoP/inSMio5K/5XAPGoH95LLb7iAIfgrDdWQ9yvhJH6Pu8FhfPvYWiCSr3ZNeIr2yx8nbYufbQotK54LjVTM1CIzTxzTQk5vNnrXKnCNsfN0/bqs1sWA73meFExuBFqtDfqcil5ldw3fhO8caHGXT4WlkZR9/suuQVSBzwnQ7DhflLCOBAYeCE/C2kGc6h0E/soisGofDPzlszHaCzuo0T+oq5Bc6LaEmOEBtP14EP4mkIjoA8OYCQgxw8Qcn7Ew7Qi21nKgzZhucRNVyAN4JSqblPERB0kbhCs0540ewZvXCAbFS2isNuY+xaUu0rOSuYWBK/l77Ma8J29YHxruDP6W/5Nzb9JQUTOnfpVJHBsvE0uVav4MKt2CB0kfh+nKTFFaXGAvt0OWGirm/HXHtChmB44oSHeA6LIViTGQGRa0xVio/bypExbjQhVDPYfmmGpLMAAQVz7cHK2Z0pS2cikJdTPTmdVws5CVYJrA9cIjlS33HYAhm9s7n1Ywp6NLz8XEfJPMIzbzNbh+MB5SGSCaSZmX+7g7iEip/aXEHreqqYjAK/76Iq+KJ6APMkY3d0UCDspel8F2vjcQMw6eYwvK7C0tIuhqY2+WZxqBYUNdf9T4pObzpQmTHsj3ASkdUWF1eVsomLb0rE11GUbg5tPZ0V79WBmstyqsZG/CGaxqQkpZj+luMjWmoBzkaGnx3cSZ/qOcgUS9FYjyhOYtQA3bxsz5d8v6tT2MYv+cqRc4UB/RbRUxQBrpwBoyz1vY3zybVRrjv3dsz2LngDfQRQYW7pe8wGkcpUJWNVde8hRNO3J434pmcHSCpO31dNCadJ3y0+JkAFWXW557SQGEGREo9uAkqzAdXcooMHMym0yl4DPvpK06BcNMmn6fpCi4D+IkRrIE5tPPm9nO47bEhZhPF335GFwjNOQmUdKGyz8yEhup4L3568PCILfCd1g9JnMX6FMH4HvmNTIrMyqCsZVlacNu2dNUZ41IR46SnMLH0e4h2TKilf93q2Cp3vPIZz6bgFnnniTjPtU5xivjcJhW8U195/onbjTL8SfUIsFY5mTTL4h71RCKSC1fNenpHybKFOgnbmzb99Saa96NFM4T5COIpvMWX9rAwyJFVOXgqw9gx1y79/EtMORJgawspz/dEB0HjZQOlBUhiNqckvvvZ0yDyx/3BzB/movfGW2mTI4MxmPZjfaeWv0iYHfDPSu3h3nBfSxTLrdBnGWXCO5iRZxgHldQUxA9yQcAuPvlbVDLdfIsReKT/EIl7y/dJKl9nn6knKO53Rc5VbiEO58vW8NCb94F9hvKyrZQ9MWOYMMjHR4Xp1vmm9LRWmZxtVRqbPMAx4MtW9q687lPbCqV+OWk39tIq5XSS9Mzu7DLumrOX+guhxwEy9ZE5DCYfKna645b10sXdSXt4lM7OprE/XTU1BP1j8+WT428uekoMzASaW/03GDuhiRZ3ZEpdQ0vA6tTZ6btQCac+1KmDmFvHiTfrJOZc5wUoUNbPRfynfdyqwhiK1BiJV9YTXoG1W1iVja/H6vdkAzEKBV9XsnNW8WCLM3nH/AQAX9RZkSN1DPlkfte+i29UzJkf6hc3z5H7MS/RhWrATpxJ6Cw/xCYEABKGTh+BYp+gT2panEpTasuMYaTt7q94ad/rFXcr81CRTyoXUXD12x7h2tf6LeYc4sCUPUsfqQeouuZao7FAsOwkhrNTfqXHEBLxA7t3vg4mj16V0lEtQjLdHqey6yBPSTCGvIfoAsqynwUKhN0zoY5mzih92xVvBZjS/Gmqguqb39Rz3A1BPV5840gSSiEREZmMBH2PkWS7Pw4wypRKFLcqXdUZhKNb7/YPk77VufZUeSH3ZQOuE9OBhdUY3aMW2A2AMxj30AXms4A+2vqQNJ1uZWUUTLbMyo06H4mJFhkCCryS9XYXSg0/aOTXOpdVCc+Q4+RDaAzPToPKP8Om6zCFFQmITe5oT9vdo3H+i5pOvjavWGDSdElPE04z0qTSG9aIcJUyQGRKhO+Sf80KWWQdVaJRj3vbhFdbSVKjuxeJWsCLDMb6QMbFI62YrWNQLRlcAViwEZ1UdAaOIEYsq8u09or62le4JzENVGXSU7sBLSYYpO3TpmUqFXYczbClVmcxQhAq/+aUvVFRz9nSP5Fewmpc6yJywY8Ao1FRQ1s/h0CF5vv47Fkub86siGqhCjEfX1e7vdw+EH2MkAjnQEWUBiiUMltVNC3DH6DXQXvXXIvJWuSE34FuwSDKU2xyrfcqFgkZI7DL3BokhuUlau73aZdKJO237ZZ9td/y1dFRTp8kH2H90mGn/XxuvL5Wgny6NLVIhFionTAj4jKr4Aw17Hl5UpWNLoJZExIPprp/tWYx+Et5ysKC0rA/CLuvPakpLNBMvSZRQYcz/ulRlg2QD770CMency8aP+LWwlIbz18AyU/79SgMGLYubzzQWCIRedxOqAHFagrnwcM0KcsocpGTGHjKyGgxQO7ngTGRIrNnL71IgpBJclVkPJpgmpNdjTxIwHrlBeISf5sWEd/a+wI03d7sZ5LbrdFpWHqre5vvuKeF6+wcX4hH1yS1tWRXDRmc+DFQ9NoU9JceHUNXQlO31Dyb3wU54XXEt4asdv4zka1pTp9RTt2kiUlap04rJwo1dE+M6LQaW0v9NUcNZzuJYLxIqd0wJdCQkWGiAhBSTLXTa7SZ9qhUwEAY5EKRUvhJ0IMToyPdVVrS/FmOA8g0oGRkvSB+lNwhQ6/UUgnWSbpgbhVy2Op7w+jVOrvwV85ZSCqdywcdhez2kEbuXzYxb1BR/wu2nKOBEi/g+aF8kFeAGJDeN1B9OWKifK5sq6mQ18SQm6yznv4IfyEmqIjV3cmtKzqGgkZs09zwrGwUUUKTtZwpnh611pXw74joKCVXeFef373f3GD3f/GqqrzqcMJ0bOE+BkgZxKT5ZFqgyH9aZ3lriYumSTT0Xc1uk3tzI4ucmUJ3+k7C3dbWLYenLzADp0xEpaEBaCU66TWaMCT6emW1KaSZsynZ3v/efGqHJjQiQelarw9ZriNCwtEsL3fJmat96bl+zCR8UUlp4JK3QnE0la2t5j8VWC756BAiTSU1omnwfDNdErU+gucS12gkWyW1AYTenSqLIblO261+TmAuvW55AAPMBsXTU4tRaUSPYlZfkPRFMJkZpn1GezbqJmJJ9WhZqJYC2W65CD/YzEcH0bkBjpESwcFGEkEUw9mOO1v2wH9Ap1s23B7vae5eK46tsRWvC8geYkDgZeQAXLKaqD0VkDiStD+ktAtsGz50sPlZ/AqJt+S1A8hxXT616b6UrgYmMGbi491j5rLH3xYdhruGf8LZSxpLyE4tPzjNts1heHOeVaIwoQ4vHv/IS7y3j0RrhvnQX5p6Szlg4sBnJZ8a2QKk1QjFIqQsg1hoHKjdj1/00blDq+ULWvRCy1HSmYmhPdQBQBjfaI7S7RsRcVuMPHVKZci5UFlil9/9Mv4ib2AYCQYxLe6BCU3Yz4EB3FKqhiaOYsZfm7BiP9u3wx8NiyE3v1uXGX8eIKhGnhhO/EN899N9Srfq4e6cCtL/id2ETDaVx7m+0PIXurb43e90lWdxLQuZ5hDme317FOT654TuwtOrs+Zjf/o7n7eBYI0fzsqQ4INALyACAr2ARZiCOvNDTc5Aferh/ytBJD/fIVutiqLJ4jN0WBF4eyFoS6bRhCXdPeqNmXYV/6T2pV+AgTKKqlynmeEyPmAguw/VBnCvrxn0mBZXYgtVT2UxIZ3nIgmSaT+C5mE96LGGoSdpyAF2hTgUXBCunWfXWDOayU+9bVaX0GlYo9xS64bsi9cLD36rxB1qlDKV5pwwfSyuDIzlAobHzrhU8g2gN/NzZI5Dh6M8T2tCEtuoabjg0LLAWwNL5Q+QQPNEepcKN2it+pv+3KwF2tLjmzCpv6/klqj2PViIgYKMsSJZOkAQVm7EOJoNQgewRmpEafGJy8MXJbpZ3pGrj9T4F6G+AeTSuCUEIyOebt/vHv89Bc8j5bs9SX8vtaRf+hwCcLW+ihkhc2+uX8w9pvSlEUMU+W2c34vVru2RNgZ8/jjb+vJYmTt2xSGzJrz4h2PgBExQfPsHJUwSFn6Dsh24iNvJ0+CeAQ+Lid0jAfCqL5uWMqxDVWcoBcMfdfQJr9Jaj4FjKZFVKLCDywMhCT/7DFRqKlOz4f8OSGv7Qbociop8qHZwNR6674XzYRrpdIRcaFsovYNcDTIKd1E0/qtLcBgU83o7UyK5LqNAjaUSrHJZDeUIIj4x/iwz0XrtgIJkyAXZbhzt/iKmFDgsu20ZsgHCFSG073NK1vnc9umhBSFMssn0OSIEyDL4yAO73Jn+a27J2UB1cI1bH4GeKgRCs4eNnsxTZJIztmUVwlZgbriUSWRMN1ctTaKgCwzHhSrnLBLA1RZBfa+cieMe816XzRybMKC6uBAgGYspSxPNvy5+d5dwLHkAqMpNN7/WraEN50r9YV8ROR/gYXPk9Y6Sym/X6Z7TiVhqwjAICvlnjGquIopT6euhUM5Zb7fQiHXM8ZlRqIP51N3LbW8JxEUrpSiPfaXw34XC/W046C77ZXZ5hi44V32hynWHdrui6K92KH98RkqxUzJ76x6/4bmAW0p0dpHjoIo3uY/uwXzO/x41g70/OJFNFoyaP3/fKbdZoeC5z+fVXLNmIa9QQCTjdAWb1MAUqovvPFZe/OBzqU5gYhS91o2Avd1DAdYlty6hYtMEG+OIuVTQDraRqCphjdS2Y/sse3EMtPjeXSmsy9uqIkWsDnk0GOlXQeJ9aZpQa0l3ZoM/I5LOYkdGpXL67xMw+hZHTaBHtZET4yjPYNqU6cQ9zr4rlc6aMXuVfBlhqGjai065sSEFADt5S1rUn9bSDj0Gc4OLBsGb+jfVQB2fogvuf4QlfYPcu/uSMo0X/TntcuUZRTopTyMoc65258m2ADeeLf1qKZqQIxEBedYijWX8odNeZY4VeVNVRDOE3BFxhf/8XtRreHQaqoxhaJf6178dnOl+jCzN+gZoX3bbBUDyb1bxzOoHGS8uk79XCqVByycZBb7yRqK3l/blqZZKcr5z0ndGAGKYTf8hGRHJYIEQdPQJ6jeiQ1NasC8Pw1NOfEBoWrLAYBFLpX9qAzFpu9oW7mx0O/3foIfBlRWoGJ/H07Y3y8G4VaSRX1FNEhaCPeGkv+mnSJUqid4tr+biilVxgz1ubn0moU82zl6XgvBubpprQw3K5lv23XPGmrr4VK9+f29y5cMSSzNFJrQYo1D/UdB77gW1CK9pvfwS0HYZnVBmmHLPnG/+EJoRqB9kp33zooscg6z7kFIKd+4vADtM072brexx5EEwaPmjn2c2eagip23C3COR4YIOMTQ/91sI158LdXuKnAAyq/vpSRaqZKJcY3OsQOekcybwPjbYRkLvqWEU3tQvNatwNpE52BLX9yXBsiW7lkBHV80vkQcyw+tu3OWX0I7LkjKEyrLggXXXdXKEBQYOwR+FfjZR4fW2c4nU+p76+Mvn5LdWdK4RuPGs42ww6DC5fDrH4spLvdCzFUDgi0hRS2cHh1yauroh8hyy7eSm0RoQTVqYfOiNN8nFNlbIWJSAlC4EK6RDWiWR9/chWt2JZQU9wrsIz8YwHkaNgsuS06hygc3h/rdEZH0jJVacu78c/dzpydYPrSdgBME8dywfZJNLHoybTV+KHqSpxXvA0VUF0Mfa6h+uhiGG5/KErxetGyoAK2UjEwy7Us3hY5acMB8+843JUnnNxSN1HA5uGT7upXCeg7EYBl7N2nci7qO2+PbT9AfYQ1qIWYJTPmJttZrJBetPfhiz1nT4BttX/MKwq0gisgp9I+1ogYTxGCPR2Xk4NF2Z0KaHtfN86PeAthnvHeJoT3G31nfjBH8czynKg/Lcec/vh8LsFv6TXbb7OR7mOHFjYmFaBdbmad9eI94p7PHViLySP7qDQnewvASs7zZmMTloadSfClk7lXQnWdsXBWEGk6ras6K40Plg3QAZzvGL4PQAEehW7g1BOkzd7kLS8X2P+pqaHCC1tJgm+teqT/3FzZntnDsifMFHMSbQ6DtzOzEF66Dh3qB1rMmDJ52Nvxn4oP1XWwNIfNjIc7Qg8X0cKbUlH9/vVZ294nORIaOFQUx16q+CmWYjLqdIoQmr/AJ33uo17dnpjNG++4IFPXA8rweoKWPdVIJAq0N1GcYiw00UnkvrmB/COlFkQi1vTfRwNx0v0m6wu/djZM593wP63s9Dtwg2qFe11/WFOC/PaM7+asdQvV8MJzcLAWePfnykt92daWh4cTSOrSrXyP48IOQIQtl2NlydySSJFl7+Soo1pBMp9ZxgwtwVTdfkE4ab3CK2a5p/WNCXaauhF2s1npOyUl6Z8KjyNzmlbWBqQUvlXCJZs9sQqkodCHJPMIUUR/74+WWoMuJXtsL7h0mEU3+sGnVkAY70G/1+I8gjlP0xPPo4fTpU3AykyX5XJk7Yu6L0LETIF1qvBYAA0KIxyr900I4FTgHbJKbjiW3EclhuxN6FVPqhm01igSB2LnetqFtGE+GQGHsai9tsmnpLs+rBNXBuQRoEuvJhyJrcahGCctQO6IkPBxFGgtU6faONCxrY1ttHo/IuWXp87wH7x8lz3qjGKc+4SRAXRkghB6yeKuUc+NN4yN+9EkiXwmvJX5wFbOJLU4nQsnfyIYWNP3HXwuFBpKb6r39KzjuWyONIrvLuVlNlbWJwVvvI5+OT4Qz/l+LUD7wIqv6S4Chz1MxDYPZ0wBPoBFYwLkOyyMkGUvvar78oVRu8BRRKI/1t9AN+ssj60jwGuh5a6Dt6C6NlQBpJceK/Qs3d1JTA2B99Uoxj6yMUJkOpywoggC/nxWnnacbKQLaSH0i6fiwg9IdvKdv95uYuMbGrKMe9ACr2NoEw3678tUyLTxoKv0GkpJBbwQW9kfg13pyck72c0LbcKI08t3KLVn7IxWyvkKA5Kt6Kem5qX4srhwWjDeuKHz5ccWJRzgHSQgKctpFl1rggDdeiiJ0bOr77SAA0jcwTmrH2+FiQodCHtJk7XDBhxEKiYhnbUMlL3LVBXRHzIFf1SRs4CE7wCLRfAo3bY9tfQzWxiOxoGoHNWuI4hBu8SczIOzzzX4Y7TI3tWC2l8gMVnMpcdc2Kj6bu8p+jxrp7iU+5q6oe/Js/Ct0NC3kh0u3FBNu5LwlTnd/Skw+2hhFbc7+subQGIEOUyEf6A0t1Uo3hFudA6sdSM5pc9ZPWlVz5t1dYfaERu1C1kVSD5RrswQssQOjTfr26cPxk8tnIoqxq133GvIVC+ggATVSctH+Q/Cy6MYS/dhHPUjRXBZChyjHLIOyMhTb7TWQjF9XDroaNU1MMcbns/fTxFdVo0cT5oOx+KBweZGGpHXfBpOuiryoeMe502lJH4P8eqooTKBIV0Bp1wlaf/AOAQr7My/kNPXCV3s5Sf0gUIdLaLd6xXhRnGuXjO2hztTCq32IZCTNQChOuddST4EAcIiQTukKggHt8WNzhXsv1GyF07lDqaB217fuUjR9S/vbHsi0nfY0PisT1LY5O2fKFQDsua5Et/Sqex6/Z0ftsZdIh0iYOvd6YVFF3t58AJp5vQHtvjlW2wLadmKX2XUOeGLJBYV1C3aWMOtZ2aiuUqyroJcRuXEXl8ZI/UyrfWq/qKgEnUNVZiWQf/hmYyjLs5LxScSsiu2xQ7xt0fUg47nDx+s67zKo4msOIrz77MN+YYCNzDlbkf4DmfIPRsS2Hv3Ze4vjaclfLUROB3pfeigot39kUor/mvlVnvStu2W8X1OaPpIMOpeCMP31opt0q6+xQCFt7Cnk/uht8PABuY+oDExKR6UQxc/CGu9pLQ2j33ou5L8kFuFa0dh5C4uNgF/wPZj6s68KU4GRLGZh37S8T1qnTH/6dC9KBam1iFxkrPdK9Zatlul1AGMQtor9OsA927vMkO+5i17Ava5wB+r5kaX4/4ZoSR4aDoA/1/KirokwjzDqm2N7Vnktw0yLRq+EQe+e8ZtPcKJ3K3C2OiwY20XODhnRkH3fsfm5RAtiXXtq5szhd7VGJLDBetSHeXs3yteSA/xjLlUwUs3xt9m5OSpyFd4JHN8rXe9fGBV2mUpcW5vkgS0yOLiyOgAGLfcBCXXZTNJC4rUoWetzbxX1CtjsMzvQg5KEc9aYO5xLfOpdBpbGQ621YRo1aOsLzjbCwbj620yIvQpqmDh/h0P0gntiFCurT7lZzOEHcPstBn+tp+oMsWaRGpaHetlWN2GX99jkYEPeaOTDZIbN6MTidmNK00L6SuIaymZEWyoM9+yMVftZ6hD7bDd0TCBAavzDbji3u8becp8Zxs9pNsecWPHkQGPA6+HsHr0q6YAF51e27o4R0pIfBcFRDJYVLL+78pttaJwPsB/EiQIgt/T/vt5PGl2r6VRh8SeLmM22edt+H9NzIjy+rgr5CFiFHwWcc5GJsZgCtLv4IkC8EJwL5SYhKc7iut9sQkXAfhOh/OHerI02J/D1lXtGd7cNZo58V9916j0Y5CVnsr56LPVeU+Tt7sB95So/XMgp3paZ28BGPJ4tbVexCBFZGIofip+wKdDRBL6/LC4aIXwl/+SMg4bk0D5Lmvi0gVIw77aV8gDQzCF+yCTfdn6VDqqbt2+Zw131Y5dbV9JtomnN2KheY3aekH0nsiz0OK3CPA5QI9fp7y6YOT+GLiZDeZ5wFgyu/kXek7qiQ852P2HCO1hnq93X2jblxBxgjb2vL/0XFxyIC5+ngEHixAZcfvM/bSaGdDckMHTBVNYLZhkxurlHY1t+NCZzBbOfsRM0wGqJVoxzYw8VrvvZA1oWEeBus46vCpnfbpKhPcW1m8p6YDoSfzmH09swervvur3oyJ2uOiXis3zJgFdgz/Qk63hzlsX9z4pbtYL4V+5zOZme5ZaW2w25Fv29hzVyOCRu+U5xvFmlpasPWTmfvFtMDZKYTc0ygg+oj/2mfK5DOZUdadIKxYxKg/kFU146oxxPA8ZQP8pGw8e5F4Fwh7gXZwS8g7/hQCAVFmn8Egxbp1RI+7ryZCppCmCg2/c9j6gPFNw9+3Q7NP/Xr/aRdL3p3wAFVMfuM/jExUkHPzoJGmhpYuGR4IWcBX7JNzOqOTbd9UGOWZKqgCHjoObNa0qH7R2iyIVPLWVUzXWPmY9j0rPC5aN3ELTUPNHmusOjC6m1HQ9xdng1CC9AsI/YF981jvkVC7pPL6LVur3aJIyQTCeal0sgWX3YSTtVWDEzUiYUj2lD+N/JW1BVE66f80B8Wj+2gygb15arwOpvisfTDHnvAolNNJURRoBhl1Nha9920u0DZUMp1ODO9f8s3CoGyAJw+uVyM58NKIZ5pkLv0ILLKideb8cOekcYKoUJPjXcZ4cM2L/HvJbRh2FQz4HGnueAPXEI3yqxWht79UyvIH/y1Z6L90wNn784JyQ+dzCbEB/NXslm8caVjaPJJeqIxCQ2wfdZV9aGG+XMwS+lNl9ZNp9spmtSunCUNJom9ZCUOSWqBkT6RGklF5x5ZZxVIftraPhC94ryOxLS4A1AhAuWfrlATqTcbSKG7YkVzQBEsWwLie6F1iNoLWD4VqzU8i1LJn0YrfJNlgCpG90bBVSTVjybaIFXvNKQwF3jUOTslZdn8BLJ4hYPKwfJJ5oRIpOvhFfHggzlbRm4vIyJ7PqsWB6xQpO8iGOe4ajqBBtqrDLvbe+pAjJyCCH4qJ6wtdLHR8XqUy17GLQRVHEUVnbQHCCqvRcJ2zA8Qyw91PfgWcCcPrNUwYo9HSUdxaMqHRvDQLhEOW/tlwFAF5DZhWLQ2VQwxPcKW9d8zq3PArEkkmXWx+DRHRRnbEhPTN8FZyxcnNK0N/skiV40miz+P0BwmmIuIKgghElAqL8zUuGgXRBKoLnHS2p8HkK3GbhWiiHQkafyR6iX/pJlvMZJjfNsStkvsKk5kPuN+lZylaCI/d0IsJd9MzpZyu/yMnfXmhzXNHj7wHfdQMsU92GMXir26tbgPU5iR5WQKENfimfwyIqG+wMulF84szOvwDatMG/2QzOgDTtmZMvtk6OOB+8tJZ7slG8PXVMm79F870I8Wy8B8BLZJH13FWANETSE/0MhBvdqKctsAldi0cgF0WabszsUtMqPC8DL+vzWvT2UvhF+hTGHX21L/SJPYArolMF5cdh8aV/4eN76AFSPrzvQdK6JL1l9Wd7YvQRXjQbJZp6gOkB92NHTDRHh6weFEWDGP2ax8AObF4XkMXD+J9vk03pkJd3UAiITYOP/6E0zqQAT4/7zP61G6/tvymMEp44asb3vNuvauhzW3Nfx5xr4+MK77SvbIlwMCqL8oEzOU6+BLILVN1mvNDJH6dDkrhcpdCJ85yRMjfJw9w8q0JHx8PTF/SbhLaPVZnQXQrfVs6QYB5hTRZtAhZ2I8TYAaz61WAzSIIJgHfAYNWVwoDS9rFcc69A3Es+nFmwMFq7p0wY3ftCrGzdLfcDf5ZsuuSxx+kFyrvtpxDP8o/HrLdjFnn7bFutNoeJA16CTk4H/P5tQLqpN95LstuBUzHEe5VlExQk+cyOhBT3JROc8WGLHylz+oMy4alLcoEWBKzPQHCT6kbtzOGZq3iEnBnwEzAppLSJmcc8FOsjtLQGt+e8b1Jh5GALf73t7lwNbRnf8gCHOE3oreT9v/E5k6NMJVDnMXDq+j5QprrwrjpPlCuRVmtcQKb0W3YP3sKGjLmZ0o1GmzVUskT0jaq6Yy22XL+RPhPlT4ZpbkFbRoB6X2pwpcSis/xXlqLN6kUBBmU2WcWzGXQ+Ij3Cf98C0puwf5wLntoNlgSprE8SH19no3iByDmCgA20EKOpaSBt3XddUtYNFhEQz5QncYEfxeRwA5r34MR4jORkb00u4A+rfBkNnw27+VVZjhkhgfYLvTQXRR28SUxJ9uWqcV4HnXXMeage6+o7xSH/Ts5zg70+lpZRLFRGKS9YoVw1RbGStgxOMQFQvLI8xD/bDo3lvTImLh6/OfWQdFBponnfUeWghwte0YnmKnxV6Pf3xbK+fycYwLVFHspGff0eSX9PSPY9eqZ0aN1spRJxooPZ1SN9ev2kiIdEBkpexHOMx+lJXk9JmOqCFPnuDUqjSoH+GCkOz3c5YnXioABa4AP8QmqE9gj3mM4IuY4IV8dA7Qu046U2kyryir95cdWZK3JAzvH3+3NJ5PKXHqnxgTcNKkMIrION2e1LOmkQwHpxDJav8AMX1V54KH3My91Br/NaWZXtN4FcUo9BC6h6N71SOt0NwYUICjpJHQeoUTFH3l5roLSPpDinyCNRiCe2IyjOAZtmTQK9U4eLp3suDXiKGVoSYg2i794SCCzP2Mgm8dZIj7RL8i1RKXn8O0KFJG8FpsfEFs/nZ8w9HQCItAhD78P8fqXHrYJId1OF2vJHUbvUKpSKm03woe9cCz0lpRJmorZ8f5c44X8HMukn+uWH2QoWMIRD3fiQ1U4TtEc6Xb1gynfCxpVEk4w+6te4vgjnhCYHFJ0/22muGSKKfHdCeJ3l/cDOkcnU/UtFvkj8oGROjXdRjrIwTVbYTfKAqIkYGiPUYslx7FGWDx9gqhrjG7qgSQbcTGojDe30pmH/DZ7YBLp9dMxFCguuIWwpJNhD5iH4xn3cnnUd4yQiKaFf+++FpwoTJR5oJk0X4K7yjH+ca4L/MIzhFup0snVqbiqYM6f7dW2KzTyJ/TP1QjjmcrmlD/T738nOBSBIXzIMEcsMOSnmG43/WegSlic20P0weIw/t9cPCmhtKePvS95T5ff8OpdpztFyuPz9rVYzlaC0DEKBpHmtwMHGW7oI5j/jG2EEKgrJf+yZhEJILYnAE+B9xNp4lOpkuXbu/3I0aWJ2cTbGHJhla2Nk2OjDJnS/SY0uLydgz6QZvO5fmih0WxD91PG8rHQXfRXiK9/ooJ87soJk24wH/SK9sGjbNg9/DjEBYSzz/4MRxnjC5njpn0ht31iCT7vQkgsTH6sxzCt2G/AOr+itu3NvTN+KOyrrgvXAsQ49Ue8cDtyDXBfGgRidpkSJRjyIZJyYWNkwWFLCTWskrHhDP7ZWB4YVHsD3Ad7wWRC5/u5J0cACZtiT+X+yFSsyJ7/DhJOaLGQ+21iei9Px4RnY1ouy71PF8LDW7dngLsZbb6NVdSDM9M1H/lH/sRPZqgTzLw5b0QkivvnW/8Ma9i086dKziZ1f5BCNvzjIZ5uGzCx9NSv3BGv3rq9czjTNPzT+YhIFKHfc5gKL8aJpo12e6uEDi8boIcTafJA8wfqL3YB8gRhYWXe0uw3vqJ6yn8eNXbzKJztsPM577NtOsMyNMXwr2kONIne62q8jv8ttUfsTlSO4v/K5mY1oj3Qb+ShygfTLvbkD8I3H/6NsSg/mHAx3dZb371FhJJo7sSCK8buNVWR+5j5oMlMTRjDLp7Q6Dgl2fEOvNPmbrlwnh31YqeGWWLoaMa9JSRaqCYItB36kGjGckGHCrDHYBHI1M8Gun5Qd5lYdyjfOnfU7X4DEkqDV4cdOTyMhpj/AFWxSAasH7YkoeY3nQCAEesqFRbUB5bJ0tlCXI2Y72HcvQV2USUAOO/vwB+fB4eo79yzBcIzSOnWXCzgTzNuxF87WNPryF7DjyrhjaEZahgtHgljiBn8Cv2nEe6A18ilZCQKH+ImGJ94inotq7YvYVAAEXXOyXHtj0Aa6Ywtdy9QsmTMFLZqwDHKbue1w7Hk2VwZ5V65roye0LvxcxSRqI2ifygs+xNJat5F4Q5469g9ETknP4U32gWBI463k8do45lrvVTRT0in6ycbVdnN8e31ZmRYLysDkOsYxAemDRWb4dLkE/NAHlM9AfWBQlhIAgBgObNUyaWexlnEk5g2Sb2rBouMRVNV39DcAnPcgciHe/kwdvz893+zqI0D8IEMtV9izYpSE92J9LT1S3JTbFS8h+Te/QGRxzHVFW/04w37UvhekJSLNRKGeHjVK1xmnhAaMV+nH2KsWVdWsg/GL1X7phqG1e09Z4lqBHUBbipWr6o5/BhbvS6QJn4qCu9+l2CZ1yN4GftbJu6jTyNa/WfZp2LqkOljvP0iM6RlITkYO4LEQkbmmqg6cCfm+jQXfZFMWyQYiJkVYrC/wBkm3e7SWY+BJu0W4Sd/GROwRvNkaHPr1JYfeYYiTt6trsKJ1ZhPuAeSArz/8LokY4+yweOewxEx7qJ01s1VjZDJR2yLj+hJJXWNtdDNj8aDHDEU6n4AWLkANxIj0eNGhZvAVQ7VLUNlmQxXfHt++e57BPVSnszjAy6FSY4JAcHAf0dcZOTIBCpSut+YYQetUVI+3dR7eRnGafjQWiryxWbFFfL+05xNW+ofyACEtjyHqv8galMBcrL63Eyy3EjhzBbz+vE+kyernK9992iLhlYNdPXE91oSkTgjOvckC5Jch91Umiarrj32mV+oZXi5NXSOdiIjJBOJdfCFPsOX/e6cD6XbWuR6ldOdio1VTtQDVSoDA30qWLvP4h1lQHOFu64bh2uGRbf4PUVxC6YlGMXgYb9mrl18K8je/pIrKNkK1haZnWF7FjN+X5/F71XDo+ZraGKmlJDPEQqCnSX0Mybz78lxNjN+rli+iqTgLPxnkkpNBGcbtEsIlSCr1ds6/76sHF+fV6ZrTpx/IS/FCW3/E+hOqVc7p8WRaQVQM/pd2cx7jXAKcxScoOwV14BGOqy5TsvE8wWszZgXU+PSn/fTh23HEAgzaSa/iu4cS1I46cFQKa2QSIePJGI0dSiGtxZ3DUgdxfuN/IBGm4JmaQHOA4wdU83iH/8lvaMVXL4m3/v1OHL2dP04Phf7Tui4Wo28NzPaB8x9RtBLNHu1OT7xmGZyWP92DRdPVsHwYC8cfFKmAyfbyuRetKchk4f56SM7KJMIWUkiP3wmZ1pDbzD3eYRleLMGiqhvpAcB7hHiBADX3MkiehyvRLaxj0F8VR/u9vkAg4u+GgJ+gmjzDEgQflJAC4zu9iBV1vy7bHPfuSjKHVIYdn89usNzlSHcKsliKAIh7kx8Mvfb6ZunkKZVzkWixjl+PbBdAw9GCbF0CuqUpCB0Lvhv+33a4KX1dtXz4ovTHhzFh4BOmep+TFGNqEF7SVvhVme24YK0RFqSxlTkH3yN5RQZMf9N0F91GNft6bXCbznF/UR7oSlhaDm/G1HEH9T41BJ9LEMaEpJVTUEL5IqEUt3/+hj/EbtDiFLQp5gidSoX/MoflUL5L3InkOyE5KqUJYhFyNYXAaTt+/ooBpSDk0iBjfc8e7ShT/D8CbbU5e1haF8vzlvRbso8wMZOg8Pm47NPJuO/+s7FEjeAsFAN37x7k1JobubWBMKCVC2Ej/VACEBsafPT1I4bVjELsZ4WIFqUhcMv8g+0eEmWAGxn+JEwFQYqbBNpbz9pSUNIm3SmdllibuZfnnOxcRYNRQHmi3hzUEBNy5DheZq447rcl+IiYfUgWNq0PHXNEFyVNEV9vD1n9Q0P8LslMl7rT1SYdwxKSyup5Dk2T1fUOPhqJACw95D6RovNoFsjAvk/aC4gtWRuE4zpmz7YnXO0P+TNHPcFVnRt+9vSHqD2tUOtzeQMu3J0Pi2E3JcliS8JbSn4L+/KOXZmtQZ6tmUbtpKwN42cwLb0DMcJTvtF41yvm2AdCR4Kv2joZszk3NcBrvYc8XKjKcYN6qHlCE703Yh4iRKT0AYGc/onuGDL/0zURsh8sB0w+gApyzrVzp3yOnqbSwx3S7pmb0rPoysle1LWBeAstSFWQsvtJMg9yDqzpT/bA0tXQoO6wtzRR7sSqUsq/KbTvR5lseYebmo8F3STLdIXyjqQh3MIBeXQJKonO9nU52D5bOK0bbR3Yh6EQqs6SV3KuPQvG7ScJ0tyJZmiKJeieVF8w2fayTkqtwr41kW5S/UnjSDp/OaG3k0k/MRXpOTv4PuKbe4dlfUgPqYkatRzpc3QgJLu5Vxmg3X7BlsTDnu1e/6BC+7/M2/R/CojAX6EMXdtx4dEY325KJogdypZM/wVRq2YsVyX+Ib+N1t7qr6cRRhKkiI3m5KdY1H66DuxQOSqQlxPCk60dRwxS3A93aowFT/6Xq08Wv34DS4rVgX2mDy/Nj0B4j9CYnAuIGuwe/j+14QK3BK/zTwkQ5yLew5nY9SNAC+3/AYDs+B1KnWJm02aUnBopHALbctrx29ZX8RqS7IGOrbOJxlbsDVc7WcOlppy6CyzHSKIMfuGQm2fjAysg02bmjhMl3qyQiFZK/7KTPB9ydpWCG44sv8vyncrZcMtwyKVFA6cEVriDfO8159AyqWkzekMk8Z+6Q6wJEog17/bMjdVkyZWS1M2pqdNH7jITyVPResa/t7qnjsTFHvJw0d2U6jYB81tzvtmAu2qjKvHldyimkK6Ehj6quuGQxEBC8pZ/PLIhBy1jDvpm9L0NG8/esA6yXXONnx7+Bv90t2HBXFObMXzzZyvjU1XL/psYkvEG4aIou3xPIWha6RDTMjVSxekJw4XttVnb3lUz2yWLMeRIVRj59bBeb6La07G9kH0sXe4uo3ZkiGWr4Ptw7AXp1WHtMNdNyQl9hiW2kxUnQe+uM2cXO3uJnuwvY5MDfU5xWoHXkyI2exRwVrWJGd8RAHEwx+M+qkULWE3YcseCs1dzHH580E2p0LeZFUbADgISWov0/5cv9TLTB4YcmpM/36+H2EU4u5jXq0cbsX3mf9Zw0mWmhVKDto8ortR1WNmUflSTQZ28cZtHyM8NFL3XZ+pJ2eYfT8Ozz0lBtuLTE/HqRpw34coa1N44JQnK+r9CYC0MOnzRDYhhlCsOjDSfoxNhBAw3dS6PsQsOtGQwlKDwJ9uPWgDvGR7HME1yeCmNuSMyn5aONGtkF5zC9yTDVAhUM8c1ajGuXyxbpjJJJIfvzY88jcAPpeqJWrX0bsvb8cXVOJqqAmUrfaYjL8RGExO81bhLy6Bx+GW43tstSFkB8UiqJpL1OB3XzFun5nN28iU63CkSqmdWM24PlqvdZrHhnm/tDiv3BBUDHQuViDyRBZ6619o15Ri+MvGaf20/6bbp5MDO2/Hg2nWf1h+9ZJhAEPanyFgBxmVJutd4zljuI4Pbj9HiMVjfAVq/hJu/uoU819Vbe19DvaebOGcsUS7TsyelIgTeFZtHaJ3vyca8fRxtrcM8o+4/bu+znFmYLkH0lAFqqxlYsNeYBfI3CA0kY0+fH3FJv5o9bL3suF3RP6VcNU7AyTFUXJbErVib20WUv4cwnIJzpaBY81fQPHv22wWiwna4DCjYud18HJWgAq0+WFehqz3kdC0/asQNX8sygsKfCqhjw4HAqKrLYtoLRUyKjRJ7zNgMXmV4Qt5AF23o3MPTtma/VvNpj9+bqmBaZd702T6GEEhAXLUYwxHfmd+Z925B0mRe/pG7sGT5NIO172Wj3yrEm1qTLfKO2VC+0eavk6aUTXRicG701sOG7juYLg72KWFP5HonwLXoOPOs+BPLEioDcQHnlJOZDHVZQ2IWLVuhGlm2LpDYXNmAKS2UuBZMf8XcpjgBYT4BwibYihvVNkUDXPc8ccQnqMNWxe9xoQ1FkXnmJo11q6nbq/KrEGJ33q2viXP28imILcp5J6t63mk5bBtME6xMZo8nneP97DDtVAlfISQGoHrZNYjrNQkyHafik4i+6HUeSvdte9Kf4ccJ1yHLwpW0WS6nxCWxV/Tw+nyfwYCiGuM/5eeW37AXj10We7xw/s/TwYnFCzfKBBEM16Sz0yRk9IOPVT5JRyygbxA9MYMM7WwqYEjgha+LehGCSyyscwN4VwB80sbeYpVebwkhU7M/0kgfvQdSN4QG2oOKFMo7eCy1HAuiKQJhai8QCUR8GAOh0XhicaHKmu+pGyq9zGiquEhXCBuZh0UF27Xmst7boLNZY2NO7NRoqDhROl8ShK6ucR1bofYMyZ1umZzYKY63MFn6lz/Hjn2bFnm/XcvwkJZJbARuD8e850QxVZJk5OhLECyjVUkuOSiCLJoqt3tY2C4jg8RRqQmIvmBOgPVchRt6t0ujmSEgmLxNgkWbfmTUyLPYCybUrJw7q/lbrt690Rwl1AY3eFr6fntas+vAdAexd6ZXHWlpN52tpQQl2TDjmhfgvUPQgv9ubjRxoIvAirhMsqKr1Ox3Pbx79khAhQU8VqEZqIiME9YHaZxb28+uUBs/6GlcEYNmmFgE77KUxcWZ9weJfkzRwA7ct36Y2e0a//hHcQLHggspZ/MkcbyeFU8CuTsp1S2uVNfz3T2qmKLZmu/q97THXy/bxfdb4uH4erwnWgh5cOGWvmQm0jeqrZ4mUT24B/csiogTqF6XBFwjGl6EA36IFV1ZPC1fPDD1S9fNfR6z7WqJGGVUMk2g3T4O1vgG9HIBhv78S+EKGix3jGy/YbwzBpuDV9QQ9sP4fOxVlsBC5cAWfxCieUJS3ei27To+UA+RVxhvE2BC4R4rIDAfVsGaH3o/BDQKe/vKI4pgU5RDf1crdrCTY//zP52Fu8fbMC1oAEvmcHEBSQjZRiwgmhtM5p79XLb91AUWV6AlZql+X/AB6vWdL2z2KisnFY/cP9s3QKVTrmnpa/QZgmFe3Xq6YKiTdIAsRtKXsl/OzkFARnMl6/nK+pQj/izaOeS4NdDnUkXSiClgXJ0eJzF+40EQSsYuJz89NpValVzUA+DVJttlBG6u7mbc9BpDvgpYzdivKU9zNEtYVxCu9cNWx4goM5eWJzp1zNK5eQhX1bgrKo9auMJWXDlnj/KGxG64Bcuv57XGrMuyrIbfyAw0VUK3pdobJABTIIYsLSMuFDoJfuxMyb/Wm//vGvY9Fkr306T7sUD0krz4jSpeCv0owhONKgWSt7Hy09n4LPe9zIuTibkdVykib9kxXJwJxLC2cnUlrN8ix78F6lEIQ2v7SVzqebv2l4JC2PxxB2t5EjprrfYCr7TCY3oNj7obKAO2NANxcteOoY2+PtZaCGRDZjhaoAZg7UsUpjv4/wsLpM8cp7x/IeEldMFEnkHmCEgpo00abY5SY0TrR2m3Xa/2RrjHKzWffiSjYeZLyqewcyolm1cKqoalNSngmj5E56gmNV/UjvnDtUpGdGnPPY2G7QFrNWirmYN1ka7a2G2635B/3jrwpJa7ZTcyw1G/wHIU+K3GG4zgcAgctzPeQ+VRhov7LGiDBuzJSi5th19Cir8jlcCqqh+lDPlkFLJ8vnFVaoqzDiV0ogo15W6L4zlO5EVPPCHfUfTOz0PodY7kkYNWnhw8jP22XB/ozkRVN1KN2y3EKNmnra9H3VhaDPRZK0WZE/uBc76MvoyviOdH8GZ8yR1s/tmifpVq6CP5EihUopdb/hOcaJ6Gfo9TkTKFMTTw3n7RElt0Sl9mltWik4Ooh+DxmabdwLc6kSc7JXStA859yFLzd6cBHAEcMp2rMl3xwh2+IIpT3MRblN6a6Y52c4p3Y4UGbNWuXoyvyZiwnnoQcsuRgh1NZwqBQSQIC+rzzu7qsfLuhCLdmBptAtt5j9YxJk+MWrjZsvu2Ri2MUYT5qAd5/ueYZ4QNlPcUjokLqevlHiVXZ3Acb7fA+a+622EpuXTpBETxFwcYjpvTukZSxqmIxlGTrWFi2ssWp3Oipm6DbFHjUN5vh4lEfkx0LtuiCPB3xllpFwwOs5Sl+wa1sH7aZRGLuWHKFXoepJiIzfg3VPoByL/XT7rkGhIH9BsjeRCJHsg7CLq9FxpRkV31FL0zT95SiOjzxR21FUQoM/ZO972Jo6zA2/YZC3Yjxa1PL+Q+TFYyXp4jG6csVF07kg8OMxpDg+c94NhYSqbaJrnImRqgzyRa3lOVcpDlFRCFoCdopHM0YZq6A8LG3ULd9ceDUZrjn3/f09QDfBfpLk79gYkbMbQCCAtfONwrMLufOElQzIaNai4fwVyOLUZAxsR1cqax0DD5ugm5zKx9CM8p4/DxjeqpXiL9aALt+Wxtla+JHzaN3YZSe1uy0YGEk2wlbXPWN3VCifhL/ll2VN2xAHXPFIg+3EgEfe1UquNotFZjtp3sfAoxamjfKoizO3SfwdVfnVl4gUtSsBKmM0/RrAH/25PuJ5u5xB0OWAWW29pRhRmqhJvyPRZSgk8+Yk1/vcmPExGnjTVXL2bd3XZs6XRf7nGr0NvyyCttwORVy9gtQuh3aurqnFy82+aSFttt3LFyi/AEEAzarNkA6pescieKk+VJFIDiiTj/SWz+2yASDhpNAbaribLryeYi58ccPELhmuDOjiQ3gIBgl1jG0f9fCvuavTOO+7rPcEuAgdxRokxep0chcEd6BbeVqbdiygfS4STHBqWLj64Fxco/z6iMV2oBXApP81++bgjL//Zq2UQMLvk+cZ5skOA5erPZ8EX/7XN+eB5SxltuYZlCCckFWPlo+WkfpExo5+Mwu+ENNb9zH95sE+VpyB9oCAub7skamSec1dyu9Pk3p048cdEu+bHDdXvdrLJutsvLWZWobKPT0n4JvkvOIebofBF0ecU6AgJNMlOmdUmLf5VZt6EyL7+JKUVyJyO+xkYA/0fBHEugHD5hZuouuccJdagoWR0BuISvr6pcS8pBpPSPVXIm2pG5qg/aOfmIBCIUHMlrBR0CxxM6kBpFW5OpZLHLfk+HUJo2Uj0wromqAGB9w9GbX8taqF0F4XATdeCRPxrA1CrEDvtswYIVOr2nYc7hB63OaIip2B6xBfbm0nG8NvUkGU4umPyeD/CbJxlmqGquF9836roL97fw6UAga7E9YdMw6FClLfQcGQ0YQnqUWtPiK+XkWhm3gGY1dhBY8xeJelTbm0a6P8OCAMBpKZOMEt/+ImICMNaxoG5+ska8TpxBtNEfa39PauILpn+lglF9fW86R4GVypo9hvNjw1aaiRiZbDUXo88JNcYGJV0P0nYRs4J2KBNiSt4CdVO7lmUFru0T7L2Gt1BVtbsp34hnqxUp0Mjdv15d+0p6A4lC42V7e6mI84uqgozreAGFHtSeYjuDumjG5xV2JCub/kyZ5TWA8Yh1WGSnZhl/l4IMpJbF3ahEF9KKosmuHb+1SDrPxDX9ugQl1CBikEk72hhiNWorbzeCrqR+/pVN+JPJrxB4zlLFhH6Vs+tpJbwETXHi2uVMra94fJ8mxRYwiEd+/+V1poaHYs94GVTrw1cPlg70a0YI2beJNM6P01C6nK3P4Z5kZXO3Ehsuwi2bjuaJ+lfEPudrAE038/A+5WT7GauSbTtexl2YNAgko+iARj/Ub93w86WoKWjiadBIi2NFU2w9aamuJwrk+wzt5yAWyjFFdZlEh662/gsqWCHTzfhPHo5OmjLa1PGgunvT6vpSZ07oXfuTjrtgbb/pCfIiHcpAoz0DBBSbOSCRB6qLygsJe09zq+jXd84H037/8tJJlZzccfWZoUBCTRr43FmH+4yDP4O7LE0BrIn8FfCN5aPkZR7HpLeIkjnMQWgMweYga839fM8ghL8VGLKkfIV17uDV8Sv81W7lLFemxdBlO50wQ99R2N5fd6btHdUyuqLdego13v/1uegSmapv2LZCznVr5zUVXLW3B+WtqBz/gTlRS0sQcRKaoR38qpF/X9jCaSH0PhPqPjv1cskLek83DfNq9b0Zozax/Ib9t+Cdba8FEItHMFJ1mHMYmYQVuwhSnEnaHzJUZBVtuL4boY5M8Ux8RxOpLPr3wA5OAkGSBUnXSLxrO234pHiqce1D8opU3JQ2RxqM4vunYuqFDo5R48U/6ryPTcsvLPAXd6MAhxdq4k13OWr+s6H9MRmCiZNRWmxKBsb7yGwZdIhdUAimg0jWmhdY13pRYlBfTIpOq1FNxSX9gON7hsjMkuFNNarTgxNnZVAhpYi3MHsEaNF4ALKll2iZJdYDFzCv4b9mi9zV2OElsnWU/Xn8W9y7wP2PuvvjghZjjbfehAcbqNirGqUKRaOeS+8bz8v8+wiv2wnDFyKdgWXkGIDy6zL7LJ4BaKmy0qjTI4CJZUn6teI9hUH6Fw7ugDZ8UcVN4RcJ9bmaIqKm/Wn3EK/ohgXyQRm4tO7gBiFJHAc0/oAJzY+UXe9mbXRF1vGT4bzdi6gDGDb9PpKXxTar/nxU8rG2kZJBhxyGPwqPo0TaIY62w0G7NDkfvABOYly4LHuhrOqg59os0/cehV2HkqWIXJFskwkxlvHcyhef5iKCTMAqvYHwvBHiTMpgS1PD7j7RN5tvf13NxnnUs4Dn75BOCdzpp1cOnE21IkQjtC6DmkeK6aPNk7Q2bbacNrkqGRxSvBLgnDwwawc+qSV213PPv6XPdJtjNS7qIGSBDSQBVkZQ4ax8n1/f1dXdUkugsgK/MydK6tZGysnVsXnGDCKClL5jpGSNX+Cr0lnCEyPlMNH9fIfwq87PqKED+Mk4YIEwCMW+2LuBFmBrZTVty9z81G6GkpP7TnI3LOwup0l2A86e1qqmwCXtz6pW4Ietlm11nl/D6sGX8XThosOFPIPZUu9pbiEOhZ42cNaPJQmWnr08Emjrl3axshSm8TfzOLDkrDZzpIP4ySAl3cC/3TmRklXhFw16d2D1/cMgXYfLp9ju8CffU2Fjwlzgm2XNOwml3A/Sc3zjlWFi/f9tbzWr0I/NjMaszrs2wEHVWvcYJQiU8dc+TS3HLeY3NPuT6lix0iYgBKATEj2BY+zir+Kkn2ZdlJzXWK+tAdv7AltCD0plA0sjqlo8MlNJn46BBobYTq41FPN3Ez5cMQ3lVNYJ7fBzPKBAqK2G6hLm4i8qOw6bLkCQ1VG3MzzLtrnBT5LB5EvcOgk//7+NkZuhUtB3KthBSwvqHeFiDP6HPH3EGOnsU9ySSc+qYcHZqRHiMomDbDbvoC2nTmZJrjXzT6xUbc+CQFUUF0NEiILH0h/mW6+seahoPodyZBcp2gU6BiU4H/cTk8eAgQwkxOCn0gmlciAKcaU/GDH1Sa/MppoVLjSqp3lyhg6PsC0gwDO749If6ZgXfG92cTcyXk94K82C71Id0lcQrA/8gRPTI7OV9YayzlXBYomeG2COn+7hgPwU2QGRLfrsLTDWxqt07tcLy8wTi2X9LRj63dvl1NKWf3r0NU9EIV0Qx0bT9YLqImXcRlQso6fY7HKvqKpIq8sgy7mQD+CfwQKNUgZDlbRWHhabMYi9Z4YFKSVI1kcJeXg86zIMOoOYf4qlTQ249v1IXKkSddzLg6ozwTVRwJIH7RXeBMSL48LuW/319oNqR4v8uVavQHdwdLt4oHDFkvUJioa3hrt/eRJU3JChDjwyCYueq+QiR4umeOGMVR1SOa+aPOprgY2jKZ86Pr8xeNY0e/NfMEpJMlsfh9YXpCcgSeCG3LN0LQGe9yXKtNmbwipiuO+liorkKbHdKRCCq0ZdG+U0eoLj1TNhWeQKWB5V2KKA9h2OnqaGp4VTnFcY9kx7u55h7xxgoztrr0WKny5x18BeyZ74FJMD8OrTc/Lj6O4D7erG7gKNRiBWlzO8AD9w83D53fPEkJyuNlPwy1XnP5Xyb0Wv9ppa5gyfgpCiiEk4/oEjuDIITJQQDKSzA0lKS5xwKZ7IpqnaX+Hra+JP6zufJSNlfAQmGZVQw5MYQ0qVOBCUthYDreTIDO+LnTxLAAKx7YL7ZJhR+FTu2RIabql7srSkavwn16P3nMopLlptYmW96MXosvYzwD5ybP3LqEvHl8/q83cWIYCV7hlIxY/4kGBCuLdVuBTbaid0scaOwraeg93Uqg1kr7guwk1od1s9iTFtBLPv0Qz/aRbLTQORnZJ2h4+KIIVuZGpmYaXVbslhrTRsmUs/DDxyzBtnTE8+LHm/lJyA1Uc+2LTX5v+UNJvQyzfyh8Dqu83w1ntLdc827IYYBY9OHpCYEf7aP5q/+H+i5hL8khaPvMTtrIVO11qzPm7Cq4liyx5l5gPuxLzBPCxSioKnIkE02LrMwehu0noCDZqWL0bqnbn7Htwece38N/tUpd8dpNAJTJ2Qsuj7kgT3fHitOCqDz549/C+MrBK4V8N7vCq1qX/2e9IEvZIfatJjyjdiCykPQwQsxlydyFljk1KEdWCHeaSnonFOdgU1y/zmpj2er1IBN6kpnSCUG8UPphaiqCerRAkIPaJFQsopZL9BS6ZdxZ0lW0MgBQsONs3Rt85IW5Ha8VkJJcoDBhK2XgXU0Uw8GmObgJ8wI8j2Vv0bHCx2uOJq1LBkLrOco2KxLqAPGjPr6YXCY5vo+nVf5XEuwHw/y4Gi2wy1F31q47tg2bkvr+k0gK66PvaibCy6yFGYYqm2i5EpZ+BML0pgKOJoE8vdB1Vz7dwrg61OZb6RukzBLTLMSFu2QhE1emqBqQXtMncjEUQgfu7VSWtHWShex1OX0iX5fVXvmEjziJAW8Hpon2kMGp8k7KHQjCQzpOhDmlu2A2s0zf0f83l2zPQvJsnQ1rC6ZCBrTNSJS06EMvmGN5m7dIrplFvugXIB84Q7puBK7gou2bhj6zrBGrblz5YmNyyvRkt5VZY0sJbcM9Db0ghCohivut4qGfm9t6/XWsb4fBZb7BitmqPhpwHuEFCrgBVhQdEV+1JxnOHIYETKh1l5SmlTgDe/KHSP8913SJe49sFgi/KY7k8T8s7RHanXIhoetVl1tCtsGwKk32wpWxjTtjiZfnwBnSo1MORu3q879Jem0bkzOH7qs7io6YMVFXeRFa3uabyW00B2Qp7rBpI4iYLRzx6hzQ5sLkgehFvcT8Ila2csotbx+PJg5O9ETY70d8bTBnSL4y8W7cRexoEpgI2CZAYmAaQ5cLowhNMfmKzH0Ffw98yGs3tMYH8nZ+UoAc8EuYhIlRwCjFMzIn33DGjYFN/nT3dTqmFwUsOMMId27kCLxr9qG99ANWKUWV0VlgQo644rfPJeqohAcNJ/b8/Ij02yM6nP097JypaaCgoFgB9BJcQtO3NuC7rzHO5mr7UfeiX0GCQamFyszz587A2ktlzgpeElWVG0KKtmWLy4aFsDtg+CAmba+mUC8aLva/CagnUVCr+smAtMP9KNFXFy0qzm11ZUOa+eS4XSAOBxKfTWf5iiD8qZeLhe+50lvjna2iLUldyKjiAfTtBmr72q/ZSEMcR4aNAB2xyKpT+UmbTz1qrjcVdLjSbZzJSGzA1pHM8fYp7+hPhpKIOTuRI4If67eCEIe+Uzg34RkmfqqrIP8QEb1zF6psJb+xZiFK6J3pM+jbEN3SRnpsXKy/jZ3P9obq2ERP8umZUDENAESrILQhnE0khOqbFJVI6qI8MjQoKojGYyAw4RumEDCi8s8Z0On9h88HEvZhbj5zqh1t/f5zNHCqGNcSNQJlPmBRex+XHMyn2hoSPqJnNbvIYY49T3BzccKUJVj7e8CtsAf0pdz5JJiLAzrbTu6h9sitavuoVJxDQ4rUL17uX120GFiXmiDc3fK2omm/W320MaK4fpSJdYXU4fR8bfAeHoFTV003LYmezs4DYdjrJGw0dU0xq4Q07whv0UQ4BbJngxQXITuAaWZp1nUe8fhNS5TVfrHXK63NpJEKm9KWl8n5Dk9+/E794hNFcHPvOQOCIeasSlIGZmfGVajTpRTT7xIu3IcWTfQ4UjVGsSq1PnbHiTAt53h4dq6YAEKSvvdmocfzuO/gg+vzWJJJfIiaPgkhEHt8E+93rKyX9lSsEYntFjwKCoD3UUojq4F5MO9e+JQtLeIkasp6jRuW1w1iQPryP5Ld7Pr45617OOnYoT2wvdEOU43NfFX548YDZNWWbFZnZtqJkf7dX/MUPX/mYMd2RX82nfgUf5bUL9oDX9A5DLTei4gc69SMgU8VcHGELPapAQAkAj8O+VQZBRcjdHvEhirnCmEfVETMEEEZxnXW+hC6eNxVd0FdeZVIo3PbxWlAFz6GTYK/rc2V0oZBgcuegd72/YaaP59JjFIgPQaWYt2ei/D43aIk9S/pSIGsx66CW459qsDDLW5mrk83cJfg8eHJhN+hpMesHW8GiJELfIcZ6tjpxcfiCfCcxmICSmz6os6bZzcEc0ZMOjiHBzyNGFVhHaE/G2+gbvq4OZrpfoStkxg12MXkrwCS8AQQgX1a2DVeFT6HzUyKf3UYrt38Q1qZWF3C/l/akhCmb1h+Q9+ajURzvWHtF88EnJsDc1JfSgNaJ7RxrlBZIkst5oRfC+e5aaD0wSNWe8D5IEyzn+aDV49EKYzl/uYh6i4IveymSoySwQJq7K4Dzd/0/3NhgDbnM4c/pG00yq5HhcCQkkmLUBL3OW5f7n2q/DpclY0ieeYfYmltfuM2UBHwuWw5dCdYoBTBOA+tYyXpevxuXrHIfskwFN9zRJJ0QfCqRpotbvrdOqRyf3kk6Zg78/ZeJTeqN5xmqj/Z9YtZVKrsd4zAXhSHrkd3zclNCzZj7M9OTUTGJ3vPbqAIfSr0GCKwPs2NrysATpZsQroFSXfh855nVMaZdcKAGGapk36GqAIu3X3klVx6R6ZgEhcy1LDLxD8Iv/NcZnOo+7JFv9Zi6CaaoDIEf8dhXnyBfCPKEKQtZTM1OEMfRIxJasP2WWB7nNaFC4bd1UzZlFxDpTmOg6QRXUhaKUJuOC5nG+R9Zo6+s8xa4Etm4hmLX2FOTMBGx0W0BrDHnq8uawxtLt1fEsHDscN9Hf2WH03cURQA8FZBudkidp8aYt+g8Q4JDz5v9bCI3Hj5rI5iW6RsFyLXgnTT8+CWABGOvDDuQDBUm648Bl57TrqauG426VKAPRPWF+J7ScfbElhKFmkOJxdaBbLxSL1t23mpwGy9QCFcqugTvvn4WyrO+xS8fSgjXtUaUNhk6SoDqHfqULO6GOSXe9B8qHmSVHA6RMSc+dMO6GIXuLTAMHq3QabH/NvRlbRRTMcXo6Qn/uRWlsISAoxcfAFkqD2soRSxXEguanc9zIDuXzUTALlS1eWNjLeZUR3sn22NAsP+0yQxOUGycfwHYZLHZLPXZ6BNP1OsnN4agXwVp764k6uH+6A6E9f/Dxih9Tz/+JEHzhlLgXLxBfPcp/6NR8DIvIbBIB2mMojusxu/ImedqD9bK6dJi656CPNy/ka5/J6KqTtITfHjjeEo+/T9z7AgKYpgV1lv1GgH/78SCRgP8DJnG2HkwEXNbnhFFMVvQ/rLNO09tyEhZJUjS2y4q7zpPw5jdx6z0vh2rCG+st0F6M40nFEBXV99MUNXDTyojO2KGihTuRadM4DnJXG7jb/0BFOvlLSHDGsLNrsS0ntAMHACKrrnR9Z7KX9bxW7l5WVBnh0ed3jbT+R45OK9CkMCuZHJVYx1GizRJY4rQy2rpg2sZwS0TheuCyn/6uKIci+2/ORNPLHELI7qqMd846kwgCjentSwDJdg5CuVHFPJIgi3AjbdaBFPk9mn2YkNxecISWBp9B7Gg2YGH/B+Dt6tGN+jHbcRHDXsTrddY81ZVlS3xSsxHgbpgEEx0ro2If+TxVI9VPumodSVW5FoElWB/chP7y1kBzRVePDYKYHreC03SbFr/OcHESM51iY34U8lBUnK3DH9C6A1etHweuv79VoMFEMCSd3bnzfF0PCmGp9KGy7d1OGwln9Xs402WhjjwecuBWKhjc7N9qBRETrzcZTF9VlaNCH+32DM7YDFirnlMXRc/+JHKbV2lctu/zReB/QOpX0fkgzcCNN7WYoHYsgBBwDiWr1ncSUROucy6Yf8zM5Y4yRUw4BGxFa48IRKPWJryyUwk6v7Yjcp9uN+g01wZcsFltIBPseC1pEMbqnQGRrwp05qutsZfdPEuxVsCxw5kR+wMrHmhwawdjnLBNY029+v3pMyImAMrERqnJGOO9alrgCMz035Mez+4qO3l5jCKsAWfXQRoD8u38SWLdQwjfWZnd1M2h6B8o2eV1jo2KERe5qCnPYzh/XGE/Q4kujz3BXIT5YefpUdN0I5+3gjwUnPTnIaAXf9m31Qi0GiVHVHdMsAEj3erDi/5jfjHCCHodJTPaELT9vI8d4PrWDmNSs4EOoEygVp3qlkhj4+XCNon4n25BN/O8QStJaJOrbW7c3Z/I8Ryu2hv19mYqhpTGLlqzyqNlIqci325AaQZlP7jwltYtHGUXwNYMuocKHc3ALSG1GJwHQwlv7mHzJFZkeEBQgXDaQXkxuROHuVLuQYBhB4ji/ixxpD/AGy6uM3kynto2ycD6bQ/GvPMDRwtDeCAW6BW7garSQyWWvjSUgRFofTMx28c3crx/oi2ro8YkS3cosng549UmQl3kTEHtvvpo7hWRfrv/e60HeCgnqqYcswkOBnqtYG3LV8iZpqGKQtbRd3ZZDds0vQO93GRWDN6AxaUshxJUWFNH7X1gu5ZbFzIqWWGMxgzHJMqpYNtkkWD/pcT8r01KGWhWBbCka2XgNdyjkbgxdpmKIjot+R8PkGNorSzoXqtXBZkU4xF3hONwU/qohegLEJkccFPpFDFkhTe7avAkgte2cPvrYma9SrrBXoWBKWiXhYBjnsGpT0ItIILWLYv9yWeJn/rMdkOcX78JK66dGZcNLuwGBkl1eNNgD29S0Z6TvxQ7qGzcyoI4pKZlQ0idCm+4AVei3zNAcJz5iCdcEUz1RXfPIaVA1Tb7v6whAY7LqHgE+nrWr1m7UDUVFYpVJzt17Rv8mYE0AhEV7BvaioQySCOQEM8CMN1O2rYRjqNUn8gcXNy7Ccaj50N23drs+9HwVgXOMIKr4I0J1lMpzqPvb4+UzWx0V5JYuC4pDARFA2z5kmrkSZW6ZXbPB2CIdGxxh6MxgnxAxoKBCNFRD/btqkLvrvIM2c+YLm+26NzDwMjHlNNRgHluhJ4h4BXOsfg0TyWlGz7zWUyZg7oHsbbWsnBOkFffrKWQnbNIVcS2MkvnRieH6iW0iuLvcxv+OUAmptuMSQHLDnsdxKEZr5puXru1t813ZuCoQp9M6nvt/J5de535iBcL5T7DX5IW3H5a62xRxn24hey/McDToeuw+0btGlvYDk/afgQJTkcwYgyyw7QwC8eDt4wcdo7Q5UrCYo/zAzEE9dgWF6JQs0TwoHgzIDEDgU4TGVM7g75/2GX/0QBQRcDa/n9NzEv5xH2BnlG5ls0dLcztguEUkm5FLaZNU1bvA25H+9TTyNyB2tBzbcYliu05zB6aPipIX17fL+Xvv2MgG8Gq77pWL3w8kd2WDTsrukvr9nRt0anzdnRT1FAlBmm6zQAkoZhV4vmzewjvYuuTc/7RL7GTzxLxHNvJZ5ZIq9q7h7MO0uz4KIi2S4dN80iStpIuxmRjnER6dzEl5BT0CaW3ZlXsxAjuEuzJ+lO7VfH9cApc5/ut8ovHSzwWToreh/M1T5/yfIdAeikQdxDjJhne0eOvneQh6UuQL7yUvCJmrqVrxrF5dbNNykIndnaoeA1Ls5koRb8TcDPQzB9KRgL1JEIKgd6NEjQ0Iz2OTRS3KSZm8yVtNybomaRx1iwYeCHvqOaWusVac8cAHj1v6vAZkElQnO58pYCo1chHHBT2pCSt+RqbqKt7sKM54yFyOTlrnEH25ofwvDiub+n98oU2Zcf29KU664p4Ng+e4QYLjftLeJ4RyUlLeVkLXZNBi4f0gRxGf5A6Awc1WfuRIsNZkdqAT61Ib4677mDKiq3eDVSdEVJCsWlk5WrxY5eO1b1MVg9v8+TK9bgkK2BJw4t5jWbdYVbgNpfcDEuw+zZU/0zaqm+xoHVMkPtllGJ7P0WhGEsBAyHACQVm+7f9lVixsks7ptaeSwwrJz1BL4ksaO0jHjGvmQs0Yuf0fR/VScbxG48QiHyB1INW2cCnGItE78SV8haU3VjcwIhMtqR9EgvQIRWTTFNdDB8Jh+uTd+wzazanSaQzUkxxwBRfbDGdb1GibUiF89ar5HEZR+EZAOZtjMGqPBry2jYNvI8ipeclQe7abimCwkuFXMLWk/sMFhOr37t0oB467MR34do/rMymfcoDlJvWqolSOJTl0c0PUGHsxa9cuc0KC9kBzcyghhg48pNpGXt/YTKE3SUxKNOkWjn3B1tocDtI7i6I/r1/xr0i/sube/o/ZAScz612RhJD8x4KING+vbko0hPBwU7q+R1u3OJ1888be7FYO+KTx9gp9LwNz2LJyYAqDzfaCODykzXOQPvWOYqQ+Sg99IpN3MUV+hbSEwyuakcowcwQZy5mbP4j5OUyYm8XRrMWdPGvGMatkt771Fcx2ObP19jBRqxbyous26maeVKHuLsOjBeTrw+ifow6zi3zDM6bimWCPtxIYiWV91BHc1QNqtQy4Zav3cR9vezSa2QtIoyfwiVLoRiNV0DDmVqwK3VIb792Bneo/REuf+YV8t+KwPqRtuUm9WXJZYB4LMOUmFfDrM1x2+4gmfeyg7tF6kZK3BpepsxLMzxNESh+IOEeaPSwmHUUCe/x/NcqCXCWZeWPKNyD/nfujYwdS+y/1gEQaqCL93zvY0nTbP0OCfqKGyrrT5wS3pdLBBjRlzo/vQFtf47rCxac1VcRoIpsF4WuV2cAXIFhFwE4LwjbrTbdEiaNd21QT6OlC2b2zT8WZizBRnz/2qPFICSjPBt9Quw4Izk0DNcM8Qi+SWxnFh5cbe7KizfmgbeopZ/u3YYYlo/gQeKuZZgRLQ+0n3S6vwrMwXHFK6raT2UBLpRpKma37rqo45jNefgJct7MOd7ibRYNTk63W2YoJST2jX2I6dPjzZ+K5g6lfSiiCaVvKmHOXTVKblcbp63b+iEaF6t7OIaTolrn7+G/7J7EeUpAz5j94dzIvdxfvBscTwBNOXPFbcCunhFMyN9UUBHIcKc7uDFPhY0wUVieH7lVvGmQIfLt/00MdO51JXbLM/ko/3/oFjb6kWXpn9KEbov2Jhgea53FZSnPhp+uTNeMOh72/Bp5X9q8Hk3nWY/jV7+iebRBmTxBoGFYJHMY2jrb8qZJnU0dLDuatF5ww/CF60oEsP8FbwXsvejtsO7V3nWOySqAPeowFmez6S7DReYpQxFgMm7Fi0XFwb7DzVFTOJIqgKjuexpkZcFdz2bjXQbILXPWHEUv4OGSnpFDtHXR3yJxYLp7pjwzr8Za2utSKWlydqBY64mr+1lM+gomISpZZxhWYw34kguBHks+5MN1hFvX3rV9nG+kSLKcIhaVovl7PeGoUBk0ZOZqfAolZCR0JHs5LQuUy4P6ESlJYYcRUvORsw+fNsWlUY13DEVlq5GKRDclSPpBSFtHQiIl/H6eDbWLw/yAAHHDHsDylVvEzLMVFpv7RtgztU08ZR2ykXfsa6O/EEYmKWM5jVODFbrW7PD0BVaj8yO6knGdvzyR2vs8JKAP3uonXrjBa8h0yd755mzia6FUjnJICHxKhSkqpEj8ieHKlLzr8t79jkgzA98v5Z8HSgN9IPpt8txnmJJaP7BMY6D8wjoTQ/hS0cFZo0SooAlplsnWfP+50v2FGdqzeEc7H9fLpBvCsDpFGK3jbuOCb79QHpMjP5MT8VVHXKvpDWrHeKI20CEh+clNdZa9OhfoDEIpMk1pXnOqzqdGhbROP0p5OjMIYiPiXSiRIvInrvfqFDsJOkQqQ7IiC2Aay2gNxoBpv5jCpDH/jQ9eHsJ8xSpK8Gag3Ff/+fYALMuAyz7pBY3/5eHI0eaBWzyyiC9E3NXRruzH6SOYajNmYFY71ML6RIbNak38s0I0HbPWmNX0KddsJmwEwVJVpVZGdpvkw9QX4irSnoAK7CgOJQYYrJ6DU52eIkeArs6UVNb1jeTzwMwurOnTXiRtp7kKrnuWNsoVbR5BOwF7swKU5HrmmxuL1Q/aYHvoX22wsFyn8z0lZVbZXm8TILMqFLhT/b2pYxqIr741UM/ycUTg9+P2In2O9VbIe9aUVewbGaeJpGteAS424uCP6Q0+js89z9zowniWXKQOBsRHfdNObq3REXnYKliGavL/8f3Ae5zwt3CoYg6BDw6+z+n5gv8ZcFTcHF/zDAUlOPV5VZbB6lQ8QTQj0E74QW5JphrzZVb2FhGwxmrPww0nr7hdPStXZp2lXmpkCyyeroixMsDzDunV6RBWzgo6zTXmbu1jrNqsr5O7mhcf3K92OCieB2vkwtvexgXhYAaWXQqs1HIfBxFR4kOdc0pwkAbtTH23kkBaJnJhhjrONar6VDOx2jhMaodPrl1ZThyG5tAOpEplYQ5KpPEvmVWNAAQP0edvWHAFdXRHUVxChbS6jk7/++gaVRFNBPf3kHFJin2aLi5P+y003mmoAozqvWtlldZGfUSnAFSngVfiaUoAt3ccZjxURFYt++bcd01m3WhlCzzan1jBeCSFbXRMWAojF8kRwQ/kTBYohnkwmQlqG8cUooCa5GNFZVERKzFJzixHmw+DiHbzH4GVKGnAEWGKl6yxk0tnHA8mStBEecEnMBI7QErVjZit1jTe6L+RtmNSKkG9Kjs7BU0VKfSVvXtfOHrs1Tvprg3G0A/VXxeSZU/xEFIIIemugRCvp99t4WEV4vtK0RO/l+LqEqJZoB0TQM1q311+vLEk/9n6ceqpcBUhDSV/+5g2XfOGrakViZ3IWCI1je9D08ALrbJjz4rFnd6uALq77pr7udcegJi+qp8RzRwz5mbDdixs2EUUzScSIMoUkTh8I+k5yjd1gW0LIQof8NfZAs1cFzUDfyw8HFerI9A1VLdmbbCZKdSBHYmFEt6XKTZd9p/MTuFfp8q3YkbVYIaStp4AQ/9SAlGjaj97Yr/4Xw4r2z0BKuswBhgcET5iM1OeD5ETEVXhaE3tzCNFuk7LfQbEYxKj3aeozZWRZU4hxOT4ondS3jSP9SfF7du20CF+GNRKaKCbfhD0QqbkIvx30v3+kelNaGZ0psKvfqok1YuEXWzEEC+ObmtjAeP28oZkW5e0YDxfG21EBURiIw3udns5Y88ZOvT+Exi7v5XA+BR4fvIaeR97Pnf3i96XQP6ipCnQgj8XXOuslnxQh3PdJD6KtUCcNeKwWsIMsfcLdxVvHu0+CfYN4Ak0UKmmSBNACauSrmxXeyaH2PKOywpD7zUl6dwjd4EFrbJW4wq/ALl+zXCoVM91YAxHN61n6h0g1zv5qjDcr3WSgmI34Rmc6i7N3yGYWkLznWX1ZXSm3/XY5o/w6bb5jom1iqXyaR38PmDCwLM2X2CIqs+D4FlKW2+oBQ1i78989vPHf1fJKelJ+DxArxoBP4iF1irNh+XAWo06iuTKXrXzPi5av9DbAj32U86mGA6cuWl4A3U/0lrtEM/SU5LO0afwSlRwFdJlsoi3fZPufWYPeRNJSPOSoyj5gYpcVI9aE1b3ii6OR6bB0sml4w2lWqLqGc13UGfUhmrMT6INb2hHeP1mSA4vpV/pKNYsRk6P2h9tg0YTdDfzBmBeU3ps6N1XctBI0VQ1yY0L9+EMM21cotF9e0/QotRui4iTM3xB+VkrlnB7dkIvSvMlD38VGphTb0MuV4s7iWAviRBkw/aRNdVP4DhORuwLZrJ+KxUt1wmpvyoeC/HmNKH8Xir0RwMEnHOL2ZDwW6ThbZsDl59h5RHwXc9eocFth7KfDSS6ytA9NfkL3KvIChzmvrWQtkhOaoKSSVxA2FvWxSmA0Fubv85dvnLhoabRVa1oZnCi2Gdr38ZJ7MOBmBgcDxnok4lYUuh53oylbZkrQjDCR/ZpQXA8pB0AGKVNCRJOq+nAmHvgNt3AfM/L+qxUCVHAwKAIUxJfQf6qHGG3XffkjksWtFFDS9242jZDHUumPpgLyzgJq3p8Wffs+9Y/scaUUT7vKAQxUWN1QplMwg5xXXvDDsXS/y7BcKW77tAA5CKbVJeb4A0aas0Dz44zExZG0QB7uvhY1VIpDjrPeH/eoyZMU85EPEzV6h0g8dXBAalA337crDmNHVZOhYjMnu6jC09n9001MHwr6zaIieYQnWuEcyg3e4OgGP+GlXc0zu0Nxc1aejdFQ6EYRVkhteXoEHTY1+tmA3R+ii6MeIrvNCwnqpT18DJpB8wnwMdPofH4w8QUx9eWynwPd0HnWWyfCo3hbIfeq5GIxM5dQ5YfcgtWWmZM9HCOgwxYkBX/hE8rXBRd/tAer6NMXCH/wsCqRTIp3FL3Pb+xFPZLGj7XoANdHp0k3u84zJfAiHGwdsp11PC4/CMtTCefkC6hBKFr1U1xaUgR+riveR9MHYRaEu9bvdz6yeCsL1qaa++Ox54r10vfPvgi7jyd2FZc7NnlC6w7UALXGbqDfLY37qYULDapV3ME9GZJ8BPv+Czz6SZO4ytp8sAWMQZx2CtQsH78op/6IwcxJpANS7mLsDnJxJjFOr9s6IwyIwcgi599DuBER+qRablDF+dsTGCwPQ+q02U4xhNeGLUK8/g9i5nhn8ij4P8Ni8PnCtbFvYLrIVOSlwraHrHUyPTWhViRPg8T9zWl7u/+l+tIe5YaIjEPfe/xnrLoa7SZp5XlDCu7yH2eJA6C4o7rBhvctKHprdy9kNM0IrvL/xZfOcvyD5+sMuP7D54tudwyuFGZLLB9h4jbpTGx37Z1ml3MTSV9OhKNIaoarcd+Ty+mA0EroIDTLlE3UnjfuS+6Ax4GOEiYrvw7sPIVqO+I17vHelHAay0xdtpNwcY78iw6BIEASk7o0dCNrEjq2vshbljuSKOXqPiNbReJMKS0KD85U4AYTZ3lJxDKiS4Q6msNGpbpjF/eGbS1lf3pwNBxYxS6Ube6gDey7J26FP5CUbPIPRSIEzidq+Hucmr/YLkMfM6uTMPlStugYr8VBynKypSXz4JpKrxD+M1Cf02RxFbRLsGe4sr8CEgawn3sePMBzRRTlRjPVW/0lhNHbiWukOtvbk4rXwDaIcc0P4bbmFj09FrtrMqF/D0OZS+UCpw7+m+BF3/QhOOfSiBr1k7fLiofV66Zj0AxnCUKhIYezImzXKWwxc/MU6/2ccAqqHoYPxKJtpnHlrGtStDrUs4OWjjisS8iIqsgHoAP7kCGe+cuaP1SKogzsdff4zBStyaWlePZheDe/43OSnlU1v8sWlNbZZuygPR1qfGvAgDWYP9E98qRgMLwPH3GqBwKSzIhYyMan0Qtum9MhUlgcKu7yOo3MfgJxKBzV4hbmoKg0P2FH8uYKOToWjsfODMO0t5lk74A9TukkAr7nMXgWXHuhAas3cIgU1DTuNFdpS1M6LUJ5XOFaPVin5uNpdmH4yECKWd4PzGCN7KZcLX9E5nK1MdjQ+VgmRxGASWV8CKTAIyeOR64H4wknY9/2T6ZOpT3xVNZXuGZ51+MO6U4csT3dR8s3SUTrebEL7MrWJXHD8cm/3meGW1Gy6ML9OwKiFe/WA1JJUwsYxhqUKshxjFSCI9agPKO7lV8+ej+XRDv7sHkDP3rJ91yKFyAt/8h3I7G5HozZwTpD7BeoVSU5w5dtLJ8kX3li2eKxlVQEmssLRtCRgpGp90hCShhiXqOTcgOip2P/CdvOiNaijgNVasYgLMI77JUe4U89dj7B+sADumMTy4qAvsyV43IZ+9QF9ycTz2MeGG+L9LV5/skzhvKAs9qfmXEReM3biHnjOjs2pHA67lGKx5Tf/ElTr4s1+bMSDWYODkqF9Pbl2n1YsUdPBIhI+1x5gZCtYum0WopN2ZLAcuMEGrK+WwnCJxe0U27c/DXaKK2rBHU/N40amlrP/zOoIJpIhkTjoIgt2tgQKmvnKUXNu/uFUFymqk6Ur/+zThx55ELMwQC2Rktuj18J8s2s9PAdP/U7yin3WrjTz80fKv4WRfgDcgobjao/Kp1CZEE1Fd17LYPEtqYkwzi+1zNY6bQ+7XJhwb77Lvffnb6ugeuw2mrlot1WkqAmD5u/L/Qa2WF/u5kQ1LNthBVM+RepyvGnXxzI49rWD9KdfDWayV9ijxkWsYeRC+nnOmyPR6sHauGU5y1HKSLAHCNcJa94ZRtP5jKvQ8Oe3ROamnMVHdcARACsIEU/675mn1/GqJq5RyN2yuAVeLVW2NwVcYB5ABi02MYidrPrWVq21NolIUD7HjzoMKSumTnbelivT0eVPbDsqwIfF5cHDYGeplXQwrUk0FQyKw/e4C45KIGG0FhSQyrxSS6cBv6h/HmmMyBJEJlkGh3M18fc6+H8ZHx17CrkhDKptu2zzzw9tCEocMpEj3tUcrAkKSd+eaf3SV3aqx0hn+pTbvXkCknvKcICOaRxNisLDdJ14rty9SmJSFY7oa4aSDb13F06zOvbPDxtNaU1gVrDpuNm8Mf1IoFCqs1xoUGOVtemBrvIeMbT2Wh7Sr4Us9BmIFnmWIS/dZKHuLLKtn6FrYdS4ybOxb5LXXM3LO9sk23YOaHruvejSg47UAUsdxjcl/aa7hVwhpA5rrtDpCC3SOxORmk1/4O4TmVIgCmarzb3ucymTbqnoLE5ZK3rEobSo2waVZKoTu74WxQxueni+zffjarOqfdCkl4vWv8g/crR+uwLoXaD5pQFRZeV/Z5aryEyuhID1opeoHI6341LP35yfwUsjDJqA7AEvBqie/Gah2mTc+pqiNcfheiESN1gR8jxXeo6LIx9mvzsTY9P8dU9pquD4qlnhKyXEdoPhkdIpvOa21pBj7luqZRQsVjvLHQaPq/cX20Dx2etndq7lE166SNI/+/FhF8JDbkCj9uhWu1kiSY1NeTvlBile0Euf5oAo8eK1Z3dhOCkbUylCL1EB2e6AjkvQpaAHx130iHaLsPOh9VsGo2V581XtlZGdImTXgLt3ARIPg9wxu0Md1BEKW0j3okmIwZlh0ZjoEB54MnsmO7JfFzKlx/Jjcqz860DjE6dQr6BOPRVa3rNUok3bF2A/6fgZgFZkya9tbDZNmkjKXOISdgr2Oa+/LpMZTyZgC6OtBLlNrKshBfMxZm0PASF2aZc+CirMHzjcA0Yc7mAS4uyWhnblCwqTHjpHZ+oe6uOriiUEE/M5Yci1myT8yUIUK2dr/xrpAg+u8Rvo5FgFa4BSVRTspEakQ9PCTN2CqA8PFaM1SvHc1Fmjr4RxABN4Y8J0rZoFN51EihDLyS6YPEPUGXo94vjxU14SQC5lpe5q/dMEkyUL6V0gxyrIP4ilPoPDqcRb1KXnipAkYlP0vOEf8kvgIqHFSrwClnM922gKKGvzhMtLs69r01478zX6zcU6g/KDJ2O46PWDGoYoPrjjJ5fodQoGjf7PK//5qPdgWcrhRWUcJpiUwx7OGdmmlU7u1scBL4ejE48kKPhzpMtlWXJ8m0APGTxS+ocb2W1mCN+rSc2/SsO0jnMY6GufQTdED7Lz96vRofKfu/lZmosy4p+zo3e3nx8ZMpyUf0rMFc62PVponzwpnfkEeL6+6ffxRPW98XErn4qO4UDYEuWdLrrNZn/mEsBovmuXgETA5Pl+L++77NSY81Dndz0eUyJVevtbpUt+aJN1vr3AnR1xyW2R1twCpRinMbIzgiVJRBqhOwji4TAv+v/mNiM9O7jzDs7YUOBER54W1691wi9qDJRU+UbgrvhhFYWuqLXwhE1GCbyGAzUbLgh18jVOh+L30ENqy9luaG2ccgweDiYx/CKN+dSjew1gXzCsk5QxAgPcQWLDGwNuup4RndlXouFlD266LoKwcdVgEIndirujLl7m119M08SBer98YoXe4SkXCPGt9+QEI9xERnsRQh6svZ3BRP5LqQBqK1A5WbU6ReyMfUT3fxZRoP1xTda89z+fGYzkzE5EpGXv+uzjDMA73hlQPu3IozHH43XCVfiTGli11zst5wWU997/FYotlrOVX0hNFWe20plIP0NhCQTHp/5cx1ra53fGNbYMI4DVkVFkZmJBXAsoP/6DmzIKzd88YhLrsmIYQEebXvy6vrmORxQZIpMMS1CywdAto4KHWK5MiNFfxgAFVVVaPJ8LvuQUy2bAFAh1OHHodqd8cdjjxtJe09ATt9+z9/c3Nq/CkLCgOaZ/3Y1ku2BfQ6GdEB7G6+VxtgxXnc8MaThCw4E85om1iVXZAlAlvENoYAkgsYDVNnd2k+dzxn/w63cVyJhv7qbhEmSxYbKZAPm0bxP04iG3ByaHQZ4z+MM+YgyYOankYVrl4YXNwmGUKQFnyKeYVcmYQ7hl6pAjBf8M3GLhOcVlT+2SEkfH4C62ODqUlU7LOrG++xxZYXqmw3idjQvYSzk0lEz6abtcBP4qssSVu6V7j5Cjc+LtoR+DsYHf0oty4QhWXuw9KEJ+N17ieMPua5HacvJ9YmcAkY3jEtH6ZqOvm9V28rLTqBMJVfvQWXbVK9z6hU9HmihBxZO5Gges3sOvO5+outdVRpGRN1XJfTMSRZS56tJPyLNu+OT6xI/f4Jkl7vu1OYDED4qlmTKg+Fj6HfeswR8mjQeaFuxeftrTl1UDEYbPCrm38PptXNTolW9aNgAOm/UdzdJ0MkD+ZuWvuNdh2RnbH0iBue7XOObLZrbCq5jlwCYxVByIJo8AamFOF8CDII5jLBNIuwM8MgE+bdxf0RJmVl9sZoi8O0Yhor5aOV8WwjxebtsoeCnEXsWJR0J0IVNGiDORaL82VZds96TZmFeFaLRz8DQgv20DGFbXoCqj/0zPnwU63EXV6MDXYSPPuq6O8u9cccNMhY6nGDc/OnMwuywNpbCK+o0rl8qX4uqgybxJUleBMa3N37u6gMzxFI4XOjxOy71dtdN4wQw/C/HRS+4GHR03vyFjNMdJ75FfNbJX21vaA3biao+ko8dkFz43I67a1rAkCz/AdAhB0fJy9QORsV0MQnjjdzXhlGZ64derSafz11V900VjT/qLZC39aJgWPxGd7KjNKwgGtPcrgbvareHdQR6IPeuwzKP/NVbC8whsE30SBt3meEYl5UdzG/xZGhJOrKsEJqtHKMM9MHKds4jrYLyHp1ee+NdJT0IDkbk5mmJ5H0sS2EzgpnEn29cSSQ5MQtK/bFgba/EUQDptovhjt2ehkK1rGhoSaOU0L7mLi+wfkw7MAs9xp8+ntAELhP237LV9CguZ45ZwCa8WbwD+zoHCYfI9M7kl0jE/fKcEfhVLGisL3hlXQSXkZe92ML7pK5vfmpl1l6NwX2NfVOh+LWJ7ikGcipxis44Hgez+2NJCNzTn6wvD+skLwnzetVVflzmzGMlAuHghSKxg0uV9bxrWIhkoISlMpPelcJrw1IaZiYDFvpNEpKu5A1qonx/lMzSQhoIejXwegmZBYIhrjFWR/pL0i4pYcnmVW+aL8iHrD3TxKPwO6qXtaRaz5NrcTvKz/usD1B3O18K07hTigUyEpYgthJJqo3OyYQzOsTGnby5elTUpWjrc8cxWeik2qHnjtiB+Y7CXzOVwg6QNfAx63xlFG/EAxwWpzH7QUGirUAhTEWGnWifPPhurjz7i4nazNAusEX9KfMby00rsooF6Uyh079kCyb3QPfkByYa5xgfyGP8G0WHdZs3hP8qM1cksBeyPIIo7D9OQk5y+wklJ0ZMDzgKcESkMyHKfx7E3cnrEA1s0eHWv5tsaPIfWpGHtLIK8IFlCRQc8iAdjmK1GVgX6RVoSfQB0MaxY7uZQW2drhYvnxLRx7+dCT6rVQhhoOg/3LcYRaB+9bBoMMCsgmOeVcA+9vN86A19fMwR67KDHtuELj9Vuam+DJ/vjDWk8OfSBvf/2Yp30VODZI625Op/iFGoYThFaqh5qAbsy8ZAhTN8S0HkzkFVFynsGauAljxCC5Anhx7lLBctcTc9O64JrKvfg8UIy4oaYtwVcH+X0ccvAhU/yzf0xod5AlLn0tHrXmB0l7AeAL3pMBB3xCJu/6Bv+kA0G9SpUz4QDhB5jqm9XmQUsYIyyJMVIGQe1aXE/+OtZ6XWstPSF4eQJ++GgzGRgTyCWsBammXpM5y5q9cvmoAYtGTRVw7yV3xGC9B+359UfNQsaBZiWyK2BHmtmWmKomIEamg5ovktQfrPjsXn6ZI5GKTCStwqBbbAiEZbu7FJrKcuKDfRsk/a4Lm2WxZFea8RwuDhI2TgRMsnwFtbZvZZpnieVi6Cw66Hp/u9lfFZbMcheZV9I8AI21co2JL74XBUV0P/qAe5DuyPwzopy6Yl2aUi6hIiVcljdL+nf+AUlbcDTjqU7YY6qT1ilqk9WWv4bouRvJv8323+2gmeAdD/jQ14ofy47HHmttXhXiW4JEmOed0EhgsF3/IqM6Qk2VCKSNlPyV/GS4pYx/5iOtrMg77xxPqlLCKfbY7PHgoQHkpGFP8i41UdFM2ThF02q68j9iqkMyEXoedsavbeQn8mUxCOuXMUEfVE34/b7k5FfjmEkHp9Vi4Rwcuvg2dC/39duiJ+L8CaO3CnEtfGhPl/nw0VjDbc6roDTxKPVJ5KNyG0eECWBos7hIbnjGhoZfg7VQaCq+j7iiKGpyGZTXJdSkGdPmrCT4LbsrDi/JVRJexkq+OkPr6CMUQ2KSTCd5hIpSz/vxzK7V9sBpkkz09fVNcZbZFQrE6jsPHAXs2fLb8BEQMyaKdqAc3bSEysUKJmzUOR91X7w1FSUqdiBUjRjnTRgmuvgGbK2aJ375iNAbNj8m5XClO1KOpMWBn5rXBVdFUhC5V4ao/RsneJTFPwZk1VAyKuC0TKUDHXwM4dkbHSn7oWjyUC1iEEpXkS35xmGTyfZT0EbOh9ggdEWH4FRBmHmiATXmqu6uxEXaw8v5UKy3Nro7/DAzMh9tWgnjsEMZYRAaebgHHWX0aqs4/oy5QYdtHtWk+BHB5/O95MC75X83cKcGSBPYh2KEPBvzacxwammNm7jL74yOg+c0Yn1sCQWCdhWpmbRAV5d0DJb0sa1eiLR/nZ5hU7NDjRQ/RqA4Jv5E7q8K2JxnAgoHHqZf3svtt+1DE6mwxD8oIlZ92Tqpc4vwRqOu9z3KPINvhs6b99bhq0waaqz81REZgyQr+PpVSUv7olnC31/uxvbtDhBEV3CVtwyMbdBSZ1xShMYoVBxbgaBXuHYmMqLKG6VumXAPsfXuLiwmwThK/u9zmKR9/eFPoYthA8GpOqn2qYY0KKFgETdGsvuW0Xm5thnO6T4SGnaFM/gSHpd9BufirHAzI6ASC5W1PewMmQ3xBuff0EvxENL9J5vQ0YeI4LyGt56GAl5cUlva+JLFeaoLgTdnXb7RVOja35TH/dJ8xa+G2uDUbCz6yqfEQxjq7mQwkzyTv38xsDhoU5QbWUjrehbeMtzsjdXwBSr4KHLNEiae6WhtKvkoGDqN7gNS1KL3Oy7lwE54buMe49cyMUFVuBbOvJjoqQaIHDQK51IE/Zz8uPN8A4xiKhdoa8V2P/RJJOHnr8Q9B1evLudfh3yBzuzWmL7xlRPoYPmP2f0sNBSXYdndqhllfMVu9uv2wb3UBjdDphFzMnOGJaEhSjFUh3h4eLss5QfcZiDNiaqTNPDCPHWCSVZPLssGT9+VGk4MpxA8GdLweN/H+ckNMPgx8Bi5srTkiLdzrGg79jIPSnMqqk9c4CCKEkFckscBxpLHiVTvXgkk3KcGJrfr7GvXLqAqHbdmmaKyPKhMIqyXVX/IABp+cKrb8ON53z66rpyd/KfUSJD5lPf2OLd4yxn0CMapCUm/SmxOpEBJ3LEMtGrfrMo2eh8Pqw/IPoIjkhLoYMFhWeSBOH8fugEhn7vxska2SGtpa6fgXSwnplreMvPJHR2oEuMBugAW8mpKZrvSAYIv6hKFW5/TdNJpuo3xWWWRbMph1lmd0eG5EB6FdNj9hApFpFyTeCqm/UlqF1rUESCilmOu0rtCX5ueho6bo3QkYmyqu9oVSnwadEp93H4sLvkc/ZMlKAQk8uDPpBBtslBtwmxQqRiMK8/HXeUMOfZC6v4MEohxDmq3i3nzhvd+WXZR9FErauDPzSz3P4vzKtBI6cXzzQWq0N24ZG9uECO4sq5jUXvO6CP8Wm04w0WfxZvrTRNICvbBeKqEi9iqbhSUVALAPnuI6L90ukZnrtygLe0Rk/bmDKGuvAuE4zJw1S6+8rdmos77JmxY/6Zt3wXDs34QMmKxCLTXdtmWCb+3h7OSdTgeYMIwgi9ja56mpnGCKgwh6DSisOv+sdgjpT/purYKZBe67s20k5DQqhQGk6Gm5sEtGA0tVy4KA1rNlk0Ig9r7YquVrVZi0foODXmcIPftoDj+mBNiHn/PyoyosIKYwEngvitb+OTH3hqFhQHmupv4BZvUxtEgvTF1rXtA7weY4z/XpXkFFimw+WHmxBrTRbc5NqWM5lRxKwoDK0o48l8tPo+FxxhOk87rShvGgAJs/5SmKGu9Er/LrN8QAggVhlPpOkDjljTbHEBk9v1EaLHSuIdi512pahV8mTpHDTJ+VaNjgXZ6yDieGoB4HLV1vzo+q7nZAoL9ZNYY7/fVD6Lsgle6ACaap8Tn6jX24Fhg2HCyq3vOr+CbhgGL5nHdLTKJP5Sn1N2P0V3Aftpek6CWsyRfM/qUJStxFBpYi5JQdXqjykq1x0yVEZDppOPK4LyPNyTFxlUwYtYvvh9xI2ywQjJxuYSyQlaRCT8xtXfQnBiPpY9FSmDrUT9d8ACdgIfFWe9u76ZTn7ac6CZ2XslD0gFtOExiiC8n2zXGRwGWaJUq5Fc9Zx59wmd/7fqhlh8YlSPoqhPFxB8JeDgfaPgf7gHK+KooirkNv+Q2rWIgDWsFcp/4FXcadK/tQy5lb1vy0LUYCKmxIriFNysPb4oY5fgSju4o8kN6Qxu3tLj3h7/Xal8E9VE6qquLwFmGEGm8VBrKjWbV6wX4rl9grxR+kMruSfKnwxCFklVS2YO5/+bG4Ek++y2DXGpmqv4yQxZMl47m75xg1EJBxXHCYINXgChzQyCteyia4eJRhemXU9aGBiJt63FO77O2d35zsLgEA5c4vS6esJ3Oi31EN/VWRSO8PkqJoOTVA+m437y7JlCruiqKjXY7+e2L03vE98OFuUAD+SmezPg0cx73+ykVt2xet6jVnsPlYRyGYB+OjQ6QGQAY6KnhqBA2Fq+IaaY5oQV3GBoqdCq+PmlF6gitmP7e2Ihn62cvTG4O1siqXUO32q33Qs1ROlJG1Oz8QX4wx25VBn4JBIfmW1TGg0UuEtYbROF28E2RXzVYF4s4icVepaXE1Bc0GdNHkaD0mhsJNxoJh/GRQqOH9FS2JUJTb+Aqc7/62knDm1hSSdLXtlZylHTLV9NDvBE+R12u270qFpvJxCtsvmz/bm42dtLCUm5Pmz7ITNv6pCRdPpXRbFAAFhH9GgjoHbsvkwYUaSBvx7ByWmrIQI/2pDsr1UPsmitJYBcskVbs+90Srwm8kKHdP/kKSD8M22EyfZw/zgRWJdIhgBAQcSMbhF/8A3fVayu0sYLJ260kKHNuFVdbctZHQLvpD7bqcZTq2trhU5J9wvf3jwMEo03qogVIe3XcsTDDC1DA05OoHg30cD0dSS63Om9sUtWGyfSaPNsTFknYCIsKl3KnafoEmBRiKdaSOLF1GsIJiL4Q+E10l/pSm9KmHdfI1+PF3J+CycRFcMfSKh6p1PTSuoSH0pfKGlIG/dNJThfOZit/+fpOzKpqRpFA9jfoatWvth72qRCivujLg3xIPxWVruom7Km/OofF4ex8t1g4nqd6rNEIeoiE85jlsoq8bbhyOt38FTQK53zd7QIEdogtQiv1AHatgOEO45gzoQoZbiOw+W72xoFL2HvnXRkr+nWtG++OJUv3HNuZkpoo60HJZ1VuRysFubPGlGBqZgkWDFXnMVtolwu2ZfIc3p1ZgRSWq03mSn+sKsvPpuJxvDKByVq0469GCYdtddAeS+wAww6yHNT6hNt0qqTeL7FuSJoJDSSD3lrRJfpVZRAqwTBftqP6SXzK+hvdCx7LsVFvF4sPKxG0QiK6Ybg05LSf7S2+HCAjyweaQWkczyJTri6E2yNF82u26//GAlY0WONl+bI3Or3L2oJS6h1ONQweFwGhFbS9QQHSTbuTZvRl0Wzt1sUDQMeySyG9KQ8ZkVIpUgFrDkGMclS9f2aNCp3Y0Iil0RzjO1njmSz9BeT+5HTG4caVJrBF7kZxWKvgEnNPduxtI1BOo5NKL57KJ1bhmd5TtrSxmEJsqweHi8vBuCX6aOOdSi6Dm+z8bcg375/zabisVs8sZI/p9jr4v6M9JBSatcLKeY+PVBVXKZGAsp5a5oBIJLwfSPb2B+15Q+4vXbxEzsHErPNPov19GbphrTp6TewfUo71F+OEGGr6vx1TP4QTgC8WIUpIX0Z1KtfyIX1Ssrkjx57mk4rsRocpoCa+ho9F5s7zkfZXen39KsBnvyH352D1z02zT4Xx7JqxY84oGKKykfpQUj0VzFVNcu6I87dujHfUQjK2W3ieOjx31crM75VNxuSmKv43xJyb240mC7msWtTdlxTzLhjdEhLPmBj7uv1FsJLuoLQfdbYtxDfOMjTGduJg+EHfWC0OUTWDKvUGkJ57HSyrFazviMhwCoiY5mIC36ILqpTc2pO9wmgE6Mow1AYYZtCWnMPhiHZHrEuzWR3CstPF2Y/jouj8hf0cKqpnvSDqXqssB7+4lkpwV35A510P9ewIaZnu8CAxtJjA933fdzHKefdQ0/1XWCwSkPy5EjDcNisGsc8v+YU9BBHZjiu/q13QXatNPC3omE419CrCOkJ1bU42wuUTPpI6AZsRMj7uYJygTCOAtcIc0Wl8or4PchoBxlmUQJPKf1yc8fSKOFDlM4jGBHJueVepyfjK2pxYjnZ8TjysjVXHPOkJvVT3wbtZEj4JbbDQzAlxWRvX8EVTvIqOxw7kA/NKUMJXRcnqs6CKIDQYc0vXnX/LfghO5jF31x9X0KTG1XZpkmTNPGm4p7bwK5PvO6YdYUJqBJIWIvxCJ7fugn1Kr2IbkC0oQr092oZigevlyE0XwbMrbkyyhOKqhy00K1BoOdl1B3Oy2ZKWzoiaduBamDZXMttO0kxY3TExNgUo9Jv4foruPIkM54/lAvlLFJSy2l1wb0ZKrxSOvxWC0YgzfIi3dOpg17K98kT/ZXGpbEPIXYzCPu2ZwXVFfJ/6GwQB72v8e+5OBgS2YKmq2vi3hX6Rvh2GcqWG5iubwwGsYD+K9VmLOAKfcYvU7lPRzQLY6oY09SdiPnzxB9gq/e/oPCu95lINXV/orxA14e/T3Qquu1izr9Xount94o7jzEW6alIOndIkS+q3i1V4GVr9J9zSvlajb/pIXJRWRtGfNi5VKzApu74roEJ8emuugjDasUemaXjzpjqihguO8vb2hCQCfmJgvlN7TVcz+B8TaNQrCc/EyqpkWxt6r/Epy0H/2dbJDvRKqrt+a5U0U1atutR1PReiXqI6d1x60F+wQG9GyQdigjdPg0sC0+oEXmoBdunmjuUT0r9pUiYx6J9gZlmIVujzH920xBirNdEBDdQNKeIFatfnzsomgtUXGP7XK445yKzF2iqHOtDsKNvqAY21pGMbIZFzLF7U5IEh+vIpoOsnLFm5h3+8XyJgCuQg+IvEdHgS/bz1iZAzwuZfkbA5p+rPXtNwo1FLEXTyenRJfCqMI7mGCmrGnaLGMlH7bb+2XinlsWeGuSW7APW6HhEk63YBG44vJc2Y3A4aWBVy7/vQDM03bbW6rCGZs6Treu2XC5cM7rDa4RPegRUUC5rzTIbEGQZon/PzW3lsVHXcCwvjCjM4l9YS7sH1WrgD4gaWYFrfE13ZfWs1erMXnrBSvYEaSVcCYD5N9SvBu9BqncliFSG8iOGGoTNmpdrhzcsIkKbN1VCjcDAmHQ99vEv8BsHjG16KLkwlfQdoacxbjUCTHDXB708OpXrPdvPf/Q44ienMtdP0M6Q47VhiaZJRpAM53g+gTW2GicNsbnxqNDUEn/l0gTAqOgXsDgo93wIT+0luM1JBImScsaNkTN13waTOuJ0LkYb5LADONQFooksuJe5BaHCxDiwqSyFKa6LsYsHgvy2BXmSf47+/WwziYgjCRpXAcA3GaUp3gw1/uLOfAO4CrF5RNXtFUZLvolVDx8xjDpeZo7buTWkyuys95ChNvsmAJEHNzQuk+fi3azZsRKP2zsOU92ny6d0zVuu//rf6dM/JiHk4q86cZpWKPcIdAMDDZNWvCPdmWLl+NImwK07zLH8osqnxrURH6QoZ2eFQbk1+ihKerlG7L2OMzKfRf/Sa1jzLeSotD/hUU4ivJaL6QoiJhv2DXaANRPuCO1IR4Urn0c0xKufd9WW8YHHx/9Yl3f+Z/aJ2SKErsNig77zEQjF37P9piQZTrAguLb+TiaHDeuLhBOFAGqzzl60IonfgZe03POeMhMnmbg3HKZUpbSdeyxnWv/Ascp+ZNTPR6e3PU0/kzW1q0U9rKTBpj+xArw1/i0wcv23fFGXj9EAsL61M2Q9p8VEiMHK8CiDWc7Jl+MNde6KmqyRoiGd98jfi3DD+XrDd7VKkshV1kbV1AVPAsj60W1QVtVlvbeHj6ZckWP3xGZnwzysMlCpe78QOPxO+zdcdzhcvi4A6lPo2EMc9+aje8fKAEyEcgVX5xr2EDpSOGpXwHpxqVwhd2+QNKli2ebAL7AP1J6Jj6nh7Ux7J8SznvH1KvtdSAJAI3LSZ0yLdZgxnlHQ8CZDZOCuZX/ijGAD29JKxisRmObvH+tMYvMDOJ22rdSKloDcdmoaVcNmoils9lS5OfJcwS6w6yfktKEnptchmQWISW7Fnwf13IxrT6tgAvm67hkaOpGekju2eipUqLbu39TJHWQMQT/pDrlcKfHEcOW5aTJoDzmbZ5Muhak1CMfwyYgIcPVMb4QWeIRyr7fhdQ+l37K2dy7yFO0S+XBlnKEsplDtXgfF0IHK7c8wfoN//vcAGvc+5QgZyyajSa+Qrx8AE+WiGRJgxTHaMfE3x/j7SQPgSS6qbWaou35rLPbzO9pV47EG1iKcc9H/g8gAzha3E9i37v/cGnykIdHUpVSMhG9qTSTPhG356Y9l0u0NQUgVr482TU4v9uEjlwlK1FLbdizMPWuWAcMO0Cxc7LQzqIIfeImxdV6HlU725pogjqaFFMQxLAE85390ImGJwymfywJvcIEdyg8g/4snXksEbF/7VOe0mQ1rKXSIC0SwJRjxXLasmys7CP91TMgnQgBvakCxW626HAy5Vn6ILfirQaPDunrbC2xcbs+UXD79r+3krmMVOXYEg6PdBHrueHJOEdp66uyZKNYxlzJOTDqgjKRpexpthe5nRiW9cu+ktiIN1LJ2lOybybTaMxcXn+I35/91sPWTjHqV4ham2r8dKDoH/UjqagiE21ToLqTJBoOuY85vh538CyjYHL0IgLhJf+Yl7qf1ZKcX1FKJzEloGviDkDkp2uqh/724g9dqsk270lh2HT9myIo8x+uoqbbHPdhGEQ2fYgUHADtuhp4eHMLxN7VduJICgf9uDaYpyWm9JO5eJ0irPgVzyrQqXBaQ2CFU8a5SDxctjrjBo3ltI0/QQ6E30A/obS2OMYLh4M/SBc9qzkGFfRY+br9icgwD+20A+987opeiCKqv2HsciPhN7QJ/wzD7yB8hdi2kBq1PX9iZYsDozRl49PenjTMfquHnx7Kd/iMtaQaUETcSS/C3KaaettTPit8bCQQv35TAnBXLV915pPSmTOh7d3hXcNu8S2iZSZVHmw3J5IyIaPkS8gnrWkVa70EW/1gCFMX4Jmzmed61aO1RFH5Vj4C12esYmRodCnY7qz0NTKGSWwzqHd66mi+Lw070c8tdtWylOPblsyDUxPaqvE80+mLvvj2ofXIr81YsDWJdUX7DalYApIWVFLx8W3FmBw3/3K3sRmfhh/2AHNh1DydHsNomQmwLMqdOFedlBMQQlpg1zVB57ZdVPTT2eA11fnRfJxu9javGTXsCCNEjeJWzuJWFB3GLhkHzANW3a5rkvJyJwdQV34bEfjQNLpgXKN+mGQQA2iuAyoRnFXSjBxYt7K1QCPZ9zWt6M2Oj4b1c/+J/klQ1Rzajh/BvbtekleHpVE9Jc0rn8zQjxUiPw8YA4d5I/kr5W2VFAhYIicvizvgVr80+YfiLciWeWraKMu1nBeHi+fWL3nT/M8QMMNMJhb0EZH7VlFeVzgc9th1AhaO8rTgJynVjuplCgzfCeqk839ZYGmNe4tCSNJ2F2qdyx8QVWCX6aVyNEWjL+72AnsyNVTTiaI5N2k9GlJUTiY9p1rKYRv62UC2Dziw+pgS8axLie1TEOmt7SNKaUcXldj6PqdShZRbVgMpN+X8QZ0jSkGe31Rr16/QYEVZv7yzGcdjJCNLQF9tymPoS8oU504oP2u6yHYVZSn79Z7BTZ9NdrpVETJmNELXWPCRsdFEfbq6LL66VYVsXf3+wmZjf6OyIq9SDp2nr3ptI1HQcRGW27kKHDjZGqcA5mq5OcqDWJpdO2wxXVDhMfFE1aL/qMK4BtxOATQvYU0S1mE8QQezLR6h5t9UCT/vyZQ8huGstm3/wUgJ/4r2/HvrrKzpslLjrL8fLRsZhdSkTorhDWFP2C9sr3DXSoMAXaXXT301hqhVTwdiXkzmuxbKPAOkn7H3uSQvJaRTyA9Hk+28H/+oFxc1S9ttNRLVsjYPdzGHTYsWkAJJmu810YMOpDmHtypgSCrv5RukNJc2knUnCRqaeT+LV3l92NHJOA7azhuFefw1FDN5F4dQyRSVKpII/v+WOYUDoZIg8bg1fdFZiZF3hMsJmK7WieS5J7eGu30eJ5kg6YncKiBYmqZu2nY7pCd8Ap4br+YbyB+KymlOkK/iDIxGSLSezZweDv3tcqQEUlKudg5Katc0apI0m+/noyR5ZZWH8z0bHJF3T15z3PTo+6k2Fuood4TuG4WB7p5lTKvq3MPnVj+xBSS3HZaNAzwqhjsKm9+d73MTwhKZL5Yu5uSRw3QA+/k0/ogi3XvBq80O94EL+WfZIAXvZQ/riQ0sc9em59ciOvRBiFeLtp7e9EtE2Ku3MMmoeRp9qqdWZ2Zwc8BeDEWcYjar7yhY9jdyKkZwKuozpOLzO4ZZmOMpw2sK0/pJYXCtiu83IdKium6P9uYf3idEp8n7x8oXhj+W9fDC3uLpiVHrm+j7q5U7b+0bVDbgfvLcOIb/bgkBuf0DrkWLT0yfLj+D/iqIEoybBnw6mjKcr4mJ19M6Ao+xcfuR6iCVb1U4JXQ5mAARSor+8JRM9VOImPWiUnoUsJrSA9mBSjwdX3toWNXbCfbuNzQKn7QET6aZCP6nBMbTaArBowxvwVPeODK/QBI761yksDc1i+aQYRE32vaKMeHaqLPf6LHQNgXway3vXcfsbYc35gSjnEY+UEZqP7vFtucBe/iKBpra8FA1G+9Ltcw8imctRDJ9BVXt3P5aapmNziijuZUmuNnUWTbgKD08Q65EmR1jEWde9ETKp/ZnsX77YFqvz/+xuLA/Olam+ajPr6ZCrAyHIo8J+auRIZnGU0J7m7PrG86G8HG+/bqWHZXOhUrzXLCp6mmWDj5Hi9GfD5L5aorO90XGNb43gfTOLHp5eCFHGstAGTvhBs9W6eDiNR+x/ck5QtE4zJqpOVBASPUJXC7A0tbK0Fa+dAcIOU/ntdxGqBiDYKYKHZVyq98g+EUp0vNTlx/xKQikYKO80M4nERsKOPEWbkITBnYrbiybCnB8d7BLcvIEs8AZ/x3bG1avJ/G4p73JnJruLxqlflXZhIgEO185qfRvwnIy/33h8dzCALGNciosnisqW/f1IoZlCqiU13s0PKm56rXOAfhuaw0N4hXXePSisJvb+LxuooLynYncchv4iQljIXKGnBD+5I9b9CspRyM4ZwDXBTi/rtEg95GhS5l8vhEkF1fNYiNlI+iL8nOAPrkwRjpOAqqoiCPrj26fcPQvhxahHXF0AZxVBz+i6RNBQK/Z5OIfOJQZTagVuV7nxs/0OL+le7Iqd0+DqwM931Qk8ZnTLqs5aW+eDD1dziQJ5KmXFOOVrEUExqw9qo/u6094VPA0kErnklToN1laBh7hvUXg44B9yMdnEouIIOX96tmqr+q5gIiBk8P5bEO9/YOWh7/C5o23IA/Wr0+iTcx+VDUc2852NtQKELjd3epttWJ7Fdi8crmwJcSniJUx0cLX9Wh+Fbk3PG7WooX7pWmh2fSsM+KAyUNaGT9qF5TI9dUEMgNKyFBS+td7NciJeIL9lsJpmuLwZDmDo3UC0h5iJ426AuDm+MKTl9/pCu15H/RsGi8be3DEz211vba1GwfxmrX/3RMRo0K+Zt94s3av5FALMTRyiY0DWnh98RgbBaBQ90S61QrkjjDO189weDKyZOTF15ULH37OJEPOEqQawMKuY0XoHxXksSW4HQ3tkVEzMQU93o0iCZq1AzhEsEZZ2dalPCKHm4nAFRLjtw31FrJFauMbkBXdr6Aefjk3wylvJyArUKosTImZUxRBfNtyyqfgclHKkyyc8I5FoLwTsm7PbkpNKAc/8Jcy4qNX5CBsnZTTKN/qKZfxzPm+/AEDYyPcarE2ZxTGBAtcfo2H1RnYBZg3xt8ba6Cjd6OVA08vGs4yiiPhS7XmIcwvOa1QQ7IX1MpiKz/gAhUYzcqUcOdvwvA/4lusMYO4HN5ezTwYJ1aItat2eopQbwomq1CVbVHmLKQpyiUbpeSKWEK4LBJ5q2C5PrZDF+bX/0EleSBgALhPfSMMsqbf8Peb82HLmnwaoc1aNb72D3u9/pV8mCpInf1P1J6kwSrXcWebc+HvHaC9R8UbdrNu0EYpyYybtW3UBk0z5D7yFMG8T65Gg5xs5IQ3FdX1uhIvQRgfv0X33RRbnkCs5rSXl8q9h8KX/1B7RA3TO9UEcgP0A3B+Ymy/8sKwMytAQl4AL1gvt2RdNjwhuWmc8R68o7QERDBrmHzunWO+j3sn5QZfTWHaWAQr41sdgVrPkmhlMKDe/+G7k4GO4Wk+gBInqCwqgYygk5ZxmV96MTaP0pqYt46Be9cSdqtALNLfghQKIkt6ptdX+nCAYWrowN6lQ7zDt004pgFEriVIaDluT5nKTXwzsdQ2TTGZY5Jv5Zz7D+eHQFVToBgBXfMsBkg2+fF2Ac7xtfnLkf8OqkgOZ8Y+w+p2YCdd+0HPyZEEL4e09/ODZbOh8L47VmNdGdvCarATBBEB8Rhzy4VpJEs6BeLRv/JL0sLALcOE47NXST6yC4WpBibHFIuAQ3khMwCGHrLLCm0FGFbqgn13/60FV5hBk3aHag6O0ng4tADjKxNsVs4d0eb1Ozpxx0QxGalD8Vmhita4pNAMeBwBgArsovb/PpsjsAzAVupcVV8UOmf99UkzCkLcDsuf3Hb96z+sVTnoqlLsfUWjG+6mPRgLXxJZP1yAtm8xjtdP7DOgOrhMDNevN3S/pGbQ/QBeJ2g3F+ICeL19dc4/J5nokgaoC2A11e1Jy+8ikhettlNCF6okNukiiF6A9b5IgNlz/fA4n+9tvXjLUfAuReVzfHoviILNZ+mGy0Y0BNWg7NKtRqXy3rL47G8TMtcqdxB6N4+Y7zKnCPKwRbR12tXOtjzbHfFJD+TfqV37ca4gMSxSn5cZaCqXzPzevpl/PD7zb2iU9YwzW1W0mHcII9JkUzfMDCeKFDRVM1HeQetu9J8xB4Mc3mRy5JtcRpP9AePOGxOZS23ii6IEzrt/nap9Y6A4iA4aw6k/xU9VKNUwC/pEM6k0kjO1DxCqYZxBc0AAG0XGEHHf4AInYfpp8pgQWfTl+byA7gLbSMcCCRrhJ1KUqdmixATc9tuu1i2cygPFdRkPU3x54uhvqXiPIO62ZSTUEc6w9lC0wFp0/6FLsgLDnltM1J//p7TGcMbio7VTsmRzCH0orvyjq5bp58xMi+j7srKZC9WLOLGwK9Rem2qDQggb5POH3OxG4Z7lL8CUiK7PIcGp4vyqLwvhLpfz9d/1YeFt6o6BwyF8qWexvsHC4khq14zRn3SBGJ3r0GMPs5QYZ7mZB/pTjHqwMW6ovT9uY8aJyIe0EG5WExsKlclV1IYfgq0UU6qHdLXK9EOzu+uNo7uMb4zOJMtVjaG00WAUDhKu8OA9LPd/VRsxc4REAzTDw7J46Eg+w02zOowRnZqOk5a/h1QX3STagk8grT2ek6LC8NyyS58aL+0c/txpK2JIxhtXQR+3UMIl/rrfQxvgIEdmS1lGTNSSpurcSuqw1VSbWxROHZcwGECeDTpYCI+qwdsCy8QQRfblmrVpPygDoNS0LGKVsCS7u+uAKUMCds6sihiVtnWIAScrqllLnpNVY5D0F9WKvj0Ydzxudbv1ot5GnQxxs3K/Yhv8l6vD93T0iak7CAfutbV8lQrTKO01e7DZuu/iQ5a1cqYlMmLc+cfU7xl22Ol/oFV9yNcCjyr7L++lD3A70equW/zGy6kmLdipSLP0f3yL0gbd7YpWw1XKQey5Yw/Ecfb6CrqIKDFnrSIHJpulWIcg5A7nj7e4bqKSnwOpfqAmLOsXda6xd4LQNRCLX3dY4hnP90ZkxQPk9lFyfqmEFVTHnt2W4Kh1ZN6Tt9PlkRYr3cXpPdQkOgQHvu4hzHOr5AQ/kIRR0mrPe4tGQn8YndU91sSQBvLqdKTNgH67jFsZEm6tz8+J9wVO4flRCQHJPnykEpty8/7gtdCMilPcnLcmXxzAss5/2Cl4PBNA8FDdSsEcIRbgeHPLW7uAoI+YTAISEXo4Uf5qvSxjr7imBg6nZyz7JC1+micrhXNiHZz4wu1DrK8KJinQ3qGXY3T+R/VciDrcKBbrxbAiwCs6X6ZBTX4GTLXxLDP2xrkqWh/hn14HOf7XN4h+F6ver9kNqoeoZ7hP24Yu/HA28A75E7xLFNx1sPvvqYqOqm0h8AKZA1wPv1aWb+olXxmSbFrSIaubUT2vBj10X6GMQpeGQ4R11sixxGPJ6qH/0m/sjtm8zRD2GyFkLbQviH/MhSNIMPi0ghxK2eRgHMyC0qPG3zXkfcdPB0rWk9NjldbJ3ZIHM2F/YxdvgdTUPdHtFDFjiuEQwYU4ZYwT+wAFB62H75NtLEMe3fOSbufZ8MhunFxOWI9J4U8Id/fMT4h8r3fHnejzMkvrxrhAgi5WA4H9Q4lTfbbA1FPIRQbMLNmayjWsYoiEVsiSTsz67KRD8I1zMIYQcHGc1oIoQ7RRrDD6es9P4e1ds/AL1MSjo+LO0WOV900mfvDSHU+OYwROyYUkzTLXC2dgrPY2uhEklBERYP3n3VHVxw5kDqRGuc1r+SI7JtjpU7yp+uUQBeP79OhRaXwPkwjt9txfrfVFOYkYbgEwXSDCFjCEGxWhEedTFFPtlv4sVJlAjFrUjeEX7yyKSwrPCJPhQMqhwqu9o0HvKDOeOAZV7IgxgNJwZbfGixMG3PdCYJa2OjOrrz5EKgJE21GeKfPhnmFANlDI0HmS1jxN2Fnl9ioeEXot06ZgZma58j5EyCZYGQhHFeoifOL3uIFBG1G9U97iUvw0Z7TkMaFaK4prSieKTsK6IuMs9+JJRNC4Evd/4iPODCYgidH5YYQQ6VzrhuWqJCYPe8+HVHopEPu4X/F+mKe9RoPraKAK04ENSIVe39r2FvGhyc5XWqOYQcmdzhqX/8vxcQfvhHdme+LkSKDxZV6PWPci6DKMfHfI6aOOmLjIxzvK03ayaTRsg/Xvpz1+cafmW5sEBorchZipZfDCjJHHmT2wCtT+wez1eXFOyFZPZchvtIjAf2Jch4Dx0kp0sfTWkP+R7P2maEcR0TwFagTroYnwe1mX1wWt9Sv7Mdg37QpvvUpZbmHXC6XA8uLDG39ZudicdpWlN+q+Z+3u+9kSztcjOApAbOaK4HVOdNDvvELVybtfHS/bRMnN1wGoeOnijgwGtGwFzdBLICTzTXeUmHkBpO4uRcMlKFPBpH4j2Nv0MVStzY4hGHN0p1dZTyi/Mcha+LFvONV/ljBTUblEGBRdycgEVeJlqxGXQPvGLTmLszVKzyyzdG1gsLR1Z/A2APrehv7gr3xKQhKmC7YCoztKNerO8hi+Yj+hGZYUSdBHDoRyCHKJXOGsO2/grMmFbf0OlCRTnu9ki18n9TypVNhiN9Hj2REaIJO+ahxexHx/dA=="/>
  <p:tag name="MEKKOXMLTAGS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BAINBULLETS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BTFPLAYOUTENABLED" val="1"/>
  <p:tag name="MEKKOXML1" val="4HooU0THZk28POP9trq+pbTvvzd/gcV8t56cq85kb3NDTsUhojRA0EsgEHHMH7oYP1SYpn09ysXVivguJdhTvfyVMsBLTGvcX7WPTor/CmWiWcfk2RmY+GE6Q6T90sFUr0lg9IPP9y8umrse/9AoLT5R0GKq+XM9pr/aTyOTf0wptcuHbHxeyqBm9svU01qeeEM1v0hpSHUgirOnAK/wuoDEJbiJhIbijBWlQuGajC1jcx0pBH+Rwxh7AJAh3ro0ehSG+bwiCwfpZfdztiq5tJUX3jPzxAAu04fmfz8Cu6FBpugkD/m1zzFceCZFe8P/M6flkWyarYmcqQk+8LlFVSHH6ebwE6lnjeps5QR37mvRNgSCAiN6t3T+FTHd+5Y9wJO6710c+eOS/2Prr5UrqTRHX69hQ7MP1jK/40HQbvs/aUoD6KP2b9iPbUs1mfTyJvpv6nOuTYTlF6OaAGIGzqBaUsfzuSMMqMhZMFJPxf8bNJZzjfyChJzHLrn6eCmbMGia9WOLcpQZucTnSZr04ItfjFnAA02CETOZJ/VXRdku08kGiHBGxFVUzDVKAHvipvi/tH4XHw9RGjd/HxySsbTPQIccCu9iHrlHCwEpTz1HNCZN8g8A0NeGIQfa+56bBvTVpxMZAD2Fe576WA3Q4CzV8R4VE/DdIIIFfhgS4nJYWcY1wusj70KPyU+86jPS3hhGSg0ROWjsiQYKKioPK3ZKD4fgY+69QGxUqYgfIPvzau5Ht3+YE832FxlJr+tPmZGG+3L1ISlEb5vweIGScvjWyvTOnb3fZ1LvyPXk7uMvfQ1YGrdTutfEiaIGB0ewPSOgVWOgIIrHVovMA33xHwgZe5YimXET5Yu3tbUQhqt/MLI9e/lPrei2PwlHC/vgP0dYf3B4m1gdbkdwhPenMPOTek0Gi9qwkSUhH0oOo3MOjksFBUh3PIauxlGDhq8Sl9Oe1J9KFMDVuxxmKcklv3cMDVEQr8Ggq6mmIma8GT3rRxrCFpThlLc8pNDD9xyrsV7kPyq0TH4CO7smF5si1L8Xwv9mBFo2hz3XiVNgLErNSOM+028ofiIKyWaqg7nQFqhTChxXMiTEe5EvljI56n/7QSWZgsvMRCrtZZj19sxq5mLFvnBs2IdtZg3oiacxhGXNr0oJHvP91VJu0dEosdhpqV7zNoXln/ZvkhqrvoWtNgw4DW7JzSdq7C2xFtQtcSTRfNaeuNtugSPjByJTwmCmGzWrbupU+tSguKp/djQvKmgUHrKdZ3Ul5Kfd8Ai9Kb70AIhxQubRkvOgVNwshC6aNmECuK4/IgqjPcGq2mJ8jSCndsTK/u3DcsGHNQK1BGr1BxO/FNzqBkVO47MJ0GNLmc3gbjsJvpO8DS1XSByeVii+LIVsEK7bQMo8E64sioTE04ry7tGywh6Ax6/a9+YWxOQZ/BKC33A2lziN2SMm2bGFJmU9EoJAPwLtXi+rytq3z7Q4x/uJ5UUxscw809A1DiukjGmf7aex/f4ImZFKbb/0Vaa6TnJIbG9G8n+RBNDCvUxNafwoWFScNXKP9ee4RfvXoTwnTNH0ZzRCN2abCofxcncFIYZtgiMrS14Zx3Fa1XeN88qNvYC88/AYagr/c9jPjFhDPEkdzwGxEdTYi2lNGckkVD3AM32f2kTWGjXJJXwi8dBw8m1i4a2d7FC7CPUCPLaNv/3Svg52jHnR0PZ7fThhOsya13xZbMBVmUh33JdI8TgMXov4v6DnJ+/P1HJzn3TPSEWhFSDjspD9HjDnr57Mku8V2HfG1cU2PvZnMCCP3WKZl6xcfvlpRJVLe3PNr822OzIHJnhdMkfulwS+UOYr+lNVnl+H8QlwvgwRMPKW1ZE+cE8tcAkCP1G0rmAUQfGTJImbJ6zFebBQwDYpldEI+FXgnywfb/N0XXIbXfgjxSVRqUAaAkcrSPf22rHcF87sW6rC11w3M7hsfJbCY/wq6frXIqhRcl9GTx84pkTvqGqStD6qrLarQOmwLjcOa54OUnZfK+6MtkbmMEqnqs4ymt22EgJP711ytYLaFfJwKSNO2PTnK7eNG4Fdsuw1lPKhFh8VqxDBbDB4bpnIqYTpxfIjdQihxoaIV8esmH4CAbwmKID1bxXZKrTF235UlKoIdK3zeczSHT3RftNkzcLwQp0pWdnsPcUg6I6u5hfVNtxB2VT/tpSAldVDRQmUpYIh/4cch6rlIybmhmgy0AkxJkbdY686CSv4HzORPqvekFQGTRphjmo4kJBhS1Npa3PHKBmaS6DtyZh7sOTyXrORN2W5yjz5x3DS7bGFOzUHI29fJi09S1238jaqho1ZECTx5hY1u3Sre+KRY3UETiTz1VlcexBn2kCd3e8mSZb0nkP4GWWTgXSWXZ+p69ZEewVldMHb8VWTLwrPtOHHp41bFMOISLh0IREWvR9faQ1SDtnXwIbmaTaQo8XKnnbGL1zTZF373mQjUrdFlUMi3DILj4er7ARI4XxXpckVZjF+h0eIX5JSjG7J3L2NebPUxDLgVNbWmldmzY72ogExgFx8VBOw5G5rkPWUFaZ8R+3lwmbue/vjP7RJ0fY9HTjDBhLcB1PTvSIcjmuRY05Huc8Kl+kMW06Cd+BIfJbtZzytkIdRd08A/Wbij/zYG5pm1QOozyZ4S4745/4qEKmGlHd/sa1tJdQkDMxcFwpYZUzHeKwkByDuO+7QwIHvJmfzE5Z8bO0Oue7smmtA6kxjv3BT4ZgilwgC5rVaGK4//tzTvYq8yISfCln0JWEtAmLLj5l4DfXskYCNULe+kcm44uKlD9EvC4um1MUjaXvLc6G33xM9U0xyu5GFw109Rni1+dajwRQQCLcYnh2yQK8QidkB+LOUeQCFbunZtftte+ymDwUPNnxLBy/zMQ4bCUDuE0u7V3BDidcAp+AisC8XEb4tFK4LaBb5jDUfmuz2NdhAGdluRiGwmfAYIV4Di0YdXo5CL90i5keIFUBqudYt+i8/HoDIUj8zMKckrJTWTazDTEb1y/P0aIJS3Bx/54NNq17UzAXq33d27TmTXN1fVdnS/PKTVeIYv1QW0gl6vXn1Akthj6iTwg65jBLmlmJW7sMpqCzJ1SL5+1K42SDzzigcZL1W1LFRUBqwE1AXta5A/bmzzLp00YMUfngVeYp5xEgewH/HTuJbQhmoUc2aGl0OEIPaeTp61xc+ZZGaHtrIVObh73ZxdDKmMuc44OxnO4N/SN3qQgg6vseGKHDiZgPgpsimiv35ZMfRyjZm7pHZg7BJ8Uk5aKdw9W2MxB+McRAdUD3wgRsjjU8n7KhJO8s27VIR1ZvTbhaAMmwS7CT1YlJF2PBP/2FyrPeGj5ShaMvf4Ku8IHHabhvfCxa2XjX3YxNciumK5PlSI7Xtuq69BstVNtHmxrqsSCAeykOADYYLSblcTwOVUUebqOfMYmYH2xakN9tYk1O15flyG9PLt3eCRFCOBRdsw/tJBmbUdh5bmBiXQiEZoluMO/z5KD4KLr/vYC7bJ8h4W4QlQCqq8d5tFVMXdAVd4lAgekaxuvMsK03JCSlAJPZpapKJGCdUwiRcHwyKRzq8sCIdzqzmNOwPT2DAjpIY6jxn7RXBBuCU+cgZIndpTJOm2wtoOay2wnhQHjXOofzcP9qegRmJuveoAa4BNJ4IoaquUixSlo3NtA2GSPkhdXMISRCCPqikY5IlPSIAAmpB0xj+Wq/gPCCc058ZTAw233mEGQ1Vwsqn+jHLwdKk5VK650zQ79w5IYIVEOpAHKz7jvcZfjwO1ED0dLWzQktZYASYe/8y8dNDF5fn6aUbdbI6aFYQe27lzTDiBMBo42Tmiu0mk4ue/ZyZ9tMonCPcM3YtOFybsZx2jFFgSqSAa8Dqcp9oQcflQYvZCppFrNqCsLPZZrufzZtXhyzeDcqKnDhXha0KD0hxEoRncArUL4cZTH/SQ12KF3Frb49iP7ZGpP9TRKZSFSXZrTtZZIueiN2g3AddYIrM7XPG/5AQimFjpbulsO0WIpQmtDzMWNyEa+1KwiYpAegxbbpm4PI+tkg6MP0x2IvXo0IRDWn7Uc73z5mHVCW8o7MXi9SjfBVuKCE66OhGhf6yNd7I96Yq1lVrhLOSTJTsYeN1F60X3WPZmKr0XKVO42F38//AmOymtycn3w9T0jyypVm37ZEjuJCKyd8m9EuLml+Cxo1GbzCrjH6BqKxwevraqlxWcMT4ebq91IbY0BEnKFNCzSG5IR82LZ40kq62RIhBbjPLnxnLqCBOV0L8A5rsWMi4Pp4gLZdf013Tsc5D3FbDIn2nlG73DdCW2u5Lc0PMW2aJlPCL8EEszl3D6+CbvVMycY4Ky2pf4Nkx2971srEB0JCBwTM18wWaiQ8wxWEzJoFofotgp8z0HzU005zjdRMoJPLhPWNpONXl1HzRq+CM/3M4BEpvfHvsQXTdEog2NLEVapXfTAGXddjTZjl3IcQMGdlAJfDSGFlu9fyZwlvOBjE43i3c7Q845/pwAIjr/kqfMRN9U29hhFUE61VztNztWKpTrC9jF+AU8nK5LBmXTNERWE5zCvzdpPgE+gZtstKrnUJjsDUEFElkbQcVLyF68N9FFQgyQrsU2RF+JwN6RPpbkwft6oHWV9b/97dMTT76FRN+fO1sU/FsbGAClCCv1/ZJoKlwyD+vT3vU9YFersaLP38G8XUh6pozPds94uD3RuzjZm3EthEoNDTWFPzijl4Y6/2DXBg7Pmqzq0lFI2NfCybuKQAAdnRJwx2j4dE9QXdR1Ey4YRCIR9u2wrxEIGhfWsJzcEnqjTbV+N/WZSiVMUL4jpmGahjPCDffpgjsYci/JQU1xNfYT1nTSO9zItRJl3hosMEEBkYadj7Gvw8Q8uUIx4lf8jqCXxMOdZNE4yYuRCsjDQUIrAwKbqY2fouT44DlL0nPA+6vftlNLbx1kvrYsq40MaSRh97gQk95VIMlqBE751FSX8dpjQAFCSEj1nHaYV1ITiRPsJYunRtdRqzmSqEPSUHziABt23arsHuvOD1RBwugoQFvkugxrbltK//9S+Wn9hp/JbIRlTqMyrOrBwffcEsp1qqt1CbkrXewg+Ik3zoIwQQLqKa8CaF3wh2D68bBKVU2NMnbKkDu5KTLpZpYZ2B+vZmhc1PPddaTK1Mnwh40kG7Tom/ylRAgrz27LATIsla97NtHKahxeFR+xLPzB84n1IbaM9SAQhCeAXBxRwqO8OxeBS98NDkt8NqzLmOn0m+udSddTUaTGm2cTEUFD1WGBRG4xHW0Vjr85egLNP12lZziTHcZx1+gWLLYurtD1662lUYdg8TXZliz3O4p1nu5M5wtJZeXMhzTikjUv/jWlUMV/6YLun9GaNHrbB1CbxYMpVRvXhn+l2pm0yEdqG6kQbp7X80ystEoz+AJoRM+O9EQTxg/kbzogeNlM/S5Ppg1rqD2RXOf4SDu3WiwvDDmVPwrKxeTxWW0bOnxRRY0v/eZgkzCKslrMtNe73tctm/YE3o3PrZ1dP0I7ndDWX2pKe+pJ34fLUNmZnIIgaRVGrBARHJ7RSRPTeYFbSZZDTv6BZJpufKJwqvRRrE0URDozH5+8gspAcgNlh9z37SwVkUNAgOv8kcNiIEiW8YnKWaiutpgIBqt9ClqR0v05cOxYbnedIAwmmd6UKb2mD9bxHgiY5sMIrijcQ4GllPtxyK/ZyeyzyHREKfI1s0/Qw8HYT6IB61Lv0wqqXIc98Gky86qW3fihFaTupx0B63hUOZ/SXA9Jou7c23v7S/xa6fHB3/2V2OCNztWFCmjDKDJq0FiNbOR2NpnawOiOw7PN9Do5ZIUu3Or01+JzasC/HNYT+FacE6PKyNdNSQObuoq1raR6iCZP7XLHnGj3dTn1PW81hut1Gi0Bhh8bRlMiKgRbRS3E6nxF9KUjkj3iFruQ10bcXncp/Z7cli9Rxuud9usE66PIMjOh4PiTT34XxQ0HCUj5tWKL+I5V2LpD/IRmaYFqHtd46q3BxQS26kcJCxLxYmbJwcCxDa/3V1yhGD1MLlat+Nx31d2eKCHe+wwwY3f4MyZWTdcfWtsq514W0JXoUfYOnXT2WU/I2lbtDrSO1aKcKhkTheiMDdMSxDDqNW4PFvx4cC7gtkh8zsY4ds4vlH23AF5Vqtz9LC4/3T974zHYUxSqOCsxhzGuDhsNgWsfu7hoQ8NhlBSkpKvdQY7LAqlQNzxj77OnOda1UL1qpCY1S6LW/lSonp0Yn5B6i0M8XkDk5q6ifrrG5p5aUR4bnEe/5bWpdjNy4AXmhftZF/+MQUvvTjATssEf/V/kXFXlJkne8r104fFBGlBO+tQoUzvR74qfbWpDri3UbBzC0Le8U0CQDmgZL09dEJdIqyF+8sHOYoaXBQH6Tv1kvN2CRPxCQUal+7pxMZHXTSbLsihjOxCZZv0ibaw5rOdMMOZFvS5bVQJs1g1f4b1W9s8stZB6bZQAvTwGywR6uSfp/yHtXTJNaMUO8QPliRfMDtc1dKLk+xVy7zTRfbrrVqi4DLCcSnpJs783qfdkYA6XW7IKqlzOqECoQ8E0KGskQQbsKfM83N+3xXgmEbcs7B/LTOU9aifrdbMzeAXxuF/1pw574Y+Am+e2oAex857S73OFiFzO1fg4r42VzMj3AyaHU3DsoZAwkS3C7GTiufB7iKvdr9+80YTH2y9gFR5yi1mC09OzdovVSrRH+F+rnZk8XugCtnMzslkysKCZ/DA7QTC5CwLzNOXu7JREbaB3VndOpQCh2XFvyuGFGmdhWC392NNMbjahXLPGGur/e5bigR6QmLzzjly3nPsi10cCgO+5neW+MdzTyv2qarbOgCTKJnR8BvqTF3AtoZ0bG/NO/mkakGVho/cjnsRj+7aF7+i9ESWWmHGDJ1LHxqPcMbyFB8P0WJamHSbzXkZkimtVRYbTg7ZMyrJ77+GxCmtaSM2ZGIleqt0aFvB/5Ink1y21cZfvsqSZ3vdV9xFJPoyH4AEUO0Ya5vYYPzO77whoiBrZyT5DD0nQ4kyB1OgaCnG+R/+tFsGE2Rpkm1MK7vQkYjbfQxmdfCNocYyQ21Ss+1n5vTI4iSTu3Raxih2yyPLd40BFZqi5fcYUf0/+qXD7WUtbo1LljgQyL5eURDkl8+paSqiKzppX3u5lDx2EvyPjg9Vm2YzuSvFrAEaTIfo2cBL7rK0D6rp6i4OlxzR/BvqI///M3G8fhiWrNtR6AO5Wu7DGqKCAoIFTKpBaTXdN5GmGMNxHTXCOuBJUs71Jx3QZu1npCMvJpLil73mD9pgIwlOm9zDjBBti1IMtaRgHWdiV+IemLcj92xs93N6eYfJrbOx+oJg4n8eZMQ7aaxI8IXC4scvLvBTncyp6pw0tN0TOBEvaF1lnypuqg2xASAzFkdLT1ggv0g3JHtJPbT/0UEZ6AzH/CJ3BbAdLqRHFiLdQE8iahzy/U2DXQumAE/3eGP9AD6m2q/njH9RUQaojbH+VbOBkbUUPCZY20p/8AIsBBsSUEOxNhoAuRQxoxjX5bGHmz2TeD0id5jkkz4PMCcLixUauDM9Z3nBbV9hBdzQQPPhx+TMCAxHnb2UwK1BjMBIWNTrBwO7Tf2DGEXsu8uBG5btscjxXASUV/w/sPKIQsmxyKqDym36Tx3M+nSFYnGMx8zttfG2VCwSr41xBZr/Rr75GYRXo1TCD7vBelxBbD1OxDt3bkVl1ZOijHfFhozDPqLcroC3bB+PxThGkUnYVlZuUlyOwd5sFHBCGcQLY4p9taYPHf//SjgTHdyJ+eiwEt3pGpCK9CFJXW9TUyPHDA4JBY0qbMIBo2wepN8S65KNh0aX7hFjAtexqYQ3Qw65dVyHvlJPntXemBMYS9KTIhXw3FjNk/EetFrdxytN6JHQHJioOhlULMciLVfBtkzxE1CzXrBwlF8dZv52Apo20FingzUMAtcigAhK/kVF28gKjYJJGsZyqGJkwFYIOqaWX5LB7Fuvh7dC+vm0qeopzYcRiyAsEMXKUdPHkSHN7RmDyQjZAOppllyHd7h5+4aZVAED7SbPSDAz1S5A5IhcBHCnRZUHsXo1+CRzdzRksRsHdSfWsuFv+mTVII6J6t24xecVwPNvLyU/G5TsE7TPSzQ5jWVc9YuoMWO5sQ1+5WHcW24jy7vUncsn47rtckJCD4vK7YavSL66CBwxmyGNQpG92aOQ27s4dT7WtOkHm5XdhjroE2Ilo8fS7zgSxFJqqj0iW15I5+kHCDqVRucw61CShKietDG9d+L4H9/N/rwKjZE/OelfcTPxpnKNZmq/YgdnX+ZVyfB2E8AnJR4KsiYt0pP9E/R5tLFTYz8bqQ7QUEZUN+boADh/xyyf1ES516JJLQxtkAB1XaquyVkXM6uqKEqPDMchNoY4e3eA2B0ykcXoUOByodJ0vtKsCId8A0rCI8TQpHjjSoM1dZZn9Z9sYr2wa0ikzLvI+DO3Vqoa+MrVcd4VClG7yICIyhWvclkjbjOOV+DMd+boCjpPt7rlark/LlSYyTnAcUOl3J7PZmvj0WwNb28QiU8S8Q89XaD+mrCX++RhzkSzsQqQxAqa5a/qwkuVXFIYShlUWuv/YVCEu4zpNprHE4OyAz/o9it3MHGPKdm7HKGYq+Kbh9GfwGqeprKl/OyCo/ceKpJkTb3/TlzVMSkn4ET8E77fg0BPFMfMJECNomr5bHNVB2wt5h9Yw5scqF6NDo3B3I6wcXDyz+rk3IJzf+EeQvOMrrRsncoK5MpjnmYdvoJJpIjawC9CXxck2lxw1cy9hs1NxyfRuAogczmLnUgEzZaXdwOicXNyGl3keFKdW0rvhschxFr2p9Lj3V8vtbEiW99P/PA/BsjHxTJPoJqgtDyiInUAQhffNrPtEN/zTZJS7tfkpeqpiGwlRwuWfzJPu1cryr75Dfdpx/IRlH1GU6bkqNNOHlQv/wBkgbzLibPputJvFkK1DDFNoaZkkJYk94LQMQwZE3SlR1bckI0yfA7DfcZKr6UCfdu6cUuRpstPHOCRAwmzmUtWuXsqUUDLjE3AJHPHdmbnhGgmOAfjcWnGp35hflwe7mkNWN2OyoDQvxFBA2wgE6J2Af8YDOxjUSZ76sfTJQE1a/MOyZkSswAKEunXA39tuhlo2JhxJ0SjEhS2X7MAFeYdOxH0S0sEnwOZqka8SlO2jBHdHDunWnHTHubImUeXNcflOHRAr4rNFu+LsNyyEC+V9QyJEiMcQUG9b615ZAVJxWyCOfucS/2PGq8GZTDZ3e/M+5GFDtsRQRLtidSpr2y2VQHq+6fPZnK+U9mXwX96QU9URostzjC0bFmC/bPgJGjRrg/6/lv0bLRBr2djvbMGYulI/YHDoLCXA3Va6hJMCVmuuBpQmpBnf+36zlGkhxl4KckK6urrT3nIH7h397Bc2lChMNOT2OYeiVxEHAc/dzI88YhK/ynfMTHJ+C5HsbQgmtd1F0KYcacUJrhmFbFjnoirzCHjKZiSzI9bvktJeYoS3fyA8paG7lZ8e2/6HPq6eInemPWNM2c1xjFi6vY+Rv4nQlgPBFU6KRCFR/yh0P/528d/OZsEuUgjqgDSWSG1SBJe4AZSbgaabcGLk9EHg0dl3CkkYS5nrnO3/P/SHNoD27/r2J4coEtOLnUJfrjV2uPiju6WRYRvnVAeQlZf5aP2jDAE+d2BET+fqyiOXkB6cX865ypWek6im6pr+BpR+L6FAtOVjYd/daG9qtT5Vz6S4V8ZJubxHSEwoUHh7ULy9oVXGZc6ptQXX6FxxXh96B4PxmHSI8ia3x8mK+pYsE/9sznEDkJTnX9uMXXCTBgBnh1xv+sN02a9WKR53cIiT4Yxiu2VBvZlqMfeZSoRUEKzO3Co+u6Lfnc7+0TG6RCOJ2ICa9fHilLDDrLTQCdHvgcQefAhWSeWXihCAsIPg3oINDg89pAzUBG3A/4SjBbYFw8gcnLpPlJnDdP1+28wFcM2JLDJSyxq60jSl+mFtOqvddwYyri1qVkqluXbHua7xYzRqpc06gqlWoa1uloEKB2YcfP4iOuj5zfO/yY7+eoPR4A6GuyQXK9gpXbQTdAxfyWxMyhyrI50DEg4dGD5qiGfcy5QJMCCdU5vpUpCI8Op3MtZB736IOpPpqz+etFhGBK4sGtGFmbimydRvoea2F3WmFAxu3T89sHVhj23/K3O2ARAvgRpCNWpl13wnNjZF/pkz7mRZYf8tlqWImhV4zhxiTLCxMyvhOli9XskAbMDLC+rl6rkNMYUuPr93Hc7XB1TTwoVz61JcsmrcYseBtmoBB6MyjU5roRDOoX5MzEjJpnm2dMsSf8ZBf5StuHDmCBS1BGfOdNt3ChUHo7lJ0ZBDcWrrF1zIyD46HiRXz7bExv1/HbiI2LRPv229g7xt9MmlE7yesGpBwih97ft6vDq+RsQK1CYHk/SHUPN8592Nv9XeYDLVlYYFQ17CytME0nR4FuOgdUQUYYNrlU0nKyMqgW2PsRm40pBy5majQZkv0IyWNnNJ2UwKd6sPKJZjbClE2GaiaM/lHP2bTWEPdUre7b4pE0ngAK0wUy0AIhGHwMo6BWojNQOQKTZb8w9Fa42wJPepKGh7hR54djEqg60JeG7SFHWHMLn774TJpnBOQe5ArZZsrvhLBK14K2MNb6zO8brFS5+bpVZA/pUjc9UZJA5sf4PCnuBHzI/0VyWw4KJDBHMkpWJC/LQ2of+7zB2cW2qhCkEI/fp/ntkde+aJwXv/9GzkMmi3ef47oxxJUI5ZA/lMrpOBlGZPmdDhUwgl5lrrKQmjpwd+59AAwh+/F/QBbb1qu2HYeeYLhrAiv5DLolG78SBIy6MiRfidVu/MGaWuPfMuAQnamY4cGvqoU569UbRX7dNu+UCU/6XaopK24dpueZOOu2VyTQMAwjuAc79cRg3AriIaTVpz3IJY9/LnkqyOesZmttbDalqWyzqhrY/nULId9qZUsgg+y5VO1VDOamByymrlewF49Z2hdayuDPiAdQT8inYMm9zNpsWe4LLQ2ogrxYkC3igNKFa3UmtFOGS0hsd9bUGOu4J/IUoej6JzwZGf85M3UP4rpNzwSni2iRaK4ErN+PUYMpHYVWKxMm6JMMiZJ77CV8OKjucZDAieKCCJKpdm2g5IxnK+2Q0Tr38ZKr/71SMmELiZa4pPh5gI59ToCTrUGoJsTaZZ2GdkgYyptrPrwMVrPK5TdGDtC5cDlexqNAPUFNsL+Q7MSzTn3NTLL+BdwB0QK+g2al6bnYykKsn6/M7nMQqhD4CDVofGHie4wJoUeIiZIuOAR9lntJTA2P8yXRBoHUfmFUYt6S0kozfodwlDsUyd1nczeE8wcXsNnSlguYcHDgiEhtBZ/3vAgJQNv7aRKdTw7MvTD2DM0+SGIbt5WQ/cpe82k9tdPPQ34YAM3NsmUlkMTHtQiPzZUvJsBp7qLZTTb5CGbFglxh9lyrputbtYFcztuMIN6IDqczlzL2k/qpfkmTjqNV/0D39ESuBdbbj3Fz4VlVLCh1PNWuyBRjud70C0Aszw1PQehq5zBWxqgyDKknC9jEAu5HbIN8LLSyhWryqr/u/Fst8zNhYzcAur7FZ3snwGjxxxmViyLCziSDiKFUIyLWL2GGEmzLK8Wjk9zS30eu0s2qNPVJkYkbCPnd8RS2vI4RVVEljGhioK7apvVDDKobeW7s6Q/ji6KO3AyIx4DF/Ex+wEvL2iSLzVu/yQGiCosDNonx/xNUuPwl5W+gX7ZgpQQGd9hvE95VZh7wQFZMFn4BDt8gGYFSWdF7gLnSTaMFAvc4WvD77Vsfk27VyzKpS0gZ54z0yoXbQmizFFDOofgdX3zeDHDPxsah98EYH0QeTGd+NuYK6GL4G5ArrwAcGexmkRlDja71mUh/ZqWPZtE4Z0AS1BD2IhU8n1zbg8PW9EA1gV6hG//TqfwIiAllnZWTV1tUmi817KxTpWC5UnFRlrkvxwjR8BnAHneN+da+kbEM5pM35r5Sj89QpcKrDklEULmIqgqy05cQfcAlIb0cGGzOLmI/pX2yxsvbaiF8ptymzAzkvJYJpLJk9HPbq88T0YVeMe1sdmMihjSDWiet63dMei0zC/VWGdywllWsAUUnDkvbCvyWm0ti37o4BYw+l1kr/vz6FD+ydHz92B7xb9WNaIhgohHvnvXQIlAaBi4CIycv4yXS/q7JfwuINA+SrXnzQnp7AqGQKkUdiShpvBhaFcRPtBjzJIiX5ay3XaHDD7eZ4nQ3v5xk3Aknbr/YHfNDYxxenq4ZEbZbcuTEMOPNXDgyQX8Q7lU2CSTsOsaHq1/axXyCtIkh7AakiktmUaegW4tusOyy3F/YZTSYV2EhDQt4Uhb0cd81K5bXqlr6IpoizqkjjSMVsnaaSKo1xClIA4diRwEjpv85fb970rC8eBLrNoPAdDf0HMJzlE/feeLr2Urn6kPT4lCeDNy4FtdfbY5oKrM72ke4iZMzJCR/5joDvhv6y5HMQKFhIlwf+ENyW4qd38+nnc1FIDUXg4I0Ff1XtMWWaJHDDq+IQd72m+0XXvyjguSbnB15PxgfHQ5Jq194bp9hN12CQr547OtLYw6RhZFq3ufFVrhCgmhwWFVFGCdaB/m5mL34ek0vaGRVyGETqmz/9J6Cn1ERY96YabskNSGSyMixda8KEKIXUaqtLdLlykyJm+jdZW5aXSjMaUx0+6Nj6iFGoUNX6FVa2LoVFYVg0rEhomVYMod7OkxYbmYt1d3YIFt789UmdsMoROXN+9wJyqj9Xf/p17ITk2JkNSSMSlnYWZUhjZAup9KOGzXpnH7XhKTm/gC82BE7bQEdORazhmtjCmZpT4rz7bmRAMERBPi/n/VqRxqwtEsqIk4LPAbBw0T/GHBWQSD+//ZOjFrAgm+XZNy/TI3xJv5Uud0aNxAUvRZCMcdDDChgwVk8dh+2ad5FaEH0DAF95E2ZXEEQ1/1n9PhotPmLyW99cVe+QlP95MaTjtC8Qip9d72w+fAzQxBkN3WYX7Ah82+F8JI4O+Jdu0z8ClljXU/bhkLiDNwG5vORnBL/urlXntgB+8p0p9z36ythSqmdwnzzDVDftvi/utfEyfed5xpiZjLBHnt+O6ZZi1DOOGuGu3KmbcaiWZGH8G/dhuXRI9yBhhizI4/sRd7+OYvlGruDCMkSc5GN9S/6WWFHAgwDHWQo+BHWGCt6Q5sKgaOwoz61OP5Ub7RqZs2fYysabg0DgClxRHzD4+mjUsBpngm0ddE1EA4BpiIP7KwX7Pwdp1IjccDcfhzrZw57OAcTwchlJAjeMe8Vluo3e56dNlCWO8vW/F7vfKhVbMxIS9FfeWPFmwrdiTyMeK/kbVxQq7xWgTN7PQ//X9yxquL7yq6O3OQGnyfpb/gZm95AxyAR/GDu+gwUa5p9ktjMhQsu+id8StFISPt0YC69YV80D2bTGsdl1Gq9QZ3AfWWMkQRbvp1ihLEapbJNfETlBp4q0fa2IDGHR8ngzPcJ+IlfqqA3yDOB4utnB6yX9sXG26F3IqU9kkHq42/ALugrOUCP01KzmhKg5yRG5f21hNTayt6qb05qVHtDv+2PfDUMoTC0MVw78q8g8PERneqUTdjmh84kBBqz0npzJEWJnbHRkFm5/UGx6wL2TJF1XTfPhYuf0omjfGBS4gxFs/d803x8jcbU+NoD3cW1cEARGmLvyRRmgYO9sDB8PnH7pWuWkN/lFxsFrQhVlC/MsWOJmpt99Nhq5awXLyMl2H/7ztVX0jdRlG/J3qC8hV8pr3TllGzQmPbCyhP0dSbm3OuWWJ0/vDN6p3W7eJ9wnUhIwkcuFoVyOy3L1yaIOIjNbAKqCpxRdNu5F7hkc3cA9LxULtllJi+vFJ1Sj89sR3ttgpWf+7zAV0HRstxgTfQ+Z5g6m4zRZXEDjzCh9N75xkQ/n1l3erTNXNHqtaRo3GT0K6hi7MK9JiHLJm9IcGvhObGHOEcpRQLs99gm8dMUhrBCGUj/bsiIOBMfPscsBAjoRqpfwAhhKmu4g0wG/LqGh/Dg+OiXQ7d4RTaOLkwGvJeV/80GudAIuxLYQ/rNMADYWWM5T4xILo2/zOKBrrV0oBDK6H420NM5PgtyM1Gdk8SQnXaTPmLT7HBotztAcwuEgN/4eBTeyVGal+vhFrIZharAZ59jDD1ZLzpwsXFaAWJ4j7LPzWoVXky4Dab8W/+EIs+BO9+JpovbQPv2gYJuRDMrz4iNkfUwEAwgJ/d5/vNkdlG/tmE4YebMEbqYoZlN3jhbPGVe3YiSKJbyCIlhstegv+1kOBeY/pdfL4WRCnMIc+fR0qP+YqGLSM6+zNOpWwZdbOBM68X01XBGcC0BPIzkQ6iS/sNd2h9oYrx/BCl+QoVn3oEY+WqZLdKpVuilEg+iC/eUbDXsoWyZ0l0ofqkUKFeI6km7Yb8mvz1eIow5Q/QXhTCQeFvNKqs5QcGIPo1aZBxElO3OV8YpAJmHQLAk2XYtIOxZmomIA1zSh9QIO+8CI1L+oA3WiIVajX5PHc/ri2kp3w9c7Xpd9HU3CYUKRsSA+Osa+K8bRnAd19LXkrgHuf4mR4nsvGFiG3I5aJnIUv/Rk7WGeiALnbprx47c0W36dGeb/MhJlkK2lEUq+cvlEfAce8ItFCxs9oHYm2Gp9Dpq8+7JVI5EbqH3iTVmmsb90CNzrILvFy37lvda/92GRJxGlBDUKVeF5VTAYfVGrCRnG1dEhZ6oQAiMF2+0jHFa8JXEk3au/sXSkvTyMhQtuolHGhJZLPHwdMXNHMfylPMrWDSQjBcuiRcLKBtIFfGTCIuBtBlwMM4/QL0ZrgPJ23m64ubfckysQJ0NoPiPgypQeKhBRn0DMKHSJwifGzXAipdfQOzj14M81pIE0yI/YhPreRdj2lZbhpIjc40poHqfGxRrWDH14W8muFVNM1haxXfNP1N9Y2Rayg1GR8wyyDVAoSg0bfNyeQYXBJBUGSxegcvrvVIlr4d+fyxOxbRfut1fI7DfGJwiVt5vq+Trnx5NdHDbKjMr3/GrIeF8z8XK/Eq6Hvx0ImvmQr2YNw79NwieG6cTFZp4RpNMC6tOZCxkW/v806vtMHENaCo87Ka397aVMK0SigjjJd9d5SBbeVmCz0wUkIH1qbdUsZSEyxz+Lw5QIrTtcDX1Q81oq4g2q/n5wd1cCkk48rOynB5l55nlm55qM2oqowsb4G7t6F3//6wbw6lVdh1UxfdTHXUomUs0lj+wwRbaJMnniz0QK1cBN1PEqhzxTcubP0qMF4/+w2/y2nJio6SR1zWxaRKYW7CDfCem3QJulYJ8ULr4zcHgzHL0XqUmq4QcLXrsUX6RI+Z85UjkAY4AgvEygLqOdjVyJK3Cf3x2ul8WYFM1O2YoxiFDtiQBlX6V5n8WllZigHkxczDpf1BMzmQ97jp24DnChb6ud8fyoI4sbiwpLgjrn2oMaEWb2f550XBtkqorXrQ/G+xY65Nky5n0vhWTQRWNtGu4xARVP10BJe0pEQnTOuivJCpzoefjFDi3Fl9HICsDy05hR+xxvKZPypU5uQxEJxgytgzv9CGBeDDoVJRP2BX3OjTt1Qq/lb16OUMkEOSRZxAtYzAZrxn+RYehWWOIViqy6eQAqDHwRTXgxsUuQG9S0ivCD/LrJXiu6skawQeOa+8fcfVS8bkgLjl6sKn7uahgsOEIim820seZfsT59ymm/P/S0c0t67ESDoT3vG6A3MFtY7eTaJuNUzNMN9zqt8lYUVgxNgUJ7Qd9ZIQlB9kuWY6+fCjZCunwAuMa5Op3nsoMfVeS1R1fENPAZUGIQIWAvARPXFAfOUfIbQ2MFt9Dw3V8DTZApY+y0w8etnaCSCJtuELNZhm4/zuJPd2/UzWJbB2uNg6I5j9zRFEcPxZ3JB0jKk8ufGXBNiBCMdUSBJkh2WHExSnl1R2m9ySsicniCbzR0kQPgHEkw63djDzf5Y1VRCHOd/HrIM239G+1aBg7173W22AZ3A9qM/HxfhDErXQl2M7tFS5QwelU9GS/Gmd8D4MPq0MFk6Us8+kFpMJvWyAQuBEDA6YFaF9FHnE1TqSvaQFA9xtE32Ki5KJxszAYyEUedVtzOpHD18GeIENYr6o42liwQE2GoRDuIToLreZ0lmOtBuPEYkfq7LCSjX31kqxwwvMOR2y+UNGF+P0x+VFPIkuTfjL/febxacS5oyKDyeLZDnOCXK4ACiQNPBPxTo84tLOOmCan/Tpoel64Hr+wpjGqtz24VkMABZdWWgt+ZZtEbTAhmo8UcLNUON8zAvFwyO7XaeMqoFzRZo1qdBqgAFiw9K9B5LSknOp4zHIU21o1eL8i5GoyPaqFJi/W/DaQa0mj2T7sqaiI3v15bjNIychUTwje+GOQvxCobbLiczqXA8qf1VCo9QIvRkYAcgyd3EkUGlVjF9AbtonSJA3Q6WqMJ6EIBywQwb693YjT1/5PD/vE+1i+7C5TLOytM/lCzs12HL7oNI3DqBvAjvxOBEJjihETcxeEIG8pLrav0pqbxaY8yzBhdd1F902aUu6kFmbor2sdUn2T0JtZ0hOa4VsjatPC5VdFBls2Ri97yvnDnA28jHmrwUQK3z/tyjRYnWWk8SKF0jVCHvY558s00Cl8QF/Gt8UaYxV4Be+QVAR0q2G8RDBF9ILWG+ShchJhrM7vEKiLMLfOQw11z4Wz/ZsQ0yz3jOT0rRQFzDZfI1mTZJVOlgvZXD5rdKTBqInkJEWf29y5TEmO/NvkGg8bGdL7wPdRBI/YT+Ax2XN83M4ay4j3/ZlKj/BNsB1Gf3DHhiWa99q55Z0XgTfLI2/w0OE0p3iqRJf3rlMBfR8mHZm5Bwq6ib4zC13taF6bxyorj3rmm6e7rIDKf9GJ6l3NPiMRIgJtPf8fWk8nEfKOD82tQfOdP7EaUTLNozeqvch6d7Q60vdHuUiJl+IxxQVKpb+jnRX+kIJrsj7LdSCMdsUnTSddWTLbhqxnLzHngMEdtB5S2jbU+9YLnllPpiLVLwMiDUjYN16t4Etv1u1CYiOYb1akckdHZVf8wfmK0/HQqT2ts4YzFXIpHZ4onLILFeWexE2wAVRJJnQ0EkAnuFmTO1Yg+TxnTPaaL70/C7BaodiqXXXmUj4oI+s1DukqOMaXg68CwreQN1cNBEkI/VgOwPBmrZetqt3XdpZXr5eFhxOIp8j+TXtKHMRwm7Ie0LU6B+EaS853HemYESRvyOZwanQ7HeTbG2ikt17HsYxlPkVWnWc7rdZ0wOrQGD88K0P/qg+EfZSqKZx/KJE3HwkqpfuvH2oEj7XVxk0FlvvwuGCukvQsvlsbSXJgSLzavWIXl961dSpyhmctX/iePRt4K6jvgFovF6IxGBH048pcg+rDDoYC0rg7mPzP2xj6SYabeQvBCKLPmMhmqgYp/KtMKSmirW5bQN4TfRf7N0lAN4xFVEbW/bhtwyGKmDUkFBlOV8GnzErwEVXltyhcrRd4Q2q7SP2Ox5Vz2R//Avh1y/N96hAV2v1ZrjpjmGE1gr5nJeQ6mUbFgEcBb57B77w7ZOm9qo28f0HDGW0e4fzDDkTrheQMMhU3R58DxkEcl+YHJqcT58SGBUFIbIi4FBh225Fyd7isQBxjdPnllEx4DhBwC0zi+6P4gz8WlJH2TdhnRl3A7Q68juR8BBk+a8D2IQRy00VxeTY0ZhoPFf5srP2q3X3mnfvOb3mUct0ThjrT57zDP1TwqzO1wHozv18D4saVwklu/skyAYZCOwxtxkoaz9k27wG7JHMTanA9CNDB0ewA/sd1EK70M0rEIAvE+KeEoddym01td+Ob8YMST7BaUxi8YUEhIo5ePH1r71NKSux7D0HBbx+3kQYm0KTobhnVkEk2/k+3sel2GOaAceNZS3S59uO56Yr3ADjgAiQilUOpMGs/rj0iH1dUgkisTHPCMJJMkMjxM0VTlTpzHU3Ej8ik68ZjX4usxjanvoRe0HdkK/PwZUJdyd8Qtiy0ZmCcsQMpZ4BsYSgbyJFWchRHV/N1d0JanQsi+QS9dKYbfgLkRgxjNc/B0l3pw0XvFEGZrqCZ6pYyD2WB2r7XtlwqsdMBmpnhvRiSmfoD0DW8n16Naa8L4tM5ln+tb81dLYiOSuHjyJ/cUH3DQh+psZv1E6o/GBXnBJYwmQk2nnmfNfmNUy//82wdz7lKRZyXWEE7k9nreZLictklPVrzK5yUfGkZgQKNL/Xi63v694K/gjvImt4azo2PZA+s3AKS2WWT9J1bqiTWX5VSWlj81cZDaUIQKyJRIzAhFslG+wOrRdLyjiZbfJpLtMK6oRWN6FER123kZxao3Wig2X1nF+6OdK4H4rmrjI4q8MrztQMM17mKpVuIJEskmvdFLuE2Ju8OlWV59JHKvg6y7YOTNiplG+aJzn6oYXJqyw3cEXUqUYHXgX3woxP1EWw11CT0O6lajvNtT/XxWpgIPXvUekxoPHIkRIr3eefu6sjrldFDA6MdYqi3fSUpyyMoxJYu6NPDSkxmfb5917JN8zBdvjqmpnjvhyyWP7o3HONpdXs4V5+zY1h9V7LpttareZVNEphJJ8aukmh0IFLJu3GMT+yvu9hSsx2jia6I8IAkeUkvRvq57sRns21+YfPVbTuVtNZuvOZcSezXpQsJSWVIR3MY8I9kFtLqP6+Ior7a8m1N0ZR+ZUCPhLoFxZscs0OA3adQvNqTpJ1SnIR8Vg312QVYLSSjU6X6MlwWgRL3IjdbBsH97jb6Qp0jVV+egX9YI5eVYWWJo6DXj22vquqJ4G0Ry6wkbXC2baa3CdHenp08ti2DmNrXvy/1jMmWwcluaSircm/Cq06sVaz9ou1bMRlXsVE4ML3LojDdqG75yiXDNTM2drgqX9wK/xsfn47ZCf/AUjL4xXq3jFiTRBuXU2GY67dM5CnfUFp2Tsbe1TTeB76xShcoNL3W2MFySPC3kzo3QkI1zVIOB5riZjFI1j5dA/nwGV5B71ehAfg+FUJ9T80DYK1KsiK6XG5YX+CMs4pj9U2yQjKf9Di+QWqvfx6bRAeFVKHOTq9D0GwGLUc8DpmmfiHwakMj7ZgdUHmuvkrdfnVPKS0NvOQ6vwPXDXiMelV3HAbFLraPyS/p35E4ZMKqklcDMk4EDiTh24pqKQkf5TPK3Twbf60qxOh0xHTxYtPL00rDkrY2xH4Q/fAYqg8pl6DLaGyNQvF6XTKQUtxhR2I2iHsqrxhA0HcZ4WnE1kWJOzYEDfGWIiuQR6UTOUoPiWThYMLpDs08sy/m8gcehdn+TJBNhl997fnEDQ1Nlhf2IOVRjaP+3utSm6ZDXHmcEjQOR4f4JC497qIExooI5UFzg8PAfwCn1Vv3EoQES4F4nJYxrOudf+6dUCUI/s3Ibjup616FQMDG2udNV1VTOg7b5JjbhRwGPVSU9lgddIukhr5LmOek8oBgjLrixlGcZqP0Yj/1AxsPX3oSQ8gEzkEuc6w8MtwnnSmac5+Yhp/Ht0kS0K32yqNqsPoVZ2zb74H5dWJ+ifAnW8IvtHtw4C6LvTkqL01PqD9cPHWdDoHpGtkbGdhDvmf2+4/52Efs1dx6SD9W0rmnYRVa4bm5mQfeSS/55IB6ha3TWBACmdn6gtz6bBwcphH8CEb3F1G3FgfqzAjEt2htRpPRjE51eghTSBCw7UjJBM3lQ7jFYJeS1bqbbXtz9QLBt+Eq4fSdEecrzm75MeDjhzfTz40eAYerGNMtyiupVvlMtkMsePyltNyv6Qy18NdKrdqUUvmWBC0NcS5D8PH7Ky2xuR1SXmAXUyEEz6VEA0jATo+n4kH9hChV0NcD3Gcu5a/P8gnNZhsKwj7Tr13dsXD7zpJybCVtKGOoy1wy2thbzX3dt6MtezZY1mGXrvd/YAQ/70q04W0tq/I5Wk1VbYLTIsAnDUNgZbn49Yuz2dd9RuzBOABmIQgPmI+q6/wGhmlVwuNkH+/XS0oq/85LPP0t/k//fUxg2jDKllfSBEYSoKP84ahh2dmavnQCdgUpc4Oh377xPXylczd5Gagvo/lX0xN7U2iIgQ6RhoRnYCAfDWMNKm1MaOMIaCL3q3XrOPS6aBK9XKxFktkuBS+3G2alwZ0I3C0b8giZtYc/spZEgZBCWPDRcMW6k0g6jrEEQWpKqhRTVWXB3NJCvYN2hlGq2VzZGbw41NdfPlH9qF7idTWlPnS61wJx/U1z6NpmH6Jz2c64j1WYW3HW5PtgXxvTd965zalekA1uQSQHoQ3yhpsRpC/3VHJbegk/tqHk8eN8KFjbwRvJH5RxHwGArNUlCkaliKFtreWYSAqQ34zS+i8wJkzCx3XgIj48YaANtr1ArPeWnjzzhY2IvOjHmPtVsKQqcfE7Eatz41VjFt1uX+csZVyJ7XLmJT+PlvpY1G7qqSZkbMpy6gyeW5ZcEAhqsQlB/4GzcYVzmipZ/vtAhHt34itrw/b3W/8iXj5Fx7XIC6OQhjU1bcn4sJVGohMoxvR4a2Y2MXlflmkxrrlTjNsbfuU+gNIpGnSk7DWogOQO/ibV+tcqywL2CROIuLvFSey7ozIN/JFJ5Fjtjq1H+TbWdbIQ5/p/PmcOoxZLIkLXTC0rakOlI/iEri12MP5vKifbvydjDKzYbBgWEi6++ybGdPuzCOLLZQEzMb4X68zpyYPTu/ZAx4da62hd2b5Z9az+mNjfksEk/aqVMfoh+1BJZyoyAmN89QY56ePJ8sQEogJWwMknt2F947vo28FYkM9qgB1I/MSHZKrDAZerX1QtQqZm20lMUhF35cPdfSroSTooqpIAI0YfoI5XPrCT596/Z7WyqrzsG9nts/HNGPDFXHWH0ZhFlqAA31YMoz3tsx7xgBuRuMjA3ToLimoh/4mjrinPj0otxRpKOJ/+XI4aePbVVaScNe7vge5P+fxlb3kND/RJRweF2BUSw4lH8BcpXJ7x5QAf6cRpOzBNPRY/BTsAS6CPZzwtlJQNERQrOoi+tiJOLiARbqdxeBYeOyiHe47x4nCfEGM1SZn1Z7MbHD6E0TBva+x5TQ1evCajf1F+nqG0TfDBH0zuRmn8zByfNnuEJTl6Q4Yr2cSFNrxRwYu0P71MOhUOZxRb16lR7MxBXwbC+/WNdRFdJYOq5+eLK1Fa8wKGl77KmWQvkdgEzyYfAe1XcKZFOKM5juT3ww5ID5RzwMwzqg4YyMhz5ZqyYKpGNbj8HpH1s+B7Td97wakpOXnSXqkbWvc0M8xsEPFbyeG4qqggiHOafeaLwr9Of9wNw7wwFsECNtcWb/w1vLieG2CG3IlrN69elYxaoOkI5NhMmHel0Py6xbfzkl/KdjecKlAxlAaAAq7ijMnBmXa72lCJgA6/145wb3Q2nG7wYUyfwIAtGEppAt6TLWRVjO9B443CVvKj4j3BLPgUnwF2jn9oBF8i3JTIAZUutVJRytLxK9gJteV86yhgVk/WvnDiUkJfHwGspTb7JC2lHuhp19U+vLk1LIlEfnGX+KLWEB0dZodLFRwIKaoIZ/pVCs536jI5ZqUTkisnBuFOLaLyzOmOJrPs8Xs5X9CMV1t/2CYEsca3rjL2gz8Pacjz1heJ9tWETiRz6TDZzjmcm3EbckHOFGEM3A3WVacrVGYCJm/pMblTHqA9MPerrFPGi42h6tZlGIpxjHhaoh2tBmpQKWRfBzc7U+qFQYv8VmvJCOtAM8wHM7qKOlL6DGm93Bvb7J8+Jn06QHqGO2zzmcRpS4XcxfYyT3+pkPhGYXH6I+cLc4JpZR/sv8rpO2o6SRKdVlp3079dN5JLY/TYUB6WM9Zuq4EgI1TveZQId8MmQNVjAHyJH9cofFqaTjEyJ6YIV0oNxTHwMWVNMt10oF168fzJpD16TGCkHfYolIY6mqYfy0b7pkOA4Aoln8Rlz0Ny9+liuLLkWkfqFg0/5NqPex/mPCp/vaNwfHqD7LKp31TlZg8QGSQW1mZ/8O4iFyasgLGrzr8vN2pAejBSeF84MaRsecWJTgbjN+M8oW0EjI/gF8HlAugcbfB4QaBh6o0Zaq+oK+5KWyeC3gC4I/W2x0VVssOkVdksls00h2yLcjHqLQzIPAeI2XLVv0t71d8AfHFm1f2dIs7go/35OEV11n9rLcOxm3B6ayF9n7zhz6b88eZdyh5Fhn7WkpvB3oHe4KxutELvehRA9RZ9X6gcD1jzSQzBaLlIWWxtfWkG+Fj3FCeHie7kTxt6XEMMIxjE0vdE4JRIIom4Qt5WG0BPnmYtKD6hewlwSF2nuJQRxyPT0qLxZzPHAKpufjgJspVauIJff0+4Tne806JATXrArOFE1AuOVhJ3L+ZTUYgC+YK+65fXX/ew32a/a8pYGw1Cpa1Xyc9FBMa15NJrhCFu+8jEnrMIA4p616S6B7Tl7wigCsm7jpmrGnORQ/MyMEPq0ScxPSi8djv6oyqQO/d0v7CT6ebUa78MQWms3emFPvwldSAtLSAgIbZlRK5d6vqbU4pY0XEorklhOlxjq04G0+jD9B1g9/rbx3zt9FogIZBZOccHBxrswU/zgi0jV8yUhb5M6XMgEm43R1O4FE94/DN62baTh9ILSAdQavwnOPXpP87FdU1HKZPt9AmftNqo4Jxco5zEJw0cJgGp7+M4mjDILmB05/YVS8s/662vjY/UWw009nWrq+WQ/XCGyG2HdHQB3yHGTQk4vkOHxzACcy2AzzSsIJy8klLFNv2ENE/6XW4hABh9ucRtzyk6vynZLQUNooeSg59MesOO/HmBhTpX/ghzN9hDq6SU6SYNZQDqDkfe702McLNG8toKgpFg/FAcM4rqvfQEKpCSW9ZtutZ0gINEyGmgv4bTI5wtN0CMMEYgZ8fd0tekcBfhVpC8z1pCd1odmNNk4OR15CckesHUfwW8VL01PC5iTMu7DMC7cq3fQaCqzM2+YXrPyTIm7XgpR7y4BKoVCEEaxY5CEax4q/Dog9nDu6E7QtwXyOq6wQB5e5KR1FgF7Wx+kTK7lspeUWu7rfmSesSs9u8b6gbIcT1FNdEa+uCCyHUT2mblmaHUE18KSdaxSO8BbP0i5mVMdwGBfSYHowRnXMFNNxOMpMc398cr4icgB4hCt1pgD06itAFq1qZXBXbGhS0P34afVoC6d1BdLAW5UaevfC6zESxnl6erZzYJXetb5NLM6bivet9CKvg0K95PBJuiA1KL+YNyWhrUHvjwld5JCuABzyHRrUIVu6eDwkDbZpbfqdAfi5Mvvy0JGpoxGSfHKfucf2qhN/LMDch2NKbJ3ZK1t6W3RyI/2CovNmqkFPbJFjliLjd/5WX+Cq6VoWdSo5F5gDu1XIN5ZlwiUC07D4VNXiMopynzc0TN7t3AO8rsOitxTkK9otZroe57Sjb9qlkzSwTKpD/5G4ANgZ+WEVmSgykpL8FHnqOLRIFzsYlk2zIFQWyPBqX5Ebjj2+vwTGAG1hGXnqxB2833h4s9MWXkfhbM1eQfPcu+/6mOj9xD0SNvBR9/KYd/blVqBPmq0/Md6uHCgOms9xAMpsO98ae4WVmnhbVeswCDH1YFzjJeylcA1nD4Tl2qPzXADT0UU2gBYxgn4do9TqsRJCdAZVfAQ5V2SFxMJ98jpbGJtbsAngY6w1lKqckpUoQ/YmidBd9dVL0Lu/8ljrcYmhf31VFlofcM4ia3BEYSnDJFH10kpwtYDsUN0JaBNM5sv/kgd6Djf6GPwypBnf0+l+tNcCl/wrb2MCG1bs1YBBaBl6/Jcm4HJGXVvp7dwyCF4kiuJ/iqGZpursfRvtIrhkYTRhp3DutkrXJ/o3K44A3qJrGo5lH3eDsrJ18/QbQyF5sCFpKJglhqYnKrRSWmqXGCbR3KJ6z+dc9UEs5FZk2QcnhWdj/j28X2jlYcB5K8e/5RQ2mqTOXPO++wbaa0XRAUTMIu+IleylpHASAbCE4DbmQrgcDZ9sdvzl399RI8O2uwdDh8sAUidw5H3ekCyRcL9EDwO8zC9KgXeKmX6JylNKX0+zsh4wN2/Lyo1ytw+Px/lZG1Z7e/o5mVWU+daUkTBjDh5L1pG91mhtQPkGF9RcLsDtRIrWM+cBGV/osEEvMfB3dAyR5ScEZKxbmyPldsXD85LrBrhn3OOBS2wrK3ITM2HFlj5VlflPc4MshFylOHVgfD8WnjqGylCQpjSpihS5lzffSoXzVJ8pKejtQZXgTnHxEh3AsJZePPBmDvUQprMBi+aP8J6CJoe994IeHzOhwz86ki9AzXhIjTlJ1CM0TtRMVGfF8GO5ikVKbOwIs0Tvzh1qZsFTznqKRZmJHoi/8IXZ1cHrHzubaYoiJHSNLzua4DG/2W/uum8g+ibogLRvQo5Ra9jDj8VNAi/jB9xMzPzYeFNH5JsPWQyBfbUHt4d36FN8Rr446rR0FimfePGCMhEEYZurqNU2S5KDbuvkrAcBlbUuvkhf0er+iGRX2ipZNNM75v9k8TcvHoPDeVhYlGaUKr5nMe0U6GUkJ/I+ATdYNDvhz7hktUus/WNQmL9fQJXmKl8FjetAdetQxd66zkclAvNSFuvWM7pZO54GfB8+UT8Zhnb4QS2XGPRpHnYjMnsrLbuIky1typ83jeiLnfmzmyeObualj8BoRdyAfpl+xo9wWtsUjej2IMBJjn+uoFyI+LWgLnaLQ7l7qq01cxo0/vnc/ejsbljYnGv5GIxRwoUE0Nr8OBFI2OPAMAr4tHL05KhAus7SL8ZHlJencLsV9llCmRCsNqwnKGTGPEZ5C43ZJ+wztBj/Jb1EgPMHR9wFSjpzjssABAQOfxqwEwXJFSQU1CI761s8jsWPbEOdLDBxmb63l9jTNObNSvo/v0Tz1riI0Lplc/vowO97p+fnk7FhWXlX2v/XNeiCOKveziQus5rLdt8lXqZfmxHFiJ/+By+eWSR59WrdN2jImzZL1s2PNFHNBzfwQ/8pgr5SiVi9hu4tvjcG9+nNtY8hd2D4SPPs9v2jgtGhssnMo1BGKEtro9giElLl5PZx2Rm3Voityu4yXOoWouVCvtV+0k9RGVtxdeTOK/kklWiX5RSPp3nJM+6wKadrUjG1X9R8eJ1uAOPcmvXHHWx8EGfAEKGt8EJgEaQ8xESvL3ku6Xgor1wKfU6pwMQV965KBX0+h1esTzUBpKp3AghNcQ02DIzzjspaZuMXKX0L+Qd/HevG3TixN64w7p2teuH+PMFzaL5OmAq4hODfSwqLgef4aTS6s8ymCW/zD8Kzdhn0L/osLgq4TV2hT5jw7VNamaLEtpzjRHkRT3slC/qe4tFz65gxRxR+adbg7ILkgg3EUcal0yJBHWYZYUFCrI3jEz42rDcDtVmZ3gNhFpcH7Ln67oHz4hExxs9ZI0Ldp2qhlf78s0H1oBNyP3BTIL8FaaKSBZsgPcBdLXtnZW4SuMf2xd9WHjnQWI0olied5HST6D/C3AA9UBvKRaS7VdfCCJizH70tnuRAFWGLHBLJRUDq5yZzv1UDy6wpEUuN/2yPh4FE2HPCtypuer0VJI2riMIh2WrnGEVQYAChr5HsmMi+Wv5SigTXBgxhbm5v7hrZSKD9INixYiJHIOonxRxJ7X8AOAwfOErg0ejU9MJNlBXxN9EMj+tAH9uzi5GhzJ8EaHgaR5FVppajXAk8I/+s6wjqf1LVrDeXnM5FnAbysAbq6iNkPo9c1J1Cm8aQ7WEOnmk3gybRx9UJd0n9S7va5/ETIkpYrp9y7g9tkE3l6djvQuJVbMwlB7Ztx3GOUm9vqqHKkpvNDuVHyS6ASg6CJwhzddhsZdSaJHXA869Y7Fzli4ldcEklZWGaqUr0nHvzj8WRvOyAFXClgHGhP2yClsnf3UNFqmZOIjqc7m9QqHFYCr8j5zdO2zSY/JfNCU1W3T6yZsHJargSwI/c7dxNi7kGehxMs+zvylkxYs71eNOxZIlC/B7aIOqZ7cbvC+VF9XRexThfCdg/IiEBFmXIRIGAG8E6CqacbYfrMAJ3Vmj+uv++acWVB5ZRiqqpD1yx/kTasYLzuvxrTsXDxGNVfuwmQEkWXiVIrFSIySkeDRKl1y16xiySS+SkZ6RdpJBeqvAvplkTNXNh+ppmeFZ9VPdxViM2FCwqm8YVzSw7NbSnmj8WD8qGEZyYDO2+kMsJzhdrjdWvzpjrUjA4AxTqwqLsQuz1aRoxqfBCP5F3CpJPl9ONgaZv6v7mwn1JoBfQnEyj7Dti4Z/Hfxb4CTsiKxm6D7htJRlq2QeXn9FcVjfD/xZCnHbv2Auea9gA3nZ7ghlL5DERk25+rgBQMw6gEOAJfvfp0984ty5BmwiNiYGpAcJ/T0jVoQk9EH4MJDO4LYhLUGE92EiP8P1/Im4Dsw9JvKPRdgegmLKA0Yd0sa8xEdErN2zYvYM6KzI3UC451qw70+mMD5WGZmPATkmBACnxt7Zls3vuBE7bpUbsohkd9LHMd+VBmbnSV++hMJdAX+h2xKJuWj35eHm2jhvhiDoTMHOhcohC7JB1147jZqKyQkUv1H0vvkcNViJxlww/fFcw5pi9cpduMk3UY3aF+NxJXMqaQ68F0a1n1xlQPGHrH1qu4WB2jVuY0QrVYX/bviyyDLlJmGv2vzav1B3zXEsrqeyvAGK14akDquMTkB4G9TdPaK3PjIK9p1MZobpvdJBMwFsBg1fJzUxgf0Fc9l+rhmiRXVFpAPgJx0y++EZl3PTvTdnSYnKUOYcN7vuG3dK0ms84iLITJjbRYSDs+erxde43/cB+2I1gXM4GfPcLduW3YYwCdclxSlBZGkk9F480UqYNG0aRX9yanPICFa1VykBFJCwa2W9t+6JbaLDMEVOsFE0m1/8hF2o/DbGtzIwl1zDRpqMamuWEXeCbrnxd6kxIWNgXHAruldhCYyuLRHOA9uU0nNDGyKgE/O3znmrCsPOYtMlhFA9xISzUwfExxZ8zMaJ3gycfkq3OeUm4Kj8y6bxfgoFcCgmy3FhbXsQ5IYnSKNWZBJPEPieE/mu/UDlYq/EoKqNhh9Xa8K6AZwdtgyUgcLBCn2ZpVvlZu3mINhyjoYZyeGBrEi/aeD8K1vlHNXB6aH6FR1jxTgzTX7Rlyq0PwnZc902ZwtowpPjX/1w/xsWzlGjQOTT3uNDADQHl3DUVZ82l+F9/xXfus8X3OZL7nvB8ETaXP5wJroZJlWJzlyh8VRGZYiWEY7GZP158DbVYsNjXfWMVY0b9c/nPQKff1x9b1YCTu8yRRWIt6L7viv/hh6IP0sndi4rG/O0D6uh11FHaWxqQkBvs6S++8pIaLUMkFgtW+6le4CwZtzlibIA3ooqjSh4noftEMOR2IM07eZB/pG1uCsds69yGbzBz6jZE4hxfpXBDbr2IS57UXTpF9CVcI+ZLlKCeYld99xbM4Ahsl6Mlb8iIh4lSUWEdAmzXZCz4XLBwvKVwHYBhCVFsuIa3I817gZ96FiYK0ep1pbCLg1gOcDpOiqVN7TPxs+MwrDRCk669wCCGT1tCNQVTNvXk0j13uGqNL2njnpGEbWHygDOv4QRr+ltSfwWywPphmzJpTWytgHaKpOHhsEV6rOJbea5qCMpmNEMsnBBwqaf9AHdH5N6TKrC0LEHOXGV/4lBWCQ0gnT7I8P4tYJHAg2axPGSHzkKA/m0e1QBhGv/rJzqacNaPkw416CE3JlRViQO7sZm0cH1e1PQdGTDvgrRcGAixcE/VFkzbJ1DMFePuNYsXzXsQZ6A5qPZgcp6uN/TNNxyepESlelOPw49xIThOfv4g9Wb6+3fxUNFDiFb8WUU2XQSc2kdih822gePTtYZsuniEFawRvcf8oghyQLDi8tRULutoEB127ghmQMwyRF/M5rYdcV7F3n9JqQPuuxzQtzuN7oIBMcxUVXJkUj26yErnkBDye7z6eH0G2bjoAx4HzO7ltPJoI9lXOw7h+nfn011UCya3W326a0Jppzk6/yb+jQjJGNmI9mhcouz6TSgQt78trJPfZL2s1L5mPXKniylcA77g2g+PcOOMzUwpdO3jdjfkJRQi1K76EvVufanpgzonuOrGN6I38t1rcAyVX6QHV0MZ9v+/qlIdRrPCapfJuOjC88hwIIoqfKrvvsJdAcrmNzZUy2CkE0iMPecl2VzQGGAlTAUhBld5f0jNQWFuBS0LTvugLrBNrrwHG/YzpPJcgu2XSXcY0RtKdMm4rQevgNHCmxMWrOGJQ2HEJpH8mNtub5qhjz2BYK3R2yzJbZ6ugjJxYEo3yXG6RaZJgKCF9e5WTjxiJHDwMGJUln+uqUONxmbftMtsNeroUp7tt8PICh4zUe5kJSUsKVY8EzVlTNBECQvGn8+umSJfSH7weq11QmGiICBGIthoaEJG0GmmMs2BA5UPKWcq+Cke3P+sMWpGw0oND9ny87Nk4iMUrIyqLKm0KidaXp6grBD6cHiFpk9v837ahk8ZjiHFzl//GAedMarucoGhZ/htY2S0GoPijr/rS6Jamn+afCxNxoriAzhnA5dyNouL6DZY/MWtXV0WhSh59lxY5M3ZylSffURBvXGcBd04jw+lUKOntrmfJM0BqpX3Eoa/CDdUimqmLDypLjSLSmoo5AjmNuU1Fbs+CGm70d4C80U5yUo9DjzpuekFSr9lwDeCBKHj91NX9c4bxKqXBE0y3hQN3+RW3hOllCahFiK2fe8ZCr9RTTK49Tc2oRDJzbrLp6X5W7SOc48EqbeEbsntSrG+eaHoFe/oW+9LIjHl2jm2pxOU/dflhPvcE932CyILGz5Ky/SRXqOEwck3wXktdXDlJXGGBHiqQ4P472lTflQNWsqCC+33pQhSzopOIW0ZZ/ilUfMvjqGW0tIwiNnaH2fR/84ja0GyCBUKO5RNSVLSmF8ZFLZ7/yE8Uo2qIBdVf5PniFh6ej2jAG/s3d/LKwwgblCc4xbtKJZd5s+SG+chF3HhPd13a9hZb18mvuAsd0Y3kvJlGBVdNqKrZp+DDOGfDExCsGXoP9p1H7NF9ewd8JuafWVgDbJ9xir5vCcIZdImH1DZR8eAPpA6ANQl8ojjvDD60kBnMlFAo/P4yENL1uM6xYX4+3DkRc8NDs38RnFdF0SDoV1TYQSFQkqcDBE6LaEEDrlojeEnWqTW/btmFzBrtD/Tq/TARlNfkaO8EBLw4R1edBYK+yt37H8gE8zCFXagvUrP6lveSO01/Fb87w8vp4tRwiuqMNiot5VaZNYFZmS8UWUuK59i4B0lWVQ6zsPYtXpbJKLl8zMv7z6cgQd1BqWR9N2hwcYp0egsO2gLimT8BFjyJeGb9y+OkopRc5QPhYouDqNukhfR+8Mfe+aTJvitzO/SPas+cWlKqMN/r21QBJqvIit0dqWP3diHHHx9S/fnUDDcEEN55UhXrcSuCUh8Meklee9ppN9oL+T8m2JLPzcZkzKxz8pvv2n4PBPaSfBxrxCqFyNLly01Pdf2aBvpXMf0sMBXpYfo2EhZ9mr6DwYkBACduWPdneui2yDi/UOeimE+Qift59fOZqxAEv3u6QWr6a+aAVO9+OJsXk6bKPlYE99HRBpHeGcLkfJkgcJnhp128jEWpiaeMMNTVlbKCDrjXuQ8U2eR753UdaoURBxCDHI62DuzNB/7eiy/HnRBZI9+6kZgoxn4vGY+dMSfGSzgbQ80S3VfQ0AY1HUaLyIlBT1JBzlQDRvVj1N7nmdt6dzbnY836KWx2Bp9zxfuCULwYzE8FLNWBW+B4x537/d/KVR6C4dEipKh/yIFktqMVhogiCzEycDwoe2jfd8H1BOnPrHv+U4FA30l1hhnr/ANtYjV1x/0gASzf38YTTCTmfq+sG+d7RYoMhzq0VMyMJnxheFAXD4zeh7I8SRx2I7Uu56NY2W+UHRaPp3gcrvem1PQONf2gP4BV3vtkWp517GltBIAoiiZp+x8BHvuB/yQQ84OXQ9NQeXvdqnnLj4oMOxEDj+8ueToSEfpiOm7yvrZKj0HUsCQlDlOoLTtSkXxGcCBnKjhmlJbxzuXZSCAj4vLUDWfN2mVyN43xhBRcSl1IZtN60O0T2BNDf9N3PVk4Lz8+eZq+SWGjpnJC5V9F/DzUxSC/sgBk0DhVPmefUyHwkikWHH04p7IkGovSQldg6ormKQKnNTIqH0I5clVRAUSDZ9P+mXhWNXi9Zc+uhzIyUklTelT9vp2TX0YLTLaCFgb/ZK6P1wbEpIb3EMjpcqpLCYYl53kAi406QWexgU/MdZHFi4lysyDgTbmEzR+4SO+XYaVSZkQYkrwaphhWcQV7ZpDKvbjnO8DQXpVYwxKRaAR9RJxWSIfZrjbE47UvhLE0I+hUzqlGkM2RBQAe3kgY3hzRPwF5SJv3Tl8HWriqxIe0Ddnpr2FKQg/c42Zz0XjYt8nmLiviPMAO3ru123+nWO/+JRfOTQfEL38xcqWtarWSTVxqfHx7NY0L9PESthiYmBCbNSjOAvudzK4OirqITKPjcLuXKes632XA+6Y8WKhos/2aQSOeHFg4qwp9mdDrR3uJD+hIAEDECvsR5wDe2fpDyD18tkW3Dg96jK+jzqcaHQT/8siH/Y2e4amj/iK68vC1iDzToiTVAtUCTSmTT2JKEYzvSeJzXFOKlwDHop5+tCQyWriq2cYsLkriP6SOjroRAtyKoRaYt91BMD4N7ZvJDQo/T61Dw90um5lf0npzyBm0miFJ6aamGoAGuxBeSvsJyjqnQIiEUfB6LAvgrduTIVkYAG+sLw3gVeqm/+5j+6gw22DB5PHHo5UNWotREV4d4cftbwGCgzVSKr+03K1ooSis97/gyZ2f7iuJikvw6EhJ0Q6Wc8p2hhmwqw4rA3ZX3zOC7nuHoQdF+QJhq/25zRd2lhLIHDRZ7rRPlHpXGv4Nma42etyFbEFqVBXAnSiSmlxrj9XLI0CWcdXlHnrx8jFo3Z1x3sA1nkYnNseQDrP6Kue91+q56K44imaCVDR43q+Vz+qEsUmAM5QxUTyzvktnTuuLtj73TVa+cbbS6E/iVS2YP7ZDIrQmJc2Vgjf6xqPqEQiYrzW8DacrEyI6NEqDhdQMIjJci3M2Aq3fS9GIOt9rOqMAu4dxcGtbkcvgjXf/5trqEgQh5mpXC6tnG5pevZ0mN1bGxLAf7AuauqxENKtizjCs/FMVVnHWkdVPw59nAR/Shr5GdG2nXhQ5P7/hCWCiUWMhU8qvJAXYDozfxsr57KlQ5Cb1oLf6XS5mx/MHP2MP31glY5UT7eKOzZxVWOb47EjX0wZ5At+vVlvV4FE2sbDW/ifmADD70PYD1jfQZ63+5LnZk+pbQTJXz3mskZKqrmYpFMm0tAW2yuY/A6wBfhqXzUSokqi8HEx9NR1LJ8ZE0o9QfxY+j4Q6bVVGyqTSEywKnnA20sl+edSAhECr/2+OkH1kI5hTy5sA51YVt24KuG5/0ybt2GLkmtg0gmMcoGH7w3ydbE0jehu5xIFAVpczCp0P5aWLLWA8w0pNaT2CqDsIR1upL4Jy93qizK1GlSzbN7tWNX1oxsFwk4bwNzkK5We3/LOWDkluezIZnVBwvRbZwX9GEpQ6ANaLI7NhnGVUtsYkFmwVOcR7TJaY4UuGS+JgofAI91HAMtDj1kGdlRRYQRsf9fO6vQQLNtKom5adN5Zkaql/4bkwX4Wuz9N7dUh3wiYzcVCuJNClME9oWfN9ca9XndaJTv4JRbVpBEQ9ZQycgICdza4V70mgUD54sLcscY3czeLZxXrez0f6If0c4jEwNLojrrpamBMhLKQFUejPNFsjUxCrn4aJcOcE46nhJZfKpyzd855ejddq/1FlYwzP4jumEPG64R2hP/aJgNr776v5b5irVkyfOaV5E9I/r4nV7Fs3WzqsQHdQaifux9Tvvf2OwM6i2rT57NGDOge6WGKkfECRjsv22vBVL7mqo6t6D1Ax5RLetq6hcqnvdJWBlNHDh15SI9NvUF+xMqBTqrYqKQyyENjlJ/ndulS9YGrXX5ZZzufjAoRjJDh5lHHKys18GIKm79dGxle0YssHfkLDGqAcD2m+P2Xpncb02AFmFqanYq8149Jj2m+Z3HGUHgw//garmgKtn2Ji3AXIv8ZsSNcs1kjGaJcl+DSVaBIWZOcel3pTW73aUMOT2AJein8pAVzlS0/mZ6dXXDpaVt5M1Q1gdF4b9AM4rJ52hVKPMhyML03GloBqnGWBcTalKhmfP9iyVD1x6H2+5waJn6lvyNrtXMZPOl6jiGMvK9KIoMJljpREfhj67K71qRYaYUUIb/y5f+ogN3N8J95Ke79rw96jaGyZ6qnPLIfXvCVXBzGPL1LtzooHea1PIadhhm8L63Af/1MvYK48LhmEw/mO0SDyH/1nO06tiBVe1MlsV4rIcLmKUJOie8CKypL+X8K9FZDKu48NH1+RT62qXc0wxQEIu5Yr/5dOI7jKu1yC7ttqn/mFYYen17deLTBhCBemChoafc50nULrRLtAzy5UIOOYN/LIF1bP2Q3WMY4mW1sa9VTFTcE/b8oV3ElwWrF68g5tfO8W3ycDs="/>
  <p:tag name="MEKKOXMLTAGS" val="1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E28C1D2031CE49B65EB9398B6665A4" ma:contentTypeVersion="16" ma:contentTypeDescription="Ein neues Dokument erstellen." ma:contentTypeScope="" ma:versionID="915be8ddf9203496dff81045837c2095">
  <xsd:schema xmlns:xsd="http://www.w3.org/2001/XMLSchema" xmlns:xs="http://www.w3.org/2001/XMLSchema" xmlns:p="http://schemas.microsoft.com/office/2006/metadata/properties" xmlns:ns2="024ef72b-9a44-443b-86c7-2b9b89248177" xmlns:ns3="df6b8441-aa16-4692-b757-547843ef6d58" xmlns:ns4="0e427f73-0d6a-4740-aee4-eea3ddf9cfe2" targetNamespace="http://schemas.microsoft.com/office/2006/metadata/properties" ma:root="true" ma:fieldsID="93e82e7d94d6100c07791c5c9fddab0b" ns2:_="" ns3:_="" ns4:_="">
    <xsd:import namespace="024ef72b-9a44-443b-86c7-2b9b89248177"/>
    <xsd:import namespace="df6b8441-aa16-4692-b757-547843ef6d58"/>
    <xsd:import namespace="0e427f73-0d6a-4740-aee4-eea3ddf9cf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ef72b-9a44-443b-86c7-2b9b892481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6b8441-aa16-4692-b757-547843ef6d58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427f73-0d6a-4740-aee4-eea3ddf9cfe2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a85ec8ad-9b94-48bf-98e4-b3da507f3f23}" ma:internalName="TaxCatchAll" ma:showField="CatchAllData" ma:web="df6b8441-aa16-4692-b757-547843ef6d5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38E3FDD-F0A4-4844-9D40-FD90550EE8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4ef72b-9a44-443b-86c7-2b9b89248177"/>
    <ds:schemaRef ds:uri="df6b8441-aa16-4692-b757-547843ef6d58"/>
    <ds:schemaRef ds:uri="0e427f73-0d6a-4740-aee4-eea3ddf9cfe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80</TotalTime>
  <Words>1536</Words>
  <Application>Microsoft Office PowerPoint</Application>
  <PresentationFormat>Widescreen</PresentationFormat>
  <Paragraphs>142</Paragraphs>
  <Slides>7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Aptos</vt:lpstr>
      <vt:lpstr>Arial</vt:lpstr>
      <vt:lpstr>Arial (body)</vt:lpstr>
      <vt:lpstr>Bain Core</vt:lpstr>
      <vt:lpstr>think-cell Slide</vt:lpstr>
      <vt:lpstr>Survey Deck 1 – Sample Output</vt:lpstr>
      <vt:lpstr>Penetration | Penetration is fairly high at ~80% globally; solo/SMB segment has lower penetration at ~50% against 90-95% for midsize/large segments</vt:lpstr>
      <vt:lpstr>Awareness funnel | Target is the most well-known and used vendor across geos; Peer 1 (US), Peer 2 (US, EUR/APAC), and Peer 6 (EUR) follow</vt:lpstr>
      <vt:lpstr>Customer advocacy – by geography | Across US &amp; Europe, customer advocacy is high; Target NPS in line with US competitors, slightly lower in Europe &amp; APAC</vt:lpstr>
      <vt:lpstr>Customer sentiment | Target customer feedback slightly lags other vendors; customers emphasize comprehensive functionality, but note a “clunky” interface</vt:lpstr>
      <vt:lpstr>Switching | Customers view Target as slightly more difficult to switch away from, compared to other vendors; low switching likelihood across vendors</vt:lpstr>
      <vt:lpstr>KPCs | xxx software customers place highest importance on ease of use and cost; ease of booking and an intuitive interface are also high priority</vt:lpstr>
    </vt:vector>
  </TitlesOfParts>
  <Company>Bain an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Pandit, Jay</dc:creator>
  <cp:lastModifiedBy>Singh, Ujjwal</cp:lastModifiedBy>
  <cp:revision>5</cp:revision>
  <cp:lastPrinted>2017-02-15T14:23:56Z</cp:lastPrinted>
  <dcterms:created xsi:type="dcterms:W3CDTF">2025-05-28T06:05:41Z</dcterms:created>
  <dcterms:modified xsi:type="dcterms:W3CDTF">2025-06-03T06:13:18Z</dcterms:modified>
</cp:coreProperties>
</file>